
<file path=[Content_Types].xml><?xml version="1.0" encoding="utf-8"?>
<Types xmlns="http://schemas.openxmlformats.org/package/2006/content-types">
  <Default Extension="png" ContentType="image/png"/>
  <Default Extension="emf" ContentType="image/x-emf"/>
  <Default Extension="wmf" ContentType="image/x-wmf"/>
  <Default Extension="jpeg" ContentType="image/jpeg"/>
  <Default Extension="rels" ContentType="application/vnd.openxmlformats-package.relationships+xml"/>
  <Default Extension="xml" ContentType="application/xml"/>
  <Default Extension="tiff" ContentType="image/tiff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>
  <p:sldMasterIdLst>
    <p:sldMasterId id="2147483650" r:id="rId4"/>
  </p:sldMasterIdLst>
  <p:notesMasterIdLst>
    <p:notesMasterId r:id="rId27"/>
  </p:notesMasterIdLst>
  <p:handoutMasterIdLst>
    <p:handoutMasterId r:id="rId28"/>
  </p:handoutMasterIdLst>
  <p:sldIdLst>
    <p:sldId id="256" r:id="rId5"/>
    <p:sldId id="287" r:id="rId6"/>
    <p:sldId id="422" r:id="rId7"/>
    <p:sldId id="410" r:id="rId8"/>
    <p:sldId id="411" r:id="rId9"/>
    <p:sldId id="395" r:id="rId10"/>
    <p:sldId id="397" r:id="rId11"/>
    <p:sldId id="396" r:id="rId12"/>
    <p:sldId id="423" r:id="rId13"/>
    <p:sldId id="424" r:id="rId14"/>
    <p:sldId id="400" r:id="rId15"/>
    <p:sldId id="418" r:id="rId16"/>
    <p:sldId id="419" r:id="rId17"/>
    <p:sldId id="420" r:id="rId18"/>
    <p:sldId id="421" r:id="rId19"/>
    <p:sldId id="401" r:id="rId20"/>
    <p:sldId id="402" r:id="rId21"/>
    <p:sldId id="416" r:id="rId22"/>
    <p:sldId id="425" r:id="rId23"/>
    <p:sldId id="426" r:id="rId24"/>
    <p:sldId id="405" r:id="rId25"/>
    <p:sldId id="391" r:id="rId26"/>
  </p:sldIdLst>
  <p:sldSz cx="9601200" cy="6858000"/>
  <p:notesSz cx="6997700" cy="9271000"/>
  <p:custDataLst>
    <p:tags r:id="rId29"/>
  </p:custDataLst>
  <p:defaultTextStyle>
    <a:defPPr>
      <a:defRPr lang="en-US"/>
    </a:defPPr>
    <a:lvl1pPr algn="ctr" rtl="0" fontAlgn="base">
      <a:spcBef>
        <a:spcPct val="0"/>
      </a:spcBef>
      <a:spcAft>
        <a:spcPct val="0"/>
      </a:spcAft>
      <a:defRPr sz="1400" b="1"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ctr" rtl="0" fontAlgn="base">
      <a:spcBef>
        <a:spcPct val="0"/>
      </a:spcBef>
      <a:spcAft>
        <a:spcPct val="0"/>
      </a:spcAft>
      <a:defRPr sz="1400" b="1"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ctr" rtl="0" fontAlgn="base">
      <a:spcBef>
        <a:spcPct val="0"/>
      </a:spcBef>
      <a:spcAft>
        <a:spcPct val="0"/>
      </a:spcAft>
      <a:defRPr sz="1400" b="1"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ctr" rtl="0" fontAlgn="base">
      <a:spcBef>
        <a:spcPct val="0"/>
      </a:spcBef>
      <a:spcAft>
        <a:spcPct val="0"/>
      </a:spcAft>
      <a:defRPr sz="1400" b="1"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ctr" rtl="0" fontAlgn="base">
      <a:spcBef>
        <a:spcPct val="0"/>
      </a:spcBef>
      <a:spcAft>
        <a:spcPct val="0"/>
      </a:spcAft>
      <a:defRPr sz="1400" b="1"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sz="1400" b="1"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sz="1400" b="1"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sz="1400" b="1"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sz="1400" b="1"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3418">
          <p15:clr>
            <a:srgbClr val="A4A3A4"/>
          </p15:clr>
        </p15:guide>
        <p15:guide id="2" pos="3024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ECCCC"/>
    <a:srgbClr val="CC0000"/>
    <a:srgbClr val="F0808B"/>
    <a:srgbClr val="E52E40"/>
    <a:srgbClr val="0000CC"/>
    <a:srgbClr val="DDDDDD"/>
    <a:srgbClr val="A50021"/>
    <a:srgbClr val="33CC33"/>
    <a:srgbClr val="FFFF00"/>
    <a:srgbClr val="77777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125E5076-3810-47DD-B79F-674D7AD40C01}" styleName="Dark Style 1 - Accent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wholeTbl>
    <a:band1H>
      <a:tcStyle>
        <a:tcBdr/>
        <a:fill>
          <a:solidFill>
            <a:schemeClr val="accent1">
              <a:shade val="60000"/>
            </a:schemeClr>
          </a:solidFill>
        </a:fill>
      </a:tcStyle>
    </a:band1H>
    <a:band1V>
      <a:tcStyle>
        <a:tcBdr/>
        <a:fill>
          <a:solidFill>
            <a:schemeClr val="accent1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1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1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1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8A107856-5554-42FB-B03E-39F5DBC370BA}" styleName="Medium Style 4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2"/>
              </a:solidFill>
            </a:ln>
          </a:top>
        </a:tcBdr>
        <a:fill>
          <a:solidFill>
            <a:schemeClr val="accent2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2">
              <a:tint val="20000"/>
            </a:schemeClr>
          </a:solidFill>
        </a:fill>
      </a:tcStyle>
    </a:firstRow>
  </a:tblStyle>
  <a:tblStyle styleId="{306799F8-075E-4A3A-A7F6-7FBC6576F1A4}" styleName="Themed Style 2 - Accent 3">
    <a:tblBg>
      <a:fillRef idx="3">
        <a:schemeClr val="accent3"/>
      </a:fillRef>
      <a:effectRef idx="3">
        <a:schemeClr val="accent3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3">
                <a:tint val="50000"/>
              </a:schemeClr>
            </a:lnRef>
          </a:left>
          <a:right>
            <a:lnRef idx="1">
              <a:schemeClr val="accent3">
                <a:tint val="50000"/>
              </a:schemeClr>
            </a:lnRef>
          </a:right>
          <a:top>
            <a:lnRef idx="1">
              <a:schemeClr val="accent3">
                <a:tint val="50000"/>
              </a:schemeClr>
            </a:lnRef>
          </a:top>
          <a:bottom>
            <a:lnRef idx="1">
              <a:schemeClr val="accent3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17292A2E-F333-43FB-9621-5CBBE7FDCDCB}" styleName="Light Style 2 - Acc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  <a:tblStyle styleId="{C083E6E3-FA7D-4D7B-A595-EF9225AFEA82}" styleName="Light Style 1 - Acc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D27102A9-8310-4765-A935-A1911B00CA55}" styleName="Light Style 1 - Accent 4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6588" autoAdjust="0"/>
    <p:restoredTop sz="91150" autoAdjust="0"/>
  </p:normalViewPr>
  <p:slideViewPr>
    <p:cSldViewPr snapToGrid="0" snapToObjects="1">
      <p:cViewPr varScale="1">
        <p:scale>
          <a:sx n="84" d="100"/>
          <a:sy n="84" d="100"/>
        </p:scale>
        <p:origin x="1896" y="84"/>
      </p:cViewPr>
      <p:guideLst>
        <p:guide orient="horz" pos="3418"/>
        <p:guide pos="3024"/>
      </p:guideLst>
    </p:cSldViewPr>
  </p:slideViewPr>
  <p:outlineViewPr>
    <p:cViewPr>
      <p:scale>
        <a:sx n="33" d="100"/>
        <a:sy n="33" d="100"/>
      </p:scale>
      <p:origin x="0" y="1428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napToObjects="1">
      <p:cViewPr varScale="1">
        <p:scale>
          <a:sx n="66" d="100"/>
          <a:sy n="66" d="100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tags" Target="tags/tag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theme" Target="theme/theme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handoutMaster" Target="handoutMasters/handoutMaster1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notesMaster" Target="notesMasters/notesMaster1.xml"/><Relationship Id="rId30" Type="http://schemas.openxmlformats.org/officeDocument/2006/relationships/presProps" Target="presProp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0_2">
  <dgm:title val=""/>
  <dgm:desc val=""/>
  <dgm:catLst>
    <dgm:cat type="mainScheme" pri="10200"/>
  </dgm:catLst>
  <dgm:styleLbl name="node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lig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l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dk2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f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con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align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trAlignAcc1">
    <dgm:fillClrLst meth="repeat">
      <a:schemeClr val="dk2">
        <a:alpha val="4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F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Align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B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fgAcc0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2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3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4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1"/>
    </dgm:linClrLst>
    <dgm:effectClrLst/>
    <dgm:txLinClrLst/>
    <dgm:txFillClrLst meth="repeat">
      <a:schemeClr val="dk2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2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DABEADD4-08B6-4268-B307-DFFDA9BA1C19}" type="doc">
      <dgm:prSet loTypeId="urn:microsoft.com/office/officeart/2005/8/layout/radial4" loCatId="relationship" qsTypeId="urn:microsoft.com/office/officeart/2005/8/quickstyle/simple1" qsCatId="simple" csTypeId="urn:microsoft.com/office/officeart/2005/8/colors/accent0_2" csCatId="mainScheme" phldr="1"/>
      <dgm:spPr/>
      <dgm:t>
        <a:bodyPr/>
        <a:lstStyle/>
        <a:p>
          <a:endParaRPr lang="en-US"/>
        </a:p>
      </dgm:t>
    </dgm:pt>
    <dgm:pt modelId="{5908505C-7544-4358-8627-1D1D81B43C90}">
      <dgm:prSet phldrT="[Text]" custT="1"/>
      <dgm:spPr/>
      <dgm:t>
        <a:bodyPr/>
        <a:lstStyle/>
        <a:p>
          <a:r>
            <a:rPr lang="en-US" sz="800" dirty="0" smtClean="0">
              <a:latin typeface="Lato" charset="0"/>
              <a:ea typeface="Lato" charset="0"/>
              <a:cs typeface="Lato" charset="0"/>
            </a:rPr>
            <a:t>API</a:t>
          </a:r>
        </a:p>
        <a:p>
          <a:r>
            <a:rPr lang="en-US" sz="800" dirty="0" smtClean="0">
              <a:latin typeface="Lato" charset="0"/>
              <a:ea typeface="Lato" charset="0"/>
              <a:cs typeface="Lato" charset="0"/>
            </a:rPr>
            <a:t>Analytics</a:t>
          </a:r>
          <a:endParaRPr lang="en-US" sz="800" dirty="0">
            <a:latin typeface="Lato" charset="0"/>
            <a:ea typeface="Lato" charset="0"/>
            <a:cs typeface="Lato" charset="0"/>
          </a:endParaRPr>
        </a:p>
      </dgm:t>
    </dgm:pt>
    <dgm:pt modelId="{12171EFA-605A-4A7A-85C0-B27EF6CEFB85}" type="parTrans" cxnId="{2DF0BA8A-3AA8-4E69-B735-E9CD3C1D6372}">
      <dgm:prSet/>
      <dgm:spPr/>
      <dgm:t>
        <a:bodyPr/>
        <a:lstStyle/>
        <a:p>
          <a:endParaRPr lang="en-US" sz="1600">
            <a:latin typeface="Lato" charset="0"/>
            <a:ea typeface="Lato" charset="0"/>
            <a:cs typeface="Lato" charset="0"/>
          </a:endParaRPr>
        </a:p>
      </dgm:t>
    </dgm:pt>
    <dgm:pt modelId="{D9C564D2-7997-4FCC-861F-E431C4C67032}" type="sibTrans" cxnId="{2DF0BA8A-3AA8-4E69-B735-E9CD3C1D6372}">
      <dgm:prSet/>
      <dgm:spPr/>
      <dgm:t>
        <a:bodyPr/>
        <a:lstStyle/>
        <a:p>
          <a:endParaRPr lang="en-US" sz="1600">
            <a:latin typeface="Lato" charset="0"/>
            <a:ea typeface="Lato" charset="0"/>
            <a:cs typeface="Lato" charset="0"/>
          </a:endParaRPr>
        </a:p>
      </dgm:t>
    </dgm:pt>
    <dgm:pt modelId="{2FA7EA66-9F28-4ABE-9C04-729CCAACBD20}">
      <dgm:prSet phldrT="[Text]" custT="1"/>
      <dgm:spPr/>
      <dgm:t>
        <a:bodyPr/>
        <a:lstStyle/>
        <a:p>
          <a:r>
            <a:rPr lang="en-US" sz="800" dirty="0" smtClean="0">
              <a:latin typeface="Lato" charset="0"/>
              <a:ea typeface="Lato" charset="0"/>
              <a:cs typeface="Lato" charset="0"/>
            </a:rPr>
            <a:t>Dashboard</a:t>
          </a:r>
          <a:endParaRPr lang="en-US" sz="800" dirty="0">
            <a:latin typeface="Lato" charset="0"/>
            <a:ea typeface="Lato" charset="0"/>
            <a:cs typeface="Lato" charset="0"/>
          </a:endParaRPr>
        </a:p>
      </dgm:t>
    </dgm:pt>
    <dgm:pt modelId="{E0D14B3B-C1AD-45C6-B965-250E9E37CD89}" type="parTrans" cxnId="{30AA9141-FDF4-4CA8-BD19-BBD42012B45C}">
      <dgm:prSet/>
      <dgm:spPr/>
      <dgm:t>
        <a:bodyPr/>
        <a:lstStyle/>
        <a:p>
          <a:endParaRPr lang="en-US" sz="1600">
            <a:latin typeface="Lato" charset="0"/>
            <a:ea typeface="Lato" charset="0"/>
            <a:cs typeface="Lato" charset="0"/>
          </a:endParaRPr>
        </a:p>
      </dgm:t>
    </dgm:pt>
    <dgm:pt modelId="{B04ADCD0-974B-44F6-B32D-0EB51BB9FF19}" type="sibTrans" cxnId="{30AA9141-FDF4-4CA8-BD19-BBD42012B45C}">
      <dgm:prSet/>
      <dgm:spPr/>
      <dgm:t>
        <a:bodyPr/>
        <a:lstStyle/>
        <a:p>
          <a:endParaRPr lang="en-US" sz="1600">
            <a:latin typeface="Lato" charset="0"/>
            <a:ea typeface="Lato" charset="0"/>
            <a:cs typeface="Lato" charset="0"/>
          </a:endParaRPr>
        </a:p>
      </dgm:t>
    </dgm:pt>
    <dgm:pt modelId="{FA77DF55-A689-451A-8ED3-F0655E969654}">
      <dgm:prSet phldrT="[Text]" custT="1"/>
      <dgm:spPr/>
      <dgm:t>
        <a:bodyPr/>
        <a:lstStyle/>
        <a:p>
          <a:r>
            <a:rPr lang="en-US" sz="800" dirty="0" smtClean="0">
              <a:latin typeface="Lato" charset="0"/>
              <a:ea typeface="Lato" charset="0"/>
              <a:cs typeface="Lato" charset="0"/>
            </a:rPr>
            <a:t>Custom Reports</a:t>
          </a:r>
          <a:endParaRPr lang="en-US" sz="800" dirty="0">
            <a:latin typeface="Lato" charset="0"/>
            <a:ea typeface="Lato" charset="0"/>
            <a:cs typeface="Lato" charset="0"/>
          </a:endParaRPr>
        </a:p>
      </dgm:t>
    </dgm:pt>
    <dgm:pt modelId="{ECFCD585-6F47-4A3B-B2F2-B8BE70A0360D}" type="parTrans" cxnId="{541A5428-A4FC-402A-B644-9B7B3DB4EA5F}">
      <dgm:prSet/>
      <dgm:spPr/>
      <dgm:t>
        <a:bodyPr/>
        <a:lstStyle/>
        <a:p>
          <a:endParaRPr lang="en-US" sz="1600">
            <a:latin typeface="Lato" charset="0"/>
            <a:ea typeface="Lato" charset="0"/>
            <a:cs typeface="Lato" charset="0"/>
          </a:endParaRPr>
        </a:p>
      </dgm:t>
    </dgm:pt>
    <dgm:pt modelId="{8FB1730A-BD51-4778-BACC-31EFFDCCBE09}" type="sibTrans" cxnId="{541A5428-A4FC-402A-B644-9B7B3DB4EA5F}">
      <dgm:prSet/>
      <dgm:spPr/>
      <dgm:t>
        <a:bodyPr/>
        <a:lstStyle/>
        <a:p>
          <a:endParaRPr lang="en-US" sz="1600">
            <a:latin typeface="Lato" charset="0"/>
            <a:ea typeface="Lato" charset="0"/>
            <a:cs typeface="Lato" charset="0"/>
          </a:endParaRPr>
        </a:p>
      </dgm:t>
    </dgm:pt>
    <dgm:pt modelId="{C355B441-9CE4-4737-B41B-74A0D72C6322}">
      <dgm:prSet phldrT="[Text]" custT="1"/>
      <dgm:spPr/>
      <dgm:t>
        <a:bodyPr/>
        <a:lstStyle/>
        <a:p>
          <a:r>
            <a:rPr lang="en-US" sz="800" dirty="0" smtClean="0">
              <a:latin typeface="Lato" charset="0"/>
              <a:ea typeface="Lato" charset="0"/>
              <a:cs typeface="Lato" charset="0"/>
            </a:rPr>
            <a:t>Data Export</a:t>
          </a:r>
          <a:endParaRPr lang="en-US" sz="800" dirty="0">
            <a:latin typeface="Lato" charset="0"/>
            <a:ea typeface="Lato" charset="0"/>
            <a:cs typeface="Lato" charset="0"/>
          </a:endParaRPr>
        </a:p>
      </dgm:t>
    </dgm:pt>
    <dgm:pt modelId="{BDDB9846-4682-4C5B-98FF-62D877365485}" type="parTrans" cxnId="{E2260EFC-AE2F-49DD-B463-EE92AEB2D824}">
      <dgm:prSet/>
      <dgm:spPr/>
      <dgm:t>
        <a:bodyPr/>
        <a:lstStyle/>
        <a:p>
          <a:endParaRPr lang="en-US" sz="1600">
            <a:latin typeface="Lato" charset="0"/>
            <a:ea typeface="Lato" charset="0"/>
            <a:cs typeface="Lato" charset="0"/>
          </a:endParaRPr>
        </a:p>
      </dgm:t>
    </dgm:pt>
    <dgm:pt modelId="{31C20AD5-157D-4BDB-AE2A-B6213A7762B8}" type="sibTrans" cxnId="{E2260EFC-AE2F-49DD-B463-EE92AEB2D824}">
      <dgm:prSet/>
      <dgm:spPr/>
      <dgm:t>
        <a:bodyPr/>
        <a:lstStyle/>
        <a:p>
          <a:endParaRPr lang="en-US" sz="1600">
            <a:latin typeface="Lato" charset="0"/>
            <a:ea typeface="Lato" charset="0"/>
            <a:cs typeface="Lato" charset="0"/>
          </a:endParaRPr>
        </a:p>
      </dgm:t>
    </dgm:pt>
    <dgm:pt modelId="{83E5B609-5F1B-4065-8787-99690A59138A}" type="pres">
      <dgm:prSet presAssocID="{DABEADD4-08B6-4268-B307-DFFDA9BA1C19}" presName="cycle" presStyleCnt="0">
        <dgm:presLayoutVars>
          <dgm:chMax val="1"/>
          <dgm:dir/>
          <dgm:animLvl val="ctr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BA03CBB9-BAB7-46EE-BE46-5770131C0BF0}" type="pres">
      <dgm:prSet presAssocID="{5908505C-7544-4358-8627-1D1D81B43C90}" presName="centerShape" presStyleLbl="node0" presStyleIdx="0" presStyleCnt="1"/>
      <dgm:spPr/>
      <dgm:t>
        <a:bodyPr/>
        <a:lstStyle/>
        <a:p>
          <a:endParaRPr lang="en-US"/>
        </a:p>
      </dgm:t>
    </dgm:pt>
    <dgm:pt modelId="{289D773C-510C-4C3F-9349-D450A28E039C}" type="pres">
      <dgm:prSet presAssocID="{E0D14B3B-C1AD-45C6-B965-250E9E37CD89}" presName="parTrans" presStyleLbl="bgSibTrans2D1" presStyleIdx="0" presStyleCnt="3"/>
      <dgm:spPr/>
      <dgm:t>
        <a:bodyPr/>
        <a:lstStyle/>
        <a:p>
          <a:endParaRPr lang="en-US"/>
        </a:p>
      </dgm:t>
    </dgm:pt>
    <dgm:pt modelId="{2464455F-8C06-4A65-8692-096E56520AE3}" type="pres">
      <dgm:prSet presAssocID="{2FA7EA66-9F28-4ABE-9C04-729CCAACBD20}" presName="node" presStyleLbl="node1" presStyleIdx="0" presStyleCnt="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AEF8F85D-E4B9-4358-A283-0967F4EBE33F}" type="pres">
      <dgm:prSet presAssocID="{ECFCD585-6F47-4A3B-B2F2-B8BE70A0360D}" presName="parTrans" presStyleLbl="bgSibTrans2D1" presStyleIdx="1" presStyleCnt="3"/>
      <dgm:spPr/>
      <dgm:t>
        <a:bodyPr/>
        <a:lstStyle/>
        <a:p>
          <a:endParaRPr lang="en-US"/>
        </a:p>
      </dgm:t>
    </dgm:pt>
    <dgm:pt modelId="{C904C886-8624-4BCD-AEB6-7A3A9D9ADB33}" type="pres">
      <dgm:prSet presAssocID="{FA77DF55-A689-451A-8ED3-F0655E969654}" presName="node" presStyleLbl="node1" presStyleIdx="1" presStyleCnt="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86BB23EB-58B8-418F-B25B-2D2EB1E9079F}" type="pres">
      <dgm:prSet presAssocID="{BDDB9846-4682-4C5B-98FF-62D877365485}" presName="parTrans" presStyleLbl="bgSibTrans2D1" presStyleIdx="2" presStyleCnt="3"/>
      <dgm:spPr/>
      <dgm:t>
        <a:bodyPr/>
        <a:lstStyle/>
        <a:p>
          <a:endParaRPr lang="en-US"/>
        </a:p>
      </dgm:t>
    </dgm:pt>
    <dgm:pt modelId="{9EF87278-3B01-4795-9BDC-FC7C6ED92E53}" type="pres">
      <dgm:prSet presAssocID="{C355B441-9CE4-4737-B41B-74A0D72C6322}" presName="node" presStyleLbl="node1" presStyleIdx="2" presStyleCnt="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F256FCA5-F8A4-5A43-8694-BF64F7DAE3C1}" type="presOf" srcId="{5908505C-7544-4358-8627-1D1D81B43C90}" destId="{BA03CBB9-BAB7-46EE-BE46-5770131C0BF0}" srcOrd="0" destOrd="0" presId="urn:microsoft.com/office/officeart/2005/8/layout/radial4"/>
    <dgm:cxn modelId="{0D684FF4-8939-8644-81E5-97B6E6C0BBEF}" type="presOf" srcId="{FA77DF55-A689-451A-8ED3-F0655E969654}" destId="{C904C886-8624-4BCD-AEB6-7A3A9D9ADB33}" srcOrd="0" destOrd="0" presId="urn:microsoft.com/office/officeart/2005/8/layout/radial4"/>
    <dgm:cxn modelId="{7AC2DDB9-B7AE-284E-8747-B8D834A4D7AA}" type="presOf" srcId="{2FA7EA66-9F28-4ABE-9C04-729CCAACBD20}" destId="{2464455F-8C06-4A65-8692-096E56520AE3}" srcOrd="0" destOrd="0" presId="urn:microsoft.com/office/officeart/2005/8/layout/radial4"/>
    <dgm:cxn modelId="{2DF0BA8A-3AA8-4E69-B735-E9CD3C1D6372}" srcId="{DABEADD4-08B6-4268-B307-DFFDA9BA1C19}" destId="{5908505C-7544-4358-8627-1D1D81B43C90}" srcOrd="0" destOrd="0" parTransId="{12171EFA-605A-4A7A-85C0-B27EF6CEFB85}" sibTransId="{D9C564D2-7997-4FCC-861F-E431C4C67032}"/>
    <dgm:cxn modelId="{9380F8EF-9465-8E41-94CA-2844BFD141E0}" type="presOf" srcId="{ECFCD585-6F47-4A3B-B2F2-B8BE70A0360D}" destId="{AEF8F85D-E4B9-4358-A283-0967F4EBE33F}" srcOrd="0" destOrd="0" presId="urn:microsoft.com/office/officeart/2005/8/layout/radial4"/>
    <dgm:cxn modelId="{33485668-36E1-6A48-B947-E3C62D34A7E3}" type="presOf" srcId="{BDDB9846-4682-4C5B-98FF-62D877365485}" destId="{86BB23EB-58B8-418F-B25B-2D2EB1E9079F}" srcOrd="0" destOrd="0" presId="urn:microsoft.com/office/officeart/2005/8/layout/radial4"/>
    <dgm:cxn modelId="{30AA9141-FDF4-4CA8-BD19-BBD42012B45C}" srcId="{5908505C-7544-4358-8627-1D1D81B43C90}" destId="{2FA7EA66-9F28-4ABE-9C04-729CCAACBD20}" srcOrd="0" destOrd="0" parTransId="{E0D14B3B-C1AD-45C6-B965-250E9E37CD89}" sibTransId="{B04ADCD0-974B-44F6-B32D-0EB51BB9FF19}"/>
    <dgm:cxn modelId="{72610734-E4C2-5648-B65A-0A9597AF787F}" type="presOf" srcId="{C355B441-9CE4-4737-B41B-74A0D72C6322}" destId="{9EF87278-3B01-4795-9BDC-FC7C6ED92E53}" srcOrd="0" destOrd="0" presId="urn:microsoft.com/office/officeart/2005/8/layout/radial4"/>
    <dgm:cxn modelId="{E2260EFC-AE2F-49DD-B463-EE92AEB2D824}" srcId="{5908505C-7544-4358-8627-1D1D81B43C90}" destId="{C355B441-9CE4-4737-B41B-74A0D72C6322}" srcOrd="2" destOrd="0" parTransId="{BDDB9846-4682-4C5B-98FF-62D877365485}" sibTransId="{31C20AD5-157D-4BDB-AE2A-B6213A7762B8}"/>
    <dgm:cxn modelId="{26F244EA-A395-1C44-B145-2C9FF8FBAFAC}" type="presOf" srcId="{DABEADD4-08B6-4268-B307-DFFDA9BA1C19}" destId="{83E5B609-5F1B-4065-8787-99690A59138A}" srcOrd="0" destOrd="0" presId="urn:microsoft.com/office/officeart/2005/8/layout/radial4"/>
    <dgm:cxn modelId="{541A5428-A4FC-402A-B644-9B7B3DB4EA5F}" srcId="{5908505C-7544-4358-8627-1D1D81B43C90}" destId="{FA77DF55-A689-451A-8ED3-F0655E969654}" srcOrd="1" destOrd="0" parTransId="{ECFCD585-6F47-4A3B-B2F2-B8BE70A0360D}" sibTransId="{8FB1730A-BD51-4778-BACC-31EFFDCCBE09}"/>
    <dgm:cxn modelId="{62269771-467E-8940-AFC9-874237BB1C20}" type="presOf" srcId="{E0D14B3B-C1AD-45C6-B965-250E9E37CD89}" destId="{289D773C-510C-4C3F-9349-D450A28E039C}" srcOrd="0" destOrd="0" presId="urn:microsoft.com/office/officeart/2005/8/layout/radial4"/>
    <dgm:cxn modelId="{9DB0416F-306A-A141-85B6-7AE843D84DB9}" type="presParOf" srcId="{83E5B609-5F1B-4065-8787-99690A59138A}" destId="{BA03CBB9-BAB7-46EE-BE46-5770131C0BF0}" srcOrd="0" destOrd="0" presId="urn:microsoft.com/office/officeart/2005/8/layout/radial4"/>
    <dgm:cxn modelId="{85BD8383-321A-7248-9E3C-68CC187AF6C7}" type="presParOf" srcId="{83E5B609-5F1B-4065-8787-99690A59138A}" destId="{289D773C-510C-4C3F-9349-D450A28E039C}" srcOrd="1" destOrd="0" presId="urn:microsoft.com/office/officeart/2005/8/layout/radial4"/>
    <dgm:cxn modelId="{1B141DA2-604D-3941-8EC0-5A817BD1962C}" type="presParOf" srcId="{83E5B609-5F1B-4065-8787-99690A59138A}" destId="{2464455F-8C06-4A65-8692-096E56520AE3}" srcOrd="2" destOrd="0" presId="urn:microsoft.com/office/officeart/2005/8/layout/radial4"/>
    <dgm:cxn modelId="{DF5CF2E0-68B8-6C44-B61F-509E53D20A6E}" type="presParOf" srcId="{83E5B609-5F1B-4065-8787-99690A59138A}" destId="{AEF8F85D-E4B9-4358-A283-0967F4EBE33F}" srcOrd="3" destOrd="0" presId="urn:microsoft.com/office/officeart/2005/8/layout/radial4"/>
    <dgm:cxn modelId="{C8E37FC2-0664-2C42-A2E2-5C7645AF1819}" type="presParOf" srcId="{83E5B609-5F1B-4065-8787-99690A59138A}" destId="{C904C886-8624-4BCD-AEB6-7A3A9D9ADB33}" srcOrd="4" destOrd="0" presId="urn:microsoft.com/office/officeart/2005/8/layout/radial4"/>
    <dgm:cxn modelId="{8825DDC1-B5CA-F74E-80F0-BB0AC7C8D4A8}" type="presParOf" srcId="{83E5B609-5F1B-4065-8787-99690A59138A}" destId="{86BB23EB-58B8-418F-B25B-2D2EB1E9079F}" srcOrd="5" destOrd="0" presId="urn:microsoft.com/office/officeart/2005/8/layout/radial4"/>
    <dgm:cxn modelId="{77D54F48-635B-054D-A6E1-A833AC98CE7B}" type="presParOf" srcId="{83E5B609-5F1B-4065-8787-99690A59138A}" destId="{9EF87278-3B01-4795-9BDC-FC7C6ED92E53}" srcOrd="6" destOrd="0" presId="urn:microsoft.com/office/officeart/2005/8/layout/radial4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A03CBB9-BAB7-46EE-BE46-5770131C0BF0}">
      <dsp:nvSpPr>
        <dsp:cNvPr id="0" name=""/>
        <dsp:cNvSpPr/>
      </dsp:nvSpPr>
      <dsp:spPr>
        <a:xfrm>
          <a:off x="749188" y="915444"/>
          <a:ext cx="691031" cy="691031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080" tIns="5080" rIns="5080" bIns="5080" numCol="1" spcCol="1270" anchor="ctr" anchorCtr="0">
          <a:noAutofit/>
        </a:bodyPr>
        <a:lstStyle/>
        <a:p>
          <a:pPr lvl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800" kern="1200" dirty="0" smtClean="0">
              <a:latin typeface="Lato" charset="0"/>
              <a:ea typeface="Lato" charset="0"/>
              <a:cs typeface="Lato" charset="0"/>
            </a:rPr>
            <a:t>API</a:t>
          </a:r>
        </a:p>
        <a:p>
          <a:pPr lvl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800" kern="1200" dirty="0" smtClean="0">
              <a:latin typeface="Lato" charset="0"/>
              <a:ea typeface="Lato" charset="0"/>
              <a:cs typeface="Lato" charset="0"/>
            </a:rPr>
            <a:t>Analytics</a:t>
          </a:r>
          <a:endParaRPr lang="en-US" sz="800" kern="1200" dirty="0">
            <a:latin typeface="Lato" charset="0"/>
            <a:ea typeface="Lato" charset="0"/>
            <a:cs typeface="Lato" charset="0"/>
          </a:endParaRPr>
        </a:p>
      </dsp:txBody>
      <dsp:txXfrm>
        <a:off x="850387" y="1016643"/>
        <a:ext cx="488633" cy="488633"/>
      </dsp:txXfrm>
    </dsp:sp>
    <dsp:sp modelId="{289D773C-510C-4C3F-9349-D450A28E039C}">
      <dsp:nvSpPr>
        <dsp:cNvPr id="0" name=""/>
        <dsp:cNvSpPr/>
      </dsp:nvSpPr>
      <dsp:spPr>
        <a:xfrm rot="12900000">
          <a:off x="278670" y="786035"/>
          <a:ext cx="556805" cy="196944"/>
        </a:xfrm>
        <a:prstGeom prst="leftArrow">
          <a:avLst>
            <a:gd name="adj1" fmla="val 60000"/>
            <a:gd name="adj2" fmla="val 50000"/>
          </a:avLst>
        </a:prstGeom>
        <a:solidFill>
          <a:schemeClr val="dk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2464455F-8C06-4A65-8692-096E56520AE3}">
      <dsp:nvSpPr>
        <dsp:cNvPr id="0" name=""/>
        <dsp:cNvSpPr/>
      </dsp:nvSpPr>
      <dsp:spPr>
        <a:xfrm>
          <a:off x="779" y="462229"/>
          <a:ext cx="656480" cy="525184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lvl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800" kern="1200" dirty="0" smtClean="0">
              <a:latin typeface="Lato" charset="0"/>
              <a:ea typeface="Lato" charset="0"/>
              <a:cs typeface="Lato" charset="0"/>
            </a:rPr>
            <a:t>Dashboard</a:t>
          </a:r>
          <a:endParaRPr lang="en-US" sz="800" kern="1200" dirty="0">
            <a:latin typeface="Lato" charset="0"/>
            <a:ea typeface="Lato" charset="0"/>
            <a:cs typeface="Lato" charset="0"/>
          </a:endParaRPr>
        </a:p>
      </dsp:txBody>
      <dsp:txXfrm>
        <a:off x="16161" y="477611"/>
        <a:ext cx="625716" cy="494420"/>
      </dsp:txXfrm>
    </dsp:sp>
    <dsp:sp modelId="{AEF8F85D-E4B9-4358-A283-0967F4EBE33F}">
      <dsp:nvSpPr>
        <dsp:cNvPr id="0" name=""/>
        <dsp:cNvSpPr/>
      </dsp:nvSpPr>
      <dsp:spPr>
        <a:xfrm rot="16200000">
          <a:off x="816301" y="506162"/>
          <a:ext cx="556805" cy="196944"/>
        </a:xfrm>
        <a:prstGeom prst="leftArrow">
          <a:avLst>
            <a:gd name="adj1" fmla="val 60000"/>
            <a:gd name="adj2" fmla="val 50000"/>
          </a:avLst>
        </a:prstGeom>
        <a:solidFill>
          <a:schemeClr val="dk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C904C886-8624-4BCD-AEB6-7A3A9D9ADB33}">
      <dsp:nvSpPr>
        <dsp:cNvPr id="0" name=""/>
        <dsp:cNvSpPr/>
      </dsp:nvSpPr>
      <dsp:spPr>
        <a:xfrm>
          <a:off x="766463" y="63639"/>
          <a:ext cx="656480" cy="525184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lvl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800" kern="1200" dirty="0" smtClean="0">
              <a:latin typeface="Lato" charset="0"/>
              <a:ea typeface="Lato" charset="0"/>
              <a:cs typeface="Lato" charset="0"/>
            </a:rPr>
            <a:t>Custom Reports</a:t>
          </a:r>
          <a:endParaRPr lang="en-US" sz="800" kern="1200" dirty="0">
            <a:latin typeface="Lato" charset="0"/>
            <a:ea typeface="Lato" charset="0"/>
            <a:cs typeface="Lato" charset="0"/>
          </a:endParaRPr>
        </a:p>
      </dsp:txBody>
      <dsp:txXfrm>
        <a:off x="781845" y="79021"/>
        <a:ext cx="625716" cy="494420"/>
      </dsp:txXfrm>
    </dsp:sp>
    <dsp:sp modelId="{86BB23EB-58B8-418F-B25B-2D2EB1E9079F}">
      <dsp:nvSpPr>
        <dsp:cNvPr id="0" name=""/>
        <dsp:cNvSpPr/>
      </dsp:nvSpPr>
      <dsp:spPr>
        <a:xfrm rot="19500000">
          <a:off x="1353931" y="786035"/>
          <a:ext cx="556805" cy="196944"/>
        </a:xfrm>
        <a:prstGeom prst="leftArrow">
          <a:avLst>
            <a:gd name="adj1" fmla="val 60000"/>
            <a:gd name="adj2" fmla="val 50000"/>
          </a:avLst>
        </a:prstGeom>
        <a:solidFill>
          <a:schemeClr val="dk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9EF87278-3B01-4795-9BDC-FC7C6ED92E53}">
      <dsp:nvSpPr>
        <dsp:cNvPr id="0" name=""/>
        <dsp:cNvSpPr/>
      </dsp:nvSpPr>
      <dsp:spPr>
        <a:xfrm>
          <a:off x="1532148" y="462229"/>
          <a:ext cx="656480" cy="525184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lvl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800" kern="1200" dirty="0" smtClean="0">
              <a:latin typeface="Lato" charset="0"/>
              <a:ea typeface="Lato" charset="0"/>
              <a:cs typeface="Lato" charset="0"/>
            </a:rPr>
            <a:t>Data Export</a:t>
          </a:r>
          <a:endParaRPr lang="en-US" sz="800" kern="1200" dirty="0">
            <a:latin typeface="Lato" charset="0"/>
            <a:ea typeface="Lato" charset="0"/>
            <a:cs typeface="Lato" charset="0"/>
          </a:endParaRPr>
        </a:p>
      </dsp:txBody>
      <dsp:txXfrm>
        <a:off x="1547530" y="477611"/>
        <a:ext cx="625716" cy="494420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radial4">
  <dgm:title val=""/>
  <dgm:desc val=""/>
  <dgm:catLst>
    <dgm:cat type="relationship" pri="19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5" srcId="1" destId="11" srcOrd="0" destOrd="0"/>
        <dgm:cxn modelId="16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  <dgm:pt modelId="15"/>
        <dgm:pt modelId="16"/>
      </dgm:ptLst>
      <dgm:cxnLst>
        <dgm:cxn modelId="2" srcId="0" destId="1" srcOrd="0" destOrd="0"/>
        <dgm:cxn modelId="16" srcId="1" destId="11" srcOrd="0" destOrd="0"/>
        <dgm:cxn modelId="17" srcId="1" destId="12" srcOrd="1" destOrd="0"/>
        <dgm:cxn modelId="18" srcId="1" destId="13" srcOrd="2" destOrd="0"/>
        <dgm:cxn modelId="19" srcId="1" destId="14" srcOrd="3" destOrd="0"/>
        <dgm:cxn modelId="20" srcId="1" destId="15" srcOrd="4" destOrd="0"/>
        <dgm:cxn modelId="21" srcId="1" destId="16" srcOrd="5" destOrd="0"/>
      </dgm:cxnLst>
      <dgm:bg/>
      <dgm:whole/>
    </dgm:dataModel>
  </dgm:clrData>
  <dgm:layoutNode name="cycle">
    <dgm:varLst>
      <dgm:chMax val="1"/>
      <dgm:dir/>
      <dgm:animLvl val="ctr"/>
      <dgm:resizeHandles val="exact"/>
    </dgm:varLst>
    <dgm:choose name="Name0">
      <dgm:if name="Name1" func="var" arg="dir" op="equ" val="norm">
        <dgm:choose name="Name2">
          <dgm:if name="Name3" axis="ch ch" ptType="node node" st="1 1" cnt="1 0" func="cnt" op="lte" val="1">
            <dgm:alg type="cycle">
              <dgm:param type="stAng" val="0"/>
              <dgm:param type="spanAng" val="360"/>
              <dgm:param type="ctrShpMap" val="fNode"/>
            </dgm:alg>
          </dgm:if>
          <dgm:else name="Name4">
            <dgm:choose name="Name5">
              <dgm:if name="Name6" axis="ch ch" ptType="node node" st="1 1" cnt="1 0" func="cnt" op="lte" val="3">
                <dgm:alg type="cycle">
                  <dgm:param type="stAng" val="-55"/>
                  <dgm:param type="spanAng" val="110"/>
                  <dgm:param type="ctrShpMap" val="fNode"/>
                </dgm:alg>
              </dgm:if>
              <dgm:else name="Name7">
                <dgm:choose name="Name8">
                  <dgm:if name="Name9" axis="ch ch" ptType="node node" st="1 1" cnt="1 0" func="cnt" op="equ" val="4">
                    <dgm:alg type="cycle">
                      <dgm:param type="stAng" val="-75"/>
                      <dgm:param type="spanAng" val="150"/>
                      <dgm:param type="ctrShpMap" val="fNode"/>
                    </dgm:alg>
                  </dgm:if>
                  <dgm:else name="Name10">
                    <dgm:alg type="cycle">
                      <dgm:param type="stAng" val="-90"/>
                      <dgm:param type="spanAng" val="180"/>
                      <dgm:param type="ctrShpMap" val="fNode"/>
                    </dgm:alg>
                  </dgm:else>
                </dgm:choose>
              </dgm:else>
            </dgm:choose>
          </dgm:else>
        </dgm:choose>
      </dgm:if>
      <dgm:else name="Name11">
        <dgm:choose name="Name12">
          <dgm:if name="Name13" axis="ch ch" ptType="node node" st="1 1" cnt="1 0" func="cnt" op="lte" val="1">
            <dgm:alg type="cycle">
              <dgm:param type="stAng" val="0"/>
              <dgm:param type="spanAng" val="-360"/>
              <dgm:param type="ctrShpMap" val="fNode"/>
            </dgm:alg>
          </dgm:if>
          <dgm:else name="Name14">
            <dgm:choose name="Name15">
              <dgm:if name="Name16" axis="ch ch" ptType="node node" st="1 1" cnt="1 0" func="cnt" op="lte" val="3">
                <dgm:alg type="cycle">
                  <dgm:param type="stAng" val="55"/>
                  <dgm:param type="spanAng" val="-110"/>
                  <dgm:param type="ctrShpMap" val="fNode"/>
                </dgm:alg>
              </dgm:if>
              <dgm:else name="Name17">
                <dgm:choose name="Name18">
                  <dgm:if name="Name19" axis="ch ch" ptType="node node" st="1 1" cnt="1 0" func="cnt" op="equ" val="4">
                    <dgm:alg type="cycle">
                      <dgm:param type="stAng" val="75"/>
                      <dgm:param type="spanAng" val="-150"/>
                      <dgm:param type="ctrShpMap" val="fNode"/>
                    </dgm:alg>
                  </dgm:if>
                  <dgm:else name="Name20">
                    <dgm:alg type="cycle">
                      <dgm:param type="stAng" val="90"/>
                      <dgm:param type="spanAng" val="-180"/>
                      <dgm:param type="ctrShpMap" val="fNode"/>
                    </dgm:alg>
                  </dgm:else>
                </dgm:choose>
              </dgm:else>
            </dgm:choose>
          </dgm:else>
        </dgm:choose>
      </dgm:else>
    </dgm:choose>
    <dgm:shape xmlns:r="http://schemas.openxmlformats.org/officeDocument/2006/relationships" r:blip="">
      <dgm:adjLst/>
    </dgm:shape>
    <dgm:presOf/>
    <dgm:constrLst>
      <dgm:constr type="w" for="ch" forName="centerShape" refType="w"/>
      <dgm:constr type="w" for="ch" forName="node" refType="w" refFor="ch" refForName="centerShape" fact="0.95"/>
      <dgm:constr type="h" for="ch" forName="parTrans" refType="w" refFor="ch" refForName="centerShape" fact="0.285"/>
      <dgm:constr type="sp" refType="w" refFor="ch" refForName="centerShape" op="equ" fact="0.23"/>
      <dgm:constr type="sibSp" refType="w" refFor="ch" refForName="node" fact="0.1"/>
      <dgm:constr type="primFontSz" for="ch" forName="node" op="equ"/>
    </dgm:constrLst>
    <dgm:choose name="Name21">
      <dgm:if name="Name22" axis="ch ch" ptType="node node" st="1 1" cnt="1 0" func="cnt" op="lte" val="5">
        <dgm:ruleLst>
          <dgm:rule type="w" for="ch" forName="centerShape" val="NaN" fact="0.27" max="NaN"/>
        </dgm:ruleLst>
      </dgm:if>
      <dgm:else name="Name23">
        <dgm:ruleLst>
          <dgm:rule type="w" for="ch" forName="centerShape" val="NaN" fact="0.27" max="NaN"/>
          <dgm:rule type="w" for="ch" forName="node" val="NaN" fact="0.7" max="NaN"/>
        </dgm:ruleLst>
      </dgm:else>
    </dgm:choose>
    <dgm:forEach name="Name24" axis="ch" ptType="node" cnt="1">
      <dgm:layoutNode name="centerShape" styleLbl="node0">
        <dgm:alg type="tx"/>
        <dgm:shape xmlns:r="http://schemas.openxmlformats.org/officeDocument/2006/relationships" type="ellipse" r:blip="">
          <dgm:adjLst/>
        </dgm:shape>
        <dgm:presOf axis="self"/>
        <dgm:constrLst>
          <dgm:constr type="tMarg" refType="primFontSz" fact="0.05"/>
          <dgm:constr type="bMarg" refType="primFontSz" fact="0.05"/>
          <dgm:constr type="lMarg" refType="primFontSz" fact="0.05"/>
          <dgm:constr type="rMarg" refType="primFontSz" fact="0.05"/>
          <dgm:constr type="primFontSz" val="65"/>
          <dgm:constr type="h" refType="w"/>
        </dgm:constrLst>
        <dgm:ruleLst>
          <dgm:rule type="primFontSz" val="5" fact="NaN" max="NaN"/>
        </dgm:ruleLst>
      </dgm:layoutNode>
      <dgm:forEach name="Name25" axis="ch">
        <dgm:forEach name="Name26" axis="self" ptType="parTrans">
          <dgm:layoutNode name="parTrans" styleLbl="bgSibTrans2D1">
            <dgm:alg type="conn">
              <dgm:param type="begPts" val="auto"/>
              <dgm:param type="endPts" val="ctr"/>
              <dgm:param type="endSty" val="noArr"/>
              <dgm:param type="begSty" val="arr"/>
            </dgm:alg>
            <dgm:shape xmlns:r="http://schemas.openxmlformats.org/officeDocument/2006/relationships" type="conn" r:blip="">
              <dgm:adjLst/>
            </dgm:shape>
            <dgm:presOf axis="self"/>
            <dgm:constrLst>
              <dgm:constr type="begPad" refType="connDist" fact="0.055"/>
              <dgm:constr type="endPad"/>
            </dgm:constrLst>
            <dgm:ruleLst/>
          </dgm:layoutNode>
        </dgm:forEach>
        <dgm:forEach name="Name27" axis="self" ptType="node">
          <dgm:layoutNode name="node" styleLbl="node1">
            <dgm:varLst>
              <dgm:bulletEnabled val="1"/>
            </dgm:varLst>
            <dgm:alg type="tx"/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OrSelf" ptType="node"/>
            <dgm:constrLst>
              <dgm:constr type="primFontSz" val="65"/>
              <dgm:constr type="h" refType="w" fact="0.8"/>
              <dgm:constr type="tMarg" refType="primFontSz" fact="0.15"/>
              <dgm:constr type="bMarg" refType="primFontSz" fact="0.15"/>
              <dgm:constr type="lMarg" refType="primFontSz" fact="0.15"/>
              <dgm:constr type="rMarg" refType="primFontSz" fact="0.15"/>
            </dgm:constrLst>
            <dgm:ruleLst>
              <dgm:rule type="primFontSz" val="5" fact="NaN" max="NaN"/>
            </dgm:ruleLst>
          </dgm:layoutNode>
        </dgm:forEach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3033713" cy="463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824" tIns="45413" rIns="90824" bIns="45413" numCol="1" anchor="t" anchorCtr="0" compatLnSpc="1">
            <a:prstTxWarp prst="textNoShape">
              <a:avLst/>
            </a:prstTxWarp>
          </a:bodyPr>
          <a:lstStyle>
            <a:lvl1pPr algn="l" defTabSz="909638">
              <a:defRPr sz="1200"/>
            </a:lvl1pPr>
          </a:lstStyle>
          <a:p>
            <a:endParaRPr lang="en-US" dirty="0"/>
          </a:p>
        </p:txBody>
      </p:sp>
      <p:sp>
        <p:nvSpPr>
          <p:cNvPr id="10243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963988" y="0"/>
            <a:ext cx="3033712" cy="463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824" tIns="45413" rIns="90824" bIns="45413" numCol="1" anchor="t" anchorCtr="0" compatLnSpc="1">
            <a:prstTxWarp prst="textNoShape">
              <a:avLst/>
            </a:prstTxWarp>
          </a:bodyPr>
          <a:lstStyle>
            <a:lvl1pPr algn="r" defTabSz="909638">
              <a:defRPr sz="1200"/>
            </a:lvl1pPr>
          </a:lstStyle>
          <a:p>
            <a:endParaRPr lang="en-US" dirty="0"/>
          </a:p>
        </p:txBody>
      </p:sp>
      <p:sp>
        <p:nvSpPr>
          <p:cNvPr id="10244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8807450"/>
            <a:ext cx="3033713" cy="463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824" tIns="45413" rIns="90824" bIns="45413" numCol="1" anchor="b" anchorCtr="0" compatLnSpc="1">
            <a:prstTxWarp prst="textNoShape">
              <a:avLst/>
            </a:prstTxWarp>
          </a:bodyPr>
          <a:lstStyle>
            <a:lvl1pPr algn="l" defTabSz="909638">
              <a:defRPr sz="1200"/>
            </a:lvl1pPr>
          </a:lstStyle>
          <a:p>
            <a:endParaRPr lang="en-US" dirty="0"/>
          </a:p>
        </p:txBody>
      </p:sp>
      <p:sp>
        <p:nvSpPr>
          <p:cNvPr id="10245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963988" y="8807450"/>
            <a:ext cx="3033712" cy="463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824" tIns="45413" rIns="90824" bIns="45413" numCol="1" anchor="b" anchorCtr="0" compatLnSpc="1">
            <a:prstTxWarp prst="textNoShape">
              <a:avLst/>
            </a:prstTxWarp>
          </a:bodyPr>
          <a:lstStyle>
            <a:lvl1pPr algn="r" defTabSz="909638">
              <a:defRPr sz="1200"/>
            </a:lvl1pPr>
          </a:lstStyle>
          <a:p>
            <a:fld id="{1CBE710F-522E-4BA3-A485-392D04449C64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5691788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3054350" cy="4556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89341" tIns="44671" rIns="89341" bIns="44671" numCol="1" anchor="t" anchorCtr="0" compatLnSpc="1">
            <a:prstTxWarp prst="textNoShape">
              <a:avLst/>
            </a:prstTxWarp>
          </a:bodyPr>
          <a:lstStyle>
            <a:lvl1pPr algn="l" defTabSz="893763">
              <a:defRPr sz="1200"/>
            </a:lvl1pPr>
          </a:lstStyle>
          <a:p>
            <a:endParaRPr lang="en-US" dirty="0"/>
          </a:p>
        </p:txBody>
      </p:sp>
      <p:sp>
        <p:nvSpPr>
          <p:cNvPr id="11267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968750" y="0"/>
            <a:ext cx="3054350" cy="4556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89341" tIns="44671" rIns="89341" bIns="44671" numCol="1" anchor="t" anchorCtr="0" compatLnSpc="1">
            <a:prstTxWarp prst="textNoShape">
              <a:avLst/>
            </a:prstTxWarp>
          </a:bodyPr>
          <a:lstStyle>
            <a:lvl1pPr algn="r" defTabSz="893763">
              <a:defRPr sz="1200"/>
            </a:lvl1pPr>
          </a:lstStyle>
          <a:p>
            <a:endParaRPr lang="en-US" dirty="0"/>
          </a:p>
        </p:txBody>
      </p:sp>
      <p:sp>
        <p:nvSpPr>
          <p:cNvPr id="11268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1027113" y="685800"/>
            <a:ext cx="4900612" cy="3500438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</p:spPr>
      </p:sp>
      <p:sp>
        <p:nvSpPr>
          <p:cNvPr id="11269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917575" y="4413250"/>
            <a:ext cx="5113338" cy="4186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89341" tIns="44671" rIns="89341" bIns="44671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11270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8826500"/>
            <a:ext cx="305435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89341" tIns="44671" rIns="89341" bIns="44671" numCol="1" anchor="b" anchorCtr="0" compatLnSpc="1">
            <a:prstTxWarp prst="textNoShape">
              <a:avLst/>
            </a:prstTxWarp>
          </a:bodyPr>
          <a:lstStyle>
            <a:lvl1pPr algn="l" defTabSz="893763">
              <a:defRPr sz="1200"/>
            </a:lvl1pPr>
          </a:lstStyle>
          <a:p>
            <a:endParaRPr lang="en-US" dirty="0"/>
          </a:p>
        </p:txBody>
      </p:sp>
      <p:sp>
        <p:nvSpPr>
          <p:cNvPr id="11271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968750" y="8826500"/>
            <a:ext cx="305435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89341" tIns="44671" rIns="89341" bIns="44671" numCol="1" anchor="b" anchorCtr="0" compatLnSpc="1">
            <a:prstTxWarp prst="textNoShape">
              <a:avLst/>
            </a:prstTxWarp>
          </a:bodyPr>
          <a:lstStyle>
            <a:lvl1pPr algn="r" defTabSz="893763">
              <a:defRPr sz="1200"/>
            </a:lvl1pPr>
          </a:lstStyle>
          <a:p>
            <a:fld id="{9B0494E8-56D9-42DE-A3E3-C44662847F86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90777085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	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B0494E8-56D9-42DE-A3E3-C44662847F86}" type="slidenum">
              <a:rPr lang="en-US" smtClean="0"/>
              <a:pPr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6313630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B0494E8-56D9-42DE-A3E3-C44662847F86}" type="slidenum">
              <a:rPr lang="en-US" smtClean="0"/>
              <a:pPr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6438639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B0494E8-56D9-42DE-A3E3-C44662847F86}" type="slidenum">
              <a:rPr lang="en-US" smtClean="0"/>
              <a:pPr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6525817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Anal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B0494E8-56D9-42DE-A3E3-C44662847F86}" type="slidenum">
              <a:rPr lang="en-US" smtClean="0"/>
              <a:pPr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3226729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B0494E8-56D9-42DE-A3E3-C44662847F86}" type="slidenum">
              <a:rPr lang="en-US" smtClean="0"/>
              <a:pPr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4601745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B0494E8-56D9-42DE-A3E3-C44662847F86}" type="slidenum">
              <a:rPr lang="en-US" smtClean="0"/>
              <a:pPr/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0155196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B0494E8-56D9-42DE-A3E3-C44662847F86}" type="slidenum">
              <a:rPr lang="en-US" smtClean="0"/>
              <a:pPr/>
              <a:t>1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3558063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B0494E8-56D9-42DE-A3E3-C44662847F86}" type="slidenum">
              <a:rPr lang="en-US" smtClean="0"/>
              <a:pPr/>
              <a:t>2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4899693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6434" name="Line 2"/>
          <p:cNvSpPr>
            <a:spLocks noChangeShapeType="1"/>
          </p:cNvSpPr>
          <p:nvPr/>
        </p:nvSpPr>
        <p:spPr bwMode="auto">
          <a:xfrm>
            <a:off x="974725" y="-44450"/>
            <a:ext cx="0" cy="6902450"/>
          </a:xfrm>
          <a:prstGeom prst="line">
            <a:avLst/>
          </a:prstGeom>
          <a:noFill/>
          <a:ln w="9525">
            <a:solidFill>
              <a:srgbClr val="CC0000"/>
            </a:solidFill>
            <a:round/>
            <a:headEnd/>
            <a:tailEnd/>
          </a:ln>
          <a:effectLst/>
        </p:spPr>
        <p:txBody>
          <a:bodyPr/>
          <a:lstStyle/>
          <a:p>
            <a:endParaRPr lang="en-US" dirty="0"/>
          </a:p>
        </p:txBody>
      </p:sp>
      <p:sp>
        <p:nvSpPr>
          <p:cNvPr id="146435" name="Line 3"/>
          <p:cNvSpPr>
            <a:spLocks noChangeShapeType="1"/>
          </p:cNvSpPr>
          <p:nvPr/>
        </p:nvSpPr>
        <p:spPr bwMode="auto">
          <a:xfrm>
            <a:off x="974725" y="-44450"/>
            <a:ext cx="0" cy="6902450"/>
          </a:xfrm>
          <a:prstGeom prst="line">
            <a:avLst/>
          </a:prstGeom>
          <a:noFill/>
          <a:ln w="9525">
            <a:solidFill>
              <a:schemeClr val="bg2"/>
            </a:solidFill>
            <a:round/>
            <a:headEnd/>
            <a:tailEnd/>
          </a:ln>
          <a:effectLst/>
        </p:spPr>
        <p:txBody>
          <a:bodyPr/>
          <a:lstStyle/>
          <a:p>
            <a:endParaRPr lang="en-US" dirty="0"/>
          </a:p>
        </p:txBody>
      </p:sp>
      <p:pic>
        <p:nvPicPr>
          <p:cNvPr id="146436" name="Picture 4" descr="Teardrop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60413" y="2136775"/>
            <a:ext cx="395287" cy="390525"/>
          </a:xfrm>
          <a:prstGeom prst="rect">
            <a:avLst/>
          </a:prstGeom>
          <a:noFill/>
        </p:spPr>
      </p:pic>
      <p:sp>
        <p:nvSpPr>
          <p:cNvPr id="146437" name="Rectangle 5"/>
          <p:cNvSpPr>
            <a:spLocks noChangeArrowheads="1"/>
          </p:cNvSpPr>
          <p:nvPr/>
        </p:nvSpPr>
        <p:spPr bwMode="auto">
          <a:xfrm>
            <a:off x="1335088" y="6378575"/>
            <a:ext cx="4456112" cy="50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/>
          <a:lstStyle/>
          <a:p>
            <a:pPr algn="l" eaLnBrk="0" hangingPunct="0">
              <a:spcBef>
                <a:spcPct val="50000"/>
              </a:spcBef>
            </a:pPr>
            <a:r>
              <a:rPr lang="en-US" sz="800" b="0" dirty="0">
                <a:latin typeface="Arial Narrow" pitchFamily="34" charset="0"/>
                <a:ea typeface="ＭＳ Ｐゴシック" pitchFamily="64" charset="-128"/>
              </a:rPr>
              <a:t>©</a:t>
            </a:r>
            <a:r>
              <a:rPr lang="en-US" sz="800" b="0" dirty="0" smtClean="0">
                <a:latin typeface="Arial Narrow" pitchFamily="34" charset="0"/>
                <a:ea typeface="ＭＳ Ｐゴシック" pitchFamily="64" charset="-128"/>
              </a:rPr>
              <a:t>2017</a:t>
            </a:r>
            <a:r>
              <a:rPr lang="en-US" sz="800" b="0" baseline="0" dirty="0" smtClean="0">
                <a:latin typeface="Arial Narrow" pitchFamily="34" charset="0"/>
                <a:ea typeface="ＭＳ Ｐゴシック" pitchFamily="64" charset="-128"/>
              </a:rPr>
              <a:t> </a:t>
            </a:r>
            <a:r>
              <a:rPr lang="en-US" sz="800" b="0" dirty="0" smtClean="0">
                <a:latin typeface="Arial Narrow" pitchFamily="34" charset="0"/>
                <a:ea typeface="ＭＳ Ｐゴシック" pitchFamily="64" charset="-128"/>
              </a:rPr>
              <a:t>CVS </a:t>
            </a:r>
            <a:r>
              <a:rPr lang="en-US" sz="800" b="0" dirty="0">
                <a:latin typeface="Arial Narrow" pitchFamily="34" charset="0"/>
                <a:ea typeface="ＭＳ Ｐゴシック" pitchFamily="64" charset="-128"/>
              </a:rPr>
              <a:t>Caremark. All rights reserved. This presentation contains confidential and proprietary information of CVS Caremark and cannot be reproduced, distributed or printed without written permission from CVS Caremark.</a:t>
            </a:r>
            <a:br>
              <a:rPr lang="en-US" sz="800" b="0" dirty="0">
                <a:latin typeface="Arial Narrow" pitchFamily="34" charset="0"/>
                <a:ea typeface="ＭＳ Ｐゴシック" pitchFamily="64" charset="-128"/>
              </a:rPr>
            </a:br>
            <a:endParaRPr lang="en-US" sz="800" b="0" dirty="0">
              <a:latin typeface="Arial Narrow" pitchFamily="34" charset="0"/>
              <a:ea typeface="ＭＳ Ｐゴシック" pitchFamily="64" charset="-128"/>
            </a:endParaRPr>
          </a:p>
        </p:txBody>
      </p:sp>
      <p:sp>
        <p:nvSpPr>
          <p:cNvPr id="146438" name="Rectangle 6"/>
          <p:cNvSpPr>
            <a:spLocks noGrp="1" noChangeArrowheads="1"/>
          </p:cNvSpPr>
          <p:nvPr>
            <p:ph type="ctrTitle"/>
          </p:nvPr>
        </p:nvSpPr>
        <p:spPr>
          <a:xfrm>
            <a:off x="1292225" y="544513"/>
            <a:ext cx="7948613" cy="20701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46439" name="Rectangle 7"/>
          <p:cNvSpPr>
            <a:spLocks noGrp="1" noChangeArrowheads="1"/>
          </p:cNvSpPr>
          <p:nvPr>
            <p:ph type="subTitle" idx="1"/>
          </p:nvPr>
        </p:nvSpPr>
        <p:spPr>
          <a:xfrm>
            <a:off x="1304925" y="3057525"/>
            <a:ext cx="7859713" cy="2681288"/>
          </a:xfrm>
        </p:spPr>
        <p:txBody>
          <a:bodyPr/>
          <a:lstStyle>
            <a:lvl1pPr marL="0" indent="0">
              <a:buFontTx/>
              <a:buNone/>
              <a:defRPr b="1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46440" name="Line 8"/>
          <p:cNvSpPr>
            <a:spLocks noChangeShapeType="1"/>
          </p:cNvSpPr>
          <p:nvPr/>
        </p:nvSpPr>
        <p:spPr bwMode="auto">
          <a:xfrm>
            <a:off x="974725" y="-44450"/>
            <a:ext cx="0" cy="6902450"/>
          </a:xfrm>
          <a:prstGeom prst="line">
            <a:avLst/>
          </a:prstGeom>
          <a:noFill/>
          <a:ln w="9525">
            <a:solidFill>
              <a:srgbClr val="CC0000"/>
            </a:solidFill>
            <a:round/>
            <a:headEnd/>
            <a:tailEnd/>
          </a:ln>
          <a:effectLst/>
        </p:spPr>
        <p:txBody>
          <a:bodyPr/>
          <a:lstStyle/>
          <a:p>
            <a:endParaRPr lang="en-US" dirty="0"/>
          </a:p>
        </p:txBody>
      </p:sp>
      <p:sp>
        <p:nvSpPr>
          <p:cNvPr id="146441" name="Line 9"/>
          <p:cNvSpPr>
            <a:spLocks noChangeShapeType="1"/>
          </p:cNvSpPr>
          <p:nvPr/>
        </p:nvSpPr>
        <p:spPr bwMode="auto">
          <a:xfrm>
            <a:off x="974725" y="-44450"/>
            <a:ext cx="0" cy="6902450"/>
          </a:xfrm>
          <a:prstGeom prst="line">
            <a:avLst/>
          </a:prstGeom>
          <a:noFill/>
          <a:ln w="9525">
            <a:solidFill>
              <a:schemeClr val="bg2"/>
            </a:solidFill>
            <a:round/>
            <a:headEnd/>
            <a:tailEnd/>
          </a:ln>
          <a:effectLst/>
        </p:spPr>
        <p:txBody>
          <a:bodyPr/>
          <a:lstStyle/>
          <a:p>
            <a:endParaRPr lang="en-US" dirty="0"/>
          </a:p>
        </p:txBody>
      </p:sp>
      <p:pic>
        <p:nvPicPr>
          <p:cNvPr id="146442" name="Picture 10" descr="Teardrop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60413" y="2136775"/>
            <a:ext cx="395287" cy="390525"/>
          </a:xfrm>
          <a:prstGeom prst="rect">
            <a:avLst/>
          </a:prstGeom>
          <a:noFill/>
        </p:spPr>
      </p:pic>
      <p:sp>
        <p:nvSpPr>
          <p:cNvPr id="11" name="TextBox 10"/>
          <p:cNvSpPr txBox="1"/>
          <p:nvPr userDrawn="1"/>
        </p:nvSpPr>
        <p:spPr>
          <a:xfrm>
            <a:off x="7627620" y="6378575"/>
            <a:ext cx="197358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 smtClean="0">
                <a:solidFill>
                  <a:srgbClr val="E52E40"/>
                </a:solidFill>
                <a:latin typeface="Lato" charset="0"/>
                <a:ea typeface="Lato" charset="0"/>
                <a:cs typeface="Lato" charset="0"/>
              </a:rPr>
              <a:t>CVS/Caremark</a:t>
            </a:r>
            <a:endParaRPr lang="en-US" sz="2000" dirty="0">
              <a:solidFill>
                <a:srgbClr val="E52E40"/>
              </a:solidFill>
              <a:latin typeface="Lato" charset="0"/>
              <a:ea typeface="Lato" charset="0"/>
              <a:cs typeface="Lato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44E6C4CD-A1A2-445D-B69F-C8ED18A85514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5862638" y="6511924"/>
            <a:ext cx="1538287" cy="217489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Prepared by George M. Hillocks	</a:t>
            </a:r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240588" y="157163"/>
            <a:ext cx="2122487" cy="6211887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71538" y="157163"/>
            <a:ext cx="6216650" cy="6211887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E6B3C841-EB6A-43B3-9FB9-B7BC868FFC2A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5862638" y="6511924"/>
            <a:ext cx="1538287" cy="217489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Prepared by George M. Hillocks	</a:t>
            </a:r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Header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2AB80A-78BA-6B42-BA0D-B44ACF890F5A}" type="slidenum">
              <a:rPr lang="en-US" smtClean="0"/>
              <a:t>‹#›</a:t>
            </a:fld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19582" y="330261"/>
            <a:ext cx="8888236" cy="607259"/>
          </a:xfrm>
        </p:spPr>
        <p:txBody>
          <a:bodyPr>
            <a:normAutofit/>
          </a:bodyPr>
          <a:lstStyle/>
          <a:p>
            <a:r>
              <a:rPr lang="en-US" dirty="0" smtClean="0"/>
              <a:t>Header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30601" y="1325972"/>
            <a:ext cx="8883884" cy="4374089"/>
          </a:xfrm>
          <a:prstGeom prst="rect">
            <a:avLst/>
          </a:prstGeom>
        </p:spPr>
        <p:txBody>
          <a:bodyPr vert="horz">
            <a:normAutofit/>
          </a:bodyPr>
          <a:lstStyle>
            <a:lvl1pPr marL="0" indent="0">
              <a:buNone/>
              <a:defRPr sz="2940">
                <a:solidFill>
                  <a:srgbClr val="141414"/>
                </a:solidFill>
              </a:defRPr>
            </a:lvl1pPr>
            <a:lvl2pPr marL="240030" indent="-238364">
              <a:buClr>
                <a:schemeClr val="accent2"/>
              </a:buClr>
              <a:buFont typeface="Arial"/>
              <a:buChar char="•"/>
              <a:defRPr sz="2520">
                <a:solidFill>
                  <a:srgbClr val="141414"/>
                </a:solidFill>
              </a:defRPr>
            </a:lvl2pPr>
            <a:lvl3pPr marL="301705" indent="-175022">
              <a:buClr>
                <a:schemeClr val="accent2"/>
              </a:buClr>
              <a:buFont typeface="Arial"/>
              <a:buChar char="•"/>
              <a:defRPr sz="2100">
                <a:solidFill>
                  <a:srgbClr val="141414"/>
                </a:solidFill>
              </a:defRPr>
            </a:lvl3pPr>
            <a:lvl4pPr marL="413385" indent="-185024">
              <a:buClr>
                <a:schemeClr val="accent2"/>
              </a:buClr>
              <a:buFont typeface="Arial"/>
              <a:buChar char="•"/>
              <a:defRPr sz="1890">
                <a:solidFill>
                  <a:srgbClr val="141414"/>
                </a:solidFill>
              </a:defRPr>
            </a:lvl4pPr>
            <a:lvl5pPr marL="538401" indent="-185024">
              <a:buClr>
                <a:schemeClr val="accent2"/>
              </a:buClr>
              <a:buFont typeface="Arial"/>
              <a:buChar char="•"/>
              <a:defRPr sz="1890">
                <a:solidFill>
                  <a:srgbClr val="141414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428627" y="317500"/>
            <a:ext cx="8782050" cy="0"/>
          </a:xfrm>
          <a:prstGeom prst="line">
            <a:avLst/>
          </a:prstGeom>
          <a:ln w="6350" cmpd="sng">
            <a:gradFill flip="none" rotWithShape="1">
              <a:gsLst>
                <a:gs pos="0">
                  <a:srgbClr val="0099FF"/>
                </a:gs>
                <a:gs pos="100000">
                  <a:srgbClr val="008000"/>
                </a:gs>
              </a:gsLst>
              <a:lin ang="0" scaled="1"/>
              <a:tileRect/>
            </a:gradFill>
            <a:bevel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6987485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C151D609-1948-4661-8BC6-AB1E16B109F4}" type="slidenum">
              <a:rPr lang="en-US"/>
              <a:pPr/>
              <a:t>‹#›</a:t>
            </a:fld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58825" y="4406900"/>
            <a:ext cx="8161338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58825" y="2906713"/>
            <a:ext cx="8161338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E1150803-B6EE-4D2C-B23A-D7C42A8406F7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5862638" y="6511924"/>
            <a:ext cx="1538287" cy="217489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Prepared by George M. Hillocks	</a:t>
            </a:r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71538" y="1285875"/>
            <a:ext cx="4168775" cy="50831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192713" y="1285875"/>
            <a:ext cx="4170362" cy="50831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B89D1D14-A8FA-4422-97F6-9E785CE1125D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5862638" y="6511924"/>
            <a:ext cx="1538287" cy="217489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Prepared by George M. Hillocks	</a:t>
            </a:r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9425" y="274638"/>
            <a:ext cx="864235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79425" y="1535113"/>
            <a:ext cx="42433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79425" y="2174875"/>
            <a:ext cx="42433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876800" y="1535113"/>
            <a:ext cx="42449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876800" y="2174875"/>
            <a:ext cx="42449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E5D87833-31EA-42EA-8B3A-3F6E3ABD4601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5862638" y="6511924"/>
            <a:ext cx="1538287" cy="217489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Prepared by George M. Hillocks	</a:t>
            </a:r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3970ACE7-7972-4389-A70A-097F415613C7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5862638" y="6511924"/>
            <a:ext cx="1538287" cy="217489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Prepared by George M. Hillocks	</a:t>
            </a:r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F0D22D5F-4D19-4D48-9EC3-7C22F0ED8774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5862638" y="6511924"/>
            <a:ext cx="1538287" cy="217489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Prepared by George M. Hillocks	</a:t>
            </a:r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9425" y="273050"/>
            <a:ext cx="3159125" cy="1162050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754438" y="273050"/>
            <a:ext cx="536733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79425" y="1435100"/>
            <a:ext cx="3159125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DBCEC42D-1B4D-4138-AFC9-656EE340E5F6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5862638" y="6511924"/>
            <a:ext cx="1538287" cy="217489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Prepared by George M. Hillocks	</a:t>
            </a:r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881188" y="4800600"/>
            <a:ext cx="5761037" cy="566738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881188" y="612775"/>
            <a:ext cx="5761037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881188" y="5367338"/>
            <a:ext cx="5761037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F6375278-A899-4C23-AEF0-E2F0C6D72D3F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5862638" y="6511924"/>
            <a:ext cx="1538287" cy="217489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Prepared by George M. Hillocks	</a:t>
            </a:r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5412" name="Text Box 4"/>
          <p:cNvSpPr txBox="1">
            <a:spLocks noChangeArrowheads="1"/>
          </p:cNvSpPr>
          <p:nvPr/>
        </p:nvSpPr>
        <p:spPr bwMode="auto">
          <a:xfrm>
            <a:off x="885825" y="6510338"/>
            <a:ext cx="7240588" cy="222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/>
          <a:lstStyle/>
          <a:p>
            <a:pPr algn="l" eaLnBrk="0" hangingPunct="0">
              <a:spcBef>
                <a:spcPct val="50000"/>
              </a:spcBef>
            </a:pPr>
            <a:r>
              <a:rPr lang="en-US" sz="800" b="0" dirty="0" smtClean="0">
                <a:latin typeface="Arial Narrow" pitchFamily="34" charset="0"/>
                <a:ea typeface="ＭＳ Ｐゴシック" pitchFamily="64" charset="-128"/>
              </a:rPr>
              <a:t>©2017 </a:t>
            </a:r>
            <a:r>
              <a:rPr lang="en-US" sz="800" b="0" dirty="0">
                <a:latin typeface="Arial Narrow" pitchFamily="34" charset="0"/>
                <a:ea typeface="ＭＳ Ｐゴシック" pitchFamily="64" charset="-128"/>
              </a:rPr>
              <a:t>CVS Caremark. All rights reserved. CVS Caremark proprietary and confidential information. Not for distribution.</a:t>
            </a:r>
          </a:p>
        </p:txBody>
      </p:sp>
      <p:sp>
        <p:nvSpPr>
          <p:cNvPr id="145413" name="Rectangle 5"/>
          <p:cNvSpPr>
            <a:spLocks noGrp="1" noChangeArrowheads="1"/>
          </p:cNvSpPr>
          <p:nvPr>
            <p:ph type="title"/>
          </p:nvPr>
        </p:nvSpPr>
        <p:spPr bwMode="auto">
          <a:xfrm>
            <a:off x="871538" y="157163"/>
            <a:ext cx="8448675" cy="104775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145414" name="Rectangle 6"/>
          <p:cNvSpPr>
            <a:spLocks noGrp="1" noChangeArrowheads="1"/>
          </p:cNvSpPr>
          <p:nvPr>
            <p:ph type="body" idx="1"/>
          </p:nvPr>
        </p:nvSpPr>
        <p:spPr bwMode="auto">
          <a:xfrm>
            <a:off x="871538" y="1285875"/>
            <a:ext cx="8491537" cy="5083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145415" name="Line 7"/>
          <p:cNvSpPr>
            <a:spLocks noChangeShapeType="1"/>
          </p:cNvSpPr>
          <p:nvPr/>
        </p:nvSpPr>
        <p:spPr bwMode="auto">
          <a:xfrm>
            <a:off x="473075" y="0"/>
            <a:ext cx="0" cy="6858000"/>
          </a:xfrm>
          <a:prstGeom prst="line">
            <a:avLst/>
          </a:prstGeom>
          <a:noFill/>
          <a:ln w="12700">
            <a:solidFill>
              <a:schemeClr val="bg2"/>
            </a:solidFill>
            <a:round/>
            <a:headEnd/>
            <a:tailEnd/>
          </a:ln>
          <a:effectLst/>
        </p:spPr>
        <p:txBody>
          <a:bodyPr/>
          <a:lstStyle/>
          <a:p>
            <a:endParaRPr lang="en-US" dirty="0"/>
          </a:p>
        </p:txBody>
      </p:sp>
      <p:pic>
        <p:nvPicPr>
          <p:cNvPr id="145416" name="Picture 8" descr="Teardrop"/>
          <p:cNvPicPr>
            <a:picLocks noChangeAspect="1" noChangeArrowheads="1"/>
          </p:cNvPicPr>
          <p:nvPr/>
        </p:nvPicPr>
        <p:blipFill>
          <a:blip r:embed="rId14" cstate="print"/>
          <a:srcRect/>
          <a:stretch>
            <a:fillRect/>
          </a:stretch>
        </p:blipFill>
        <p:spPr bwMode="auto">
          <a:xfrm>
            <a:off x="266700" y="706438"/>
            <a:ext cx="412750" cy="407987"/>
          </a:xfrm>
          <a:prstGeom prst="rect">
            <a:avLst/>
          </a:prstGeom>
          <a:noFill/>
        </p:spPr>
      </p:pic>
      <p:sp>
        <p:nvSpPr>
          <p:cNvPr id="145417" name="Rectangle 9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-77788" y="6424613"/>
            <a:ext cx="584201" cy="3048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eaLnBrk="0" hangingPunct="0">
              <a:spcBef>
                <a:spcPct val="50000"/>
              </a:spcBef>
              <a:defRPr sz="1000">
                <a:solidFill>
                  <a:schemeClr val="tx2"/>
                </a:solidFill>
                <a:latin typeface="+mn-lt"/>
                <a:ea typeface="ＭＳ Ｐゴシック" pitchFamily="64" charset="-128"/>
              </a:defRPr>
            </a:lvl1pPr>
          </a:lstStyle>
          <a:p>
            <a:fld id="{191D6A34-D3EB-4729-B5CC-3057589C1556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2" name="TextBox 1"/>
          <p:cNvSpPr txBox="1"/>
          <p:nvPr userDrawn="1"/>
        </p:nvSpPr>
        <p:spPr>
          <a:xfrm>
            <a:off x="7631677" y="6431514"/>
            <a:ext cx="196952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 smtClean="0">
                <a:solidFill>
                  <a:srgbClr val="E52E40"/>
                </a:solidFill>
                <a:latin typeface="Lato" charset="0"/>
                <a:ea typeface="Lato" charset="0"/>
                <a:cs typeface="Lato" charset="0"/>
              </a:rPr>
              <a:t>CVS/Caremark</a:t>
            </a:r>
            <a:endParaRPr lang="en-US" sz="2000" dirty="0">
              <a:solidFill>
                <a:srgbClr val="E52E40"/>
              </a:solidFill>
              <a:latin typeface="Lato" charset="0"/>
              <a:ea typeface="Lato" charset="0"/>
              <a:cs typeface="Lato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51" r:id="rId1"/>
    <p:sldLayoutId id="2147483652" r:id="rId2"/>
    <p:sldLayoutId id="2147483653" r:id="rId3"/>
    <p:sldLayoutId id="2147483654" r:id="rId4"/>
    <p:sldLayoutId id="2147483655" r:id="rId5"/>
    <p:sldLayoutId id="2147483656" r:id="rId6"/>
    <p:sldLayoutId id="2147483657" r:id="rId7"/>
    <p:sldLayoutId id="2147483658" r:id="rId8"/>
    <p:sldLayoutId id="2147483659" r:id="rId9"/>
    <p:sldLayoutId id="2147483660" r:id="rId10"/>
    <p:sldLayoutId id="2147483661" r:id="rId11"/>
    <p:sldLayoutId id="2147483662" r:id="rId12"/>
  </p:sldLayoutIdLst>
  <p:timing>
    <p:tnLst>
      <p:par>
        <p:cTn id="1" dur="indefinite" restart="never" nodeType="tmRoot"/>
      </p:par>
    </p:tnLst>
  </p:timing>
  <p:hf hdr="0" dt="0"/>
  <p:txStyles>
    <p:titleStyle>
      <a:lvl1pPr algn="l" rtl="0" fontAlgn="base">
        <a:lnSpc>
          <a:spcPct val="90000"/>
        </a:lnSpc>
        <a:spcBef>
          <a:spcPct val="40000"/>
        </a:spcBef>
        <a:spcAft>
          <a:spcPct val="0"/>
        </a:spcAft>
        <a:defRPr sz="3600" b="1">
          <a:solidFill>
            <a:schemeClr val="tx2"/>
          </a:solidFill>
          <a:latin typeface="+mj-lt"/>
          <a:ea typeface="+mj-ea"/>
          <a:cs typeface="+mj-cs"/>
        </a:defRPr>
      </a:lvl1pPr>
      <a:lvl2pPr algn="l" rtl="0" fontAlgn="base">
        <a:lnSpc>
          <a:spcPct val="90000"/>
        </a:lnSpc>
        <a:spcBef>
          <a:spcPct val="40000"/>
        </a:spcBef>
        <a:spcAft>
          <a:spcPct val="0"/>
        </a:spcAft>
        <a:defRPr sz="3600" b="1">
          <a:solidFill>
            <a:schemeClr val="tx2"/>
          </a:solidFill>
          <a:latin typeface="Arial Narrow" pitchFamily="34" charset="0"/>
        </a:defRPr>
      </a:lvl2pPr>
      <a:lvl3pPr algn="l" rtl="0" fontAlgn="base">
        <a:lnSpc>
          <a:spcPct val="90000"/>
        </a:lnSpc>
        <a:spcBef>
          <a:spcPct val="40000"/>
        </a:spcBef>
        <a:spcAft>
          <a:spcPct val="0"/>
        </a:spcAft>
        <a:defRPr sz="3600" b="1">
          <a:solidFill>
            <a:schemeClr val="tx2"/>
          </a:solidFill>
          <a:latin typeface="Arial Narrow" pitchFamily="34" charset="0"/>
        </a:defRPr>
      </a:lvl3pPr>
      <a:lvl4pPr algn="l" rtl="0" fontAlgn="base">
        <a:lnSpc>
          <a:spcPct val="90000"/>
        </a:lnSpc>
        <a:spcBef>
          <a:spcPct val="40000"/>
        </a:spcBef>
        <a:spcAft>
          <a:spcPct val="0"/>
        </a:spcAft>
        <a:defRPr sz="3600" b="1">
          <a:solidFill>
            <a:schemeClr val="tx2"/>
          </a:solidFill>
          <a:latin typeface="Arial Narrow" pitchFamily="34" charset="0"/>
        </a:defRPr>
      </a:lvl4pPr>
      <a:lvl5pPr algn="l" rtl="0" fontAlgn="base">
        <a:lnSpc>
          <a:spcPct val="90000"/>
        </a:lnSpc>
        <a:spcBef>
          <a:spcPct val="40000"/>
        </a:spcBef>
        <a:spcAft>
          <a:spcPct val="0"/>
        </a:spcAft>
        <a:defRPr sz="3600" b="1">
          <a:solidFill>
            <a:schemeClr val="tx2"/>
          </a:solidFill>
          <a:latin typeface="Arial Narrow" pitchFamily="34" charset="0"/>
        </a:defRPr>
      </a:lvl5pPr>
      <a:lvl6pPr marL="457200" algn="l" rtl="0" fontAlgn="base">
        <a:lnSpc>
          <a:spcPct val="90000"/>
        </a:lnSpc>
        <a:spcBef>
          <a:spcPct val="40000"/>
        </a:spcBef>
        <a:spcAft>
          <a:spcPct val="0"/>
        </a:spcAft>
        <a:defRPr sz="3600" b="1">
          <a:solidFill>
            <a:schemeClr val="tx2"/>
          </a:solidFill>
          <a:latin typeface="Arial Narrow" pitchFamily="34" charset="0"/>
        </a:defRPr>
      </a:lvl6pPr>
      <a:lvl7pPr marL="914400" algn="l" rtl="0" fontAlgn="base">
        <a:lnSpc>
          <a:spcPct val="90000"/>
        </a:lnSpc>
        <a:spcBef>
          <a:spcPct val="40000"/>
        </a:spcBef>
        <a:spcAft>
          <a:spcPct val="0"/>
        </a:spcAft>
        <a:defRPr sz="3600" b="1">
          <a:solidFill>
            <a:schemeClr val="tx2"/>
          </a:solidFill>
          <a:latin typeface="Arial Narrow" pitchFamily="34" charset="0"/>
        </a:defRPr>
      </a:lvl7pPr>
      <a:lvl8pPr marL="1371600" algn="l" rtl="0" fontAlgn="base">
        <a:lnSpc>
          <a:spcPct val="90000"/>
        </a:lnSpc>
        <a:spcBef>
          <a:spcPct val="40000"/>
        </a:spcBef>
        <a:spcAft>
          <a:spcPct val="0"/>
        </a:spcAft>
        <a:defRPr sz="3600" b="1">
          <a:solidFill>
            <a:schemeClr val="tx2"/>
          </a:solidFill>
          <a:latin typeface="Arial Narrow" pitchFamily="34" charset="0"/>
        </a:defRPr>
      </a:lvl8pPr>
      <a:lvl9pPr marL="1828800" algn="l" rtl="0" fontAlgn="base">
        <a:lnSpc>
          <a:spcPct val="90000"/>
        </a:lnSpc>
        <a:spcBef>
          <a:spcPct val="40000"/>
        </a:spcBef>
        <a:spcAft>
          <a:spcPct val="0"/>
        </a:spcAft>
        <a:defRPr sz="3600" b="1">
          <a:solidFill>
            <a:schemeClr val="tx2"/>
          </a:solidFill>
          <a:latin typeface="Arial Narrow" pitchFamily="34" charset="0"/>
        </a:defRPr>
      </a:lvl9pPr>
    </p:titleStyle>
    <p:bodyStyle>
      <a:lvl1pPr marL="171450" indent="-171450" algn="l" rtl="0" fontAlgn="base">
        <a:lnSpc>
          <a:spcPct val="90000"/>
        </a:lnSpc>
        <a:spcBef>
          <a:spcPct val="40000"/>
        </a:spcBef>
        <a:spcAft>
          <a:spcPct val="0"/>
        </a:spcAft>
        <a:buClr>
          <a:schemeClr val="bg2"/>
        </a:buClr>
        <a:buChar char="•"/>
        <a:defRPr sz="24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rtl="0" fontAlgn="base">
        <a:lnSpc>
          <a:spcPct val="90000"/>
        </a:lnSpc>
        <a:spcBef>
          <a:spcPct val="10000"/>
        </a:spcBef>
        <a:spcAft>
          <a:spcPct val="10000"/>
        </a:spcAft>
        <a:buClr>
          <a:schemeClr val="bg2"/>
        </a:buClr>
        <a:buChar char="–"/>
        <a:defRPr sz="2000">
          <a:solidFill>
            <a:schemeClr val="tx1"/>
          </a:solidFill>
          <a:latin typeface="+mn-lt"/>
        </a:defRPr>
      </a:lvl2pPr>
      <a:lvl3pPr marL="1143000" indent="-228600" algn="l" rtl="0" fontAlgn="base">
        <a:lnSpc>
          <a:spcPct val="90000"/>
        </a:lnSpc>
        <a:spcBef>
          <a:spcPct val="10000"/>
        </a:spcBef>
        <a:spcAft>
          <a:spcPct val="10000"/>
        </a:spcAft>
        <a:buClr>
          <a:schemeClr val="bg2"/>
        </a:buClr>
        <a:buChar char="•"/>
        <a:defRPr>
          <a:solidFill>
            <a:schemeClr val="tx1"/>
          </a:solidFill>
          <a:latin typeface="+mn-lt"/>
        </a:defRPr>
      </a:lvl3pPr>
      <a:lvl4pPr marL="1600200" indent="-228600" algn="l" rtl="0" fontAlgn="base">
        <a:lnSpc>
          <a:spcPct val="90000"/>
        </a:lnSpc>
        <a:spcBef>
          <a:spcPct val="10000"/>
        </a:spcBef>
        <a:spcAft>
          <a:spcPct val="10000"/>
        </a:spcAft>
        <a:buClr>
          <a:schemeClr val="bg2"/>
        </a:buClr>
        <a:buChar char="–"/>
        <a:defRPr sz="1600">
          <a:solidFill>
            <a:schemeClr val="tx1"/>
          </a:solidFill>
          <a:latin typeface="+mn-lt"/>
        </a:defRPr>
      </a:lvl4pPr>
      <a:lvl5pPr marL="2057400" indent="-228600" algn="l" rtl="0" fontAlgn="base">
        <a:lnSpc>
          <a:spcPct val="90000"/>
        </a:lnSpc>
        <a:spcBef>
          <a:spcPct val="10000"/>
        </a:spcBef>
        <a:spcAft>
          <a:spcPct val="10000"/>
        </a:spcAft>
        <a:buClr>
          <a:schemeClr val="bg2"/>
        </a:buClr>
        <a:buChar char="»"/>
        <a:defRPr sz="1400" b="1">
          <a:solidFill>
            <a:srgbClr val="777777"/>
          </a:solidFill>
          <a:latin typeface="+mn-lt"/>
        </a:defRPr>
      </a:lvl5pPr>
      <a:lvl6pPr marL="2514600" indent="-228600" algn="l" rtl="0" fontAlgn="base">
        <a:lnSpc>
          <a:spcPct val="90000"/>
        </a:lnSpc>
        <a:spcBef>
          <a:spcPct val="10000"/>
        </a:spcBef>
        <a:spcAft>
          <a:spcPct val="10000"/>
        </a:spcAft>
        <a:buClr>
          <a:schemeClr val="bg2"/>
        </a:buClr>
        <a:buChar char="»"/>
        <a:defRPr sz="1400" b="1">
          <a:solidFill>
            <a:srgbClr val="777777"/>
          </a:solidFill>
          <a:latin typeface="+mn-lt"/>
        </a:defRPr>
      </a:lvl6pPr>
      <a:lvl7pPr marL="2971800" indent="-228600" algn="l" rtl="0" fontAlgn="base">
        <a:lnSpc>
          <a:spcPct val="90000"/>
        </a:lnSpc>
        <a:spcBef>
          <a:spcPct val="10000"/>
        </a:spcBef>
        <a:spcAft>
          <a:spcPct val="10000"/>
        </a:spcAft>
        <a:buClr>
          <a:schemeClr val="bg2"/>
        </a:buClr>
        <a:buChar char="»"/>
        <a:defRPr sz="1400" b="1">
          <a:solidFill>
            <a:srgbClr val="777777"/>
          </a:solidFill>
          <a:latin typeface="+mn-lt"/>
        </a:defRPr>
      </a:lvl7pPr>
      <a:lvl8pPr marL="3429000" indent="-228600" algn="l" rtl="0" fontAlgn="base">
        <a:lnSpc>
          <a:spcPct val="90000"/>
        </a:lnSpc>
        <a:spcBef>
          <a:spcPct val="10000"/>
        </a:spcBef>
        <a:spcAft>
          <a:spcPct val="10000"/>
        </a:spcAft>
        <a:buClr>
          <a:schemeClr val="bg2"/>
        </a:buClr>
        <a:buChar char="»"/>
        <a:defRPr sz="1400" b="1">
          <a:solidFill>
            <a:srgbClr val="777777"/>
          </a:solidFill>
          <a:latin typeface="+mn-lt"/>
        </a:defRPr>
      </a:lvl8pPr>
      <a:lvl9pPr marL="3886200" indent="-228600" algn="l" rtl="0" fontAlgn="base">
        <a:lnSpc>
          <a:spcPct val="90000"/>
        </a:lnSpc>
        <a:spcBef>
          <a:spcPct val="10000"/>
        </a:spcBef>
        <a:spcAft>
          <a:spcPct val="10000"/>
        </a:spcAft>
        <a:buClr>
          <a:schemeClr val="bg2"/>
        </a:buClr>
        <a:buChar char="»"/>
        <a:defRPr sz="1400" b="1">
          <a:solidFill>
            <a:srgbClr val="777777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17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5" Type="http://schemas.openxmlformats.org/officeDocument/2006/relationships/hyperlink" Target="https://apigee.com/api-management/#/homepage" TargetMode="External"/><Relationship Id="rId4" Type="http://schemas.openxmlformats.org/officeDocument/2006/relationships/slideLayout" Target="../slideLayouts/slideLayout6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5" Type="http://schemas.openxmlformats.org/officeDocument/2006/relationships/hyperlink" Target="http://www.mulesoft.com/" TargetMode="External"/><Relationship Id="rId4" Type="http://schemas.openxmlformats.org/officeDocument/2006/relationships/slideLayout" Target="../slideLayouts/slideLayout6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5" Type="http://schemas.openxmlformats.org/officeDocument/2006/relationships/hyperlink" Target="http://www.wso2.com/" TargetMode="External"/><Relationship Id="rId4" Type="http://schemas.openxmlformats.org/officeDocument/2006/relationships/slideLayout" Target="../slideLayouts/slideLayout6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6" Type="http://schemas.openxmlformats.org/officeDocument/2006/relationships/hyperlink" Target="https://tyk.io/about-tyk-open-source-api-management/" TargetMode="External"/><Relationship Id="rId5" Type="http://schemas.openxmlformats.org/officeDocument/2006/relationships/notesSlide" Target="../notesSlides/notesSlide7.xml"/><Relationship Id="rId4" Type="http://schemas.openxmlformats.org/officeDocument/2006/relationships/slideLayout" Target="../slideLayouts/slideLayout6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6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wmf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5.jpeg"/><Relationship Id="rId4" Type="http://schemas.openxmlformats.org/officeDocument/2006/relationships/image" Target="../media/image4.wmf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tiff"/><Relationship Id="rId3" Type="http://schemas.openxmlformats.org/officeDocument/2006/relationships/image" Target="../media/image6.tiff"/><Relationship Id="rId7" Type="http://schemas.openxmlformats.org/officeDocument/2006/relationships/image" Target="../media/image10.tiff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9.tiff"/><Relationship Id="rId11" Type="http://schemas.openxmlformats.org/officeDocument/2006/relationships/image" Target="../media/image14.tiff"/><Relationship Id="rId5" Type="http://schemas.openxmlformats.org/officeDocument/2006/relationships/image" Target="../media/image8.tiff"/><Relationship Id="rId10" Type="http://schemas.openxmlformats.org/officeDocument/2006/relationships/image" Target="../media/image13.tiff"/><Relationship Id="rId4" Type="http://schemas.openxmlformats.org/officeDocument/2006/relationships/image" Target="../media/image7.tiff"/><Relationship Id="rId9" Type="http://schemas.openxmlformats.org/officeDocument/2006/relationships/image" Target="../media/image12.tiff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8290" name="Rectangle 2"/>
          <p:cNvSpPr>
            <a:spLocks noGrp="1" noChangeArrowheads="1"/>
          </p:cNvSpPr>
          <p:nvPr>
            <p:ph type="ctrTitle"/>
          </p:nvPr>
        </p:nvSpPr>
        <p:spPr>
          <a:xfrm>
            <a:off x="1153328" y="755325"/>
            <a:ext cx="7948613" cy="1348082"/>
          </a:xfrm>
        </p:spPr>
        <p:txBody>
          <a:bodyPr/>
          <a:lstStyle/>
          <a:p>
            <a:pPr algn="ctr"/>
            <a:r>
              <a:rPr lang="en-US" dirty="0" smtClean="0"/>
              <a:t>Microservices Architecture</a:t>
            </a:r>
            <a:br>
              <a:rPr lang="en-US" dirty="0" smtClean="0"/>
            </a:br>
            <a:r>
              <a:rPr lang="en-US" sz="2600" dirty="0" smtClean="0"/>
              <a:t>API Gateway, Service Registry and Discovery</a:t>
            </a:r>
            <a:endParaRPr lang="en-US" sz="2800" dirty="0"/>
          </a:p>
        </p:txBody>
      </p:sp>
      <p:sp>
        <p:nvSpPr>
          <p:cNvPr id="268291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411605" y="5465445"/>
            <a:ext cx="1872615" cy="419100"/>
          </a:xfrm>
        </p:spPr>
        <p:txBody>
          <a:bodyPr/>
          <a:lstStyle/>
          <a:p>
            <a:r>
              <a:rPr lang="en-US" sz="1800" dirty="0" smtClean="0"/>
              <a:t>June, 1st, 2017</a:t>
            </a:r>
            <a:endParaRPr lang="en-US" sz="1800" dirty="0"/>
          </a:p>
        </p:txBody>
      </p:sp>
      <p:sp>
        <p:nvSpPr>
          <p:cNvPr id="5" name="Rectangle 2"/>
          <p:cNvSpPr txBox="1">
            <a:spLocks noChangeArrowheads="1"/>
          </p:cNvSpPr>
          <p:nvPr/>
        </p:nvSpPr>
        <p:spPr bwMode="auto">
          <a:xfrm>
            <a:off x="1257698" y="2265044"/>
            <a:ext cx="7948613" cy="320886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l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defRPr sz="36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defRPr sz="3600" b="1">
                <a:solidFill>
                  <a:schemeClr val="tx2"/>
                </a:solidFill>
                <a:latin typeface="Arial Narrow" pitchFamily="34" charset="0"/>
              </a:defRPr>
            </a:lvl2pPr>
            <a:lvl3pPr algn="l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defRPr sz="3600" b="1">
                <a:solidFill>
                  <a:schemeClr val="tx2"/>
                </a:solidFill>
                <a:latin typeface="Arial Narrow" pitchFamily="34" charset="0"/>
              </a:defRPr>
            </a:lvl3pPr>
            <a:lvl4pPr algn="l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defRPr sz="3600" b="1">
                <a:solidFill>
                  <a:schemeClr val="tx2"/>
                </a:solidFill>
                <a:latin typeface="Arial Narrow" pitchFamily="34" charset="0"/>
              </a:defRPr>
            </a:lvl4pPr>
            <a:lvl5pPr algn="l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defRPr sz="3600" b="1">
                <a:solidFill>
                  <a:schemeClr val="tx2"/>
                </a:solidFill>
                <a:latin typeface="Arial Narrow" pitchFamily="34" charset="0"/>
              </a:defRPr>
            </a:lvl5pPr>
            <a:lvl6pPr marL="457200" algn="l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defRPr sz="3600" b="1">
                <a:solidFill>
                  <a:schemeClr val="tx2"/>
                </a:solidFill>
                <a:latin typeface="Arial Narrow" pitchFamily="34" charset="0"/>
              </a:defRPr>
            </a:lvl6pPr>
            <a:lvl7pPr marL="914400" algn="l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defRPr sz="3600" b="1">
                <a:solidFill>
                  <a:schemeClr val="tx2"/>
                </a:solidFill>
                <a:latin typeface="Arial Narrow" pitchFamily="34" charset="0"/>
              </a:defRPr>
            </a:lvl7pPr>
            <a:lvl8pPr marL="1371600" algn="l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defRPr sz="3600" b="1">
                <a:solidFill>
                  <a:schemeClr val="tx2"/>
                </a:solidFill>
                <a:latin typeface="Arial Narrow" pitchFamily="34" charset="0"/>
              </a:defRPr>
            </a:lvl8pPr>
            <a:lvl9pPr marL="1828800" algn="l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defRPr sz="3600" b="1">
                <a:solidFill>
                  <a:schemeClr val="tx2"/>
                </a:solidFill>
                <a:latin typeface="Arial Narrow" pitchFamily="34" charset="0"/>
              </a:defRPr>
            </a:lvl9pPr>
          </a:lstStyle>
          <a:p>
            <a:pPr algn="ctr"/>
            <a:r>
              <a:rPr lang="en-US" kern="0" dirty="0" smtClean="0"/>
              <a:t/>
            </a:r>
            <a:br>
              <a:rPr lang="en-US" kern="0" dirty="0" smtClean="0"/>
            </a:br>
            <a:r>
              <a:rPr lang="en-US" sz="2600" kern="0" dirty="0" smtClean="0"/>
              <a:t>Prepared By: </a:t>
            </a:r>
            <a:r>
              <a:rPr lang="en-US" sz="2600" kern="0" dirty="0" err="1" smtClean="0"/>
              <a:t>Vijay.Koneru</a:t>
            </a:r>
            <a:r>
              <a:rPr lang="en-US" sz="2600" kern="0" dirty="0" smtClean="0"/>
              <a:t> </a:t>
            </a:r>
            <a:r>
              <a:rPr lang="en-US" sz="2600" kern="0" dirty="0"/>
              <a:t>&amp; Mohapatro, Bibekananda</a:t>
            </a:r>
            <a:endParaRPr lang="en-US" sz="2600" kern="0" dirty="0" smtClean="0"/>
          </a:p>
          <a:p>
            <a:pPr algn="ctr"/>
            <a:r>
              <a:rPr lang="en-US" sz="1800" kern="0" dirty="0" smtClean="0"/>
              <a:t/>
            </a:r>
            <a:br>
              <a:rPr lang="en-US" sz="1800" kern="0" dirty="0" smtClean="0"/>
            </a:br>
            <a:r>
              <a:rPr lang="en-US" sz="2800" kern="0" dirty="0"/>
              <a:t/>
            </a:r>
            <a:br>
              <a:rPr lang="en-US" sz="2800" kern="0" dirty="0"/>
            </a:br>
            <a:r>
              <a:rPr lang="en-US" sz="2800" kern="0" dirty="0" smtClean="0"/>
              <a:t/>
            </a:r>
            <a:br>
              <a:rPr lang="en-US" sz="2800" kern="0" dirty="0" smtClean="0"/>
            </a:br>
            <a:endParaRPr lang="en-US" sz="2800" kern="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nalytic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151D609-1948-4661-8BC6-AB1E16B109F4}" type="slidenum">
              <a:rPr lang="en-US" smtClean="0"/>
              <a:pPr/>
              <a:t>10</a:t>
            </a:fld>
            <a:endParaRPr lang="en-US" dirty="0"/>
          </a:p>
        </p:txBody>
      </p:sp>
      <p:sp>
        <p:nvSpPr>
          <p:cNvPr id="5" name="Rectangle 4"/>
          <p:cNvSpPr/>
          <p:nvPr/>
        </p:nvSpPr>
        <p:spPr>
          <a:xfrm>
            <a:off x="704820" y="1455561"/>
            <a:ext cx="8615393" cy="4048424"/>
          </a:xfrm>
          <a:prstGeom prst="rect">
            <a:avLst/>
          </a:prstGeom>
          <a:ln w="9525"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0" tIns="0" rIns="0" bIns="0">
            <a:noAutofit/>
          </a:bodyPr>
          <a:lstStyle/>
          <a:p>
            <a:pPr algn="l"/>
            <a:r>
              <a:rPr lang="en-US" sz="1200" b="0" dirty="0">
                <a:latin typeface="Lato" charset="0"/>
                <a:ea typeface="Lato" charset="0"/>
                <a:cs typeface="Lato" charset="0"/>
              </a:rPr>
              <a:t>A</a:t>
            </a:r>
            <a:r>
              <a:rPr lang="en-US" sz="1200" b="0" dirty="0" smtClean="0">
                <a:latin typeface="Lato" charset="0"/>
                <a:ea typeface="Lato" charset="0"/>
                <a:cs typeface="Lato" charset="0"/>
              </a:rPr>
              <a:t>nalytics capabilities will be used in three ways:</a:t>
            </a:r>
          </a:p>
          <a:p>
            <a:pPr marL="285750" indent="-285750" algn="l">
              <a:buFont typeface="Wingdings" panose="05000000000000000000" pitchFamily="2" charset="2"/>
              <a:buChar char="§"/>
            </a:pPr>
            <a:endParaRPr lang="en-US" sz="1200" b="0" dirty="0" smtClean="0">
              <a:latin typeface="Lato" charset="0"/>
              <a:ea typeface="Lato" charset="0"/>
              <a:cs typeface="Lato" charset="0"/>
            </a:endParaRPr>
          </a:p>
          <a:p>
            <a:pPr marL="285750" indent="-285750" algn="l">
              <a:buFont typeface="Wingdings" panose="05000000000000000000" pitchFamily="2" charset="2"/>
              <a:buChar char="§"/>
            </a:pPr>
            <a:r>
              <a:rPr lang="en-US" sz="1200" dirty="0" smtClean="0">
                <a:latin typeface="Lato" charset="0"/>
                <a:ea typeface="Lato" charset="0"/>
                <a:cs typeface="Lato" charset="0"/>
              </a:rPr>
              <a:t>Dashboard</a:t>
            </a:r>
            <a:r>
              <a:rPr lang="en-US" sz="1200" b="0" dirty="0" smtClean="0">
                <a:latin typeface="Lato" charset="0"/>
                <a:ea typeface="Lato" charset="0"/>
                <a:cs typeface="Lato" charset="0"/>
              </a:rPr>
              <a:t>: the out of the box dashboard on the management UI is used to monitor traffic patterns and assist with troubleshooting and production support</a:t>
            </a:r>
          </a:p>
          <a:p>
            <a:pPr marL="285750" indent="-285750" algn="l">
              <a:buFont typeface="Wingdings" panose="05000000000000000000" pitchFamily="2" charset="2"/>
              <a:buChar char="§"/>
            </a:pPr>
            <a:endParaRPr lang="en-US" sz="1200" b="0" dirty="0" smtClean="0">
              <a:latin typeface="Lato" charset="0"/>
              <a:ea typeface="Lato" charset="0"/>
              <a:cs typeface="Lato" charset="0"/>
            </a:endParaRPr>
          </a:p>
          <a:p>
            <a:pPr marL="285750" indent="-285750" algn="l">
              <a:buFont typeface="Wingdings" panose="05000000000000000000" pitchFamily="2" charset="2"/>
              <a:buChar char="§"/>
            </a:pPr>
            <a:r>
              <a:rPr lang="en-US" sz="1200" dirty="0" smtClean="0">
                <a:latin typeface="Lato" charset="0"/>
                <a:ea typeface="Lato" charset="0"/>
                <a:cs typeface="Lato" charset="0"/>
              </a:rPr>
              <a:t>Custom reports</a:t>
            </a:r>
            <a:r>
              <a:rPr lang="en-US" sz="1200" b="0" dirty="0" smtClean="0">
                <a:latin typeface="Lato" charset="0"/>
                <a:ea typeface="Lato" charset="0"/>
                <a:cs typeface="Lato" charset="0"/>
              </a:rPr>
              <a:t>: </a:t>
            </a:r>
            <a:r>
              <a:rPr lang="en-US" sz="1200" b="0" dirty="0">
                <a:latin typeface="Lato" charset="0"/>
                <a:ea typeface="Lato" charset="0"/>
                <a:cs typeface="Lato" charset="0"/>
              </a:rPr>
              <a:t>c</a:t>
            </a:r>
            <a:r>
              <a:rPr lang="en-US" sz="1200" b="0" dirty="0" smtClean="0">
                <a:latin typeface="Lato" charset="0"/>
                <a:ea typeface="Lato" charset="0"/>
                <a:cs typeface="Lato" charset="0"/>
              </a:rPr>
              <a:t>ustom </a:t>
            </a:r>
            <a:r>
              <a:rPr lang="en-US" sz="1200" b="0" dirty="0">
                <a:latin typeface="Lato" charset="0"/>
                <a:ea typeface="Lato" charset="0"/>
                <a:cs typeface="Lato" charset="0"/>
              </a:rPr>
              <a:t>reports </a:t>
            </a:r>
            <a:r>
              <a:rPr lang="en-US" sz="1200" b="0" dirty="0" smtClean="0">
                <a:latin typeface="Lato" charset="0"/>
                <a:ea typeface="Lato" charset="0"/>
                <a:cs typeface="Lato" charset="0"/>
              </a:rPr>
              <a:t>can </a:t>
            </a:r>
            <a:r>
              <a:rPr lang="en-US" sz="1200" b="0" dirty="0">
                <a:latin typeface="Lato" charset="0"/>
                <a:ea typeface="Lato" charset="0"/>
                <a:cs typeface="Lato" charset="0"/>
              </a:rPr>
              <a:t>be configured </a:t>
            </a:r>
            <a:r>
              <a:rPr lang="en-US" sz="1200" b="0" dirty="0" smtClean="0">
                <a:latin typeface="Lato" charset="0"/>
                <a:ea typeface="Lato" charset="0"/>
                <a:cs typeface="Lato" charset="0"/>
              </a:rPr>
              <a:t>to report on specific KPIs that business users might be interested in. Reports can be generated by setting two parameters, Measures (average </a:t>
            </a:r>
            <a:r>
              <a:rPr lang="en-US" sz="1200" b="0" dirty="0" err="1">
                <a:latin typeface="Lato" charset="0"/>
                <a:ea typeface="Lato" charset="0"/>
                <a:cs typeface="Lato" charset="0"/>
              </a:rPr>
              <a:t>tx</a:t>
            </a:r>
            <a:r>
              <a:rPr lang="en-US" sz="1200" b="0" dirty="0">
                <a:latin typeface="Lato" charset="0"/>
                <a:ea typeface="Lato" charset="0"/>
                <a:cs typeface="Lato" charset="0"/>
              </a:rPr>
              <a:t>/s, policy errors, response size, total response time, etc</a:t>
            </a:r>
            <a:r>
              <a:rPr lang="en-US" sz="1200" b="0" dirty="0" smtClean="0">
                <a:latin typeface="Lato" charset="0"/>
                <a:ea typeface="Lato" charset="0"/>
                <a:cs typeface="Lato" charset="0"/>
              </a:rPr>
              <a:t>…) and Drilldowns (API </a:t>
            </a:r>
            <a:r>
              <a:rPr lang="en-US" sz="1200" b="0" dirty="0">
                <a:latin typeface="Lato" charset="0"/>
                <a:ea typeface="Lato" charset="0"/>
                <a:cs typeface="Lato" charset="0"/>
              </a:rPr>
              <a:t>product, Client ID, Developer APP, Custom, </a:t>
            </a:r>
            <a:r>
              <a:rPr lang="en-US" sz="1200" b="0" dirty="0" smtClean="0">
                <a:latin typeface="Lato" charset="0"/>
                <a:ea typeface="Lato" charset="0"/>
                <a:cs typeface="Lato" charset="0"/>
              </a:rPr>
              <a:t>etc…). </a:t>
            </a:r>
          </a:p>
          <a:p>
            <a:pPr algn="l"/>
            <a:endParaRPr lang="en-US" sz="1200" b="0" dirty="0" smtClean="0">
              <a:latin typeface="Lato" charset="0"/>
              <a:ea typeface="Lato" charset="0"/>
              <a:cs typeface="Lato" charset="0"/>
            </a:endParaRP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sz="1200" dirty="0" smtClean="0">
                <a:latin typeface="Lato" charset="0"/>
                <a:ea typeface="Lato" charset="0"/>
                <a:cs typeface="Lato" charset="0"/>
              </a:rPr>
              <a:t>Data Export</a:t>
            </a:r>
            <a:r>
              <a:rPr lang="en-US" sz="1200" b="0" dirty="0" smtClean="0">
                <a:latin typeface="Lato" charset="0"/>
                <a:ea typeface="Lato" charset="0"/>
                <a:cs typeface="Lato" charset="0"/>
              </a:rPr>
              <a:t>: data can be exported out of the API management platform in two ways</a:t>
            </a:r>
          </a:p>
          <a:p>
            <a:pPr marL="742950" lvl="1" indent="-285750" algn="l">
              <a:buFont typeface="Arial" panose="020B0604020202020204" pitchFamily="34" charset="0"/>
              <a:buChar char="•"/>
            </a:pPr>
            <a:endParaRPr lang="en-US" sz="1200" b="0" dirty="0" smtClean="0">
              <a:latin typeface="Lato" charset="0"/>
              <a:ea typeface="Lato" charset="0"/>
              <a:cs typeface="Lato" charset="0"/>
            </a:endParaRPr>
          </a:p>
          <a:p>
            <a:pPr marL="742950" lvl="1" indent="-285750" algn="l">
              <a:buFont typeface="Arial" panose="020B0604020202020204" pitchFamily="34" charset="0"/>
              <a:buChar char="•"/>
            </a:pPr>
            <a:r>
              <a:rPr lang="en-US" sz="1200" b="0" dirty="0" smtClean="0">
                <a:latin typeface="Lato" charset="0"/>
                <a:ea typeface="Lato" charset="0"/>
                <a:cs typeface="Lato" charset="0"/>
              </a:rPr>
              <a:t>Static </a:t>
            </a:r>
            <a:r>
              <a:rPr lang="en-US" sz="1200" b="0" dirty="0">
                <a:latin typeface="Lato" charset="0"/>
                <a:ea typeface="Lato" charset="0"/>
                <a:cs typeface="Lato" charset="0"/>
              </a:rPr>
              <a:t>Data Export: </a:t>
            </a:r>
          </a:p>
          <a:p>
            <a:pPr marL="1200150" lvl="2" indent="-285750" algn="l">
              <a:buFont typeface="Arial" panose="020B0604020202020204" pitchFamily="34" charset="0"/>
              <a:buChar char="•"/>
            </a:pPr>
            <a:r>
              <a:rPr lang="en-US" sz="1200" b="0" dirty="0">
                <a:latin typeface="Lato" charset="0"/>
                <a:ea typeface="Lato" charset="0"/>
                <a:cs typeface="Lato" charset="0"/>
              </a:rPr>
              <a:t>APIs can used to extract analytics data from </a:t>
            </a:r>
            <a:r>
              <a:rPr lang="en-US" sz="1200" b="0" dirty="0" smtClean="0">
                <a:latin typeface="Lato" charset="0"/>
                <a:ea typeface="Lato" charset="0"/>
                <a:cs typeface="Lato" charset="0"/>
              </a:rPr>
              <a:t>API Management</a:t>
            </a:r>
            <a:endParaRPr lang="en-US" sz="1200" b="0" dirty="0">
              <a:latin typeface="Lato" charset="0"/>
              <a:ea typeface="Lato" charset="0"/>
              <a:cs typeface="Lato" charset="0"/>
            </a:endParaRPr>
          </a:p>
          <a:p>
            <a:pPr marL="1200150" lvl="2" indent="-285750" algn="l">
              <a:buFont typeface="Arial" panose="020B0604020202020204" pitchFamily="34" charset="0"/>
              <a:buChar char="•"/>
            </a:pPr>
            <a:r>
              <a:rPr lang="en-US" sz="1200" b="0" dirty="0">
                <a:latin typeface="Lato" charset="0"/>
                <a:ea typeface="Lato" charset="0"/>
                <a:cs typeface="Lato" charset="0"/>
              </a:rPr>
              <a:t>Example extracts: App Count per developer, requests per developer, average total response times, etc…</a:t>
            </a:r>
          </a:p>
          <a:p>
            <a:pPr marL="742950" lvl="1" indent="-285750" algn="l">
              <a:buFont typeface="Arial" panose="020B0604020202020204" pitchFamily="34" charset="0"/>
              <a:buChar char="•"/>
            </a:pPr>
            <a:endParaRPr lang="en-US" sz="1200" b="0" dirty="0" smtClean="0">
              <a:latin typeface="Lato" charset="0"/>
              <a:ea typeface="Lato" charset="0"/>
              <a:cs typeface="Lato" charset="0"/>
            </a:endParaRPr>
          </a:p>
          <a:p>
            <a:pPr marL="742950" lvl="1" indent="-285750" algn="l">
              <a:buFont typeface="Arial" panose="020B0604020202020204" pitchFamily="34" charset="0"/>
              <a:buChar char="•"/>
            </a:pPr>
            <a:r>
              <a:rPr lang="en-US" sz="1200" b="0" dirty="0" smtClean="0">
                <a:latin typeface="Lato" charset="0"/>
                <a:ea typeface="Lato" charset="0"/>
                <a:cs typeface="Lato" charset="0"/>
              </a:rPr>
              <a:t>Real-time </a:t>
            </a:r>
            <a:r>
              <a:rPr lang="en-US" sz="1200" b="0" dirty="0">
                <a:latin typeface="Lato" charset="0"/>
                <a:ea typeface="Lato" charset="0"/>
                <a:cs typeface="Lato" charset="0"/>
              </a:rPr>
              <a:t>integration with 3</a:t>
            </a:r>
            <a:r>
              <a:rPr lang="en-US" sz="1200" b="0" baseline="30000" dirty="0">
                <a:latin typeface="Lato" charset="0"/>
                <a:ea typeface="Lato" charset="0"/>
                <a:cs typeface="Lato" charset="0"/>
              </a:rPr>
              <a:t>rd</a:t>
            </a:r>
            <a:r>
              <a:rPr lang="en-US" sz="1200" b="0" dirty="0">
                <a:latin typeface="Lato" charset="0"/>
                <a:ea typeface="Lato" charset="0"/>
                <a:cs typeface="Lato" charset="0"/>
              </a:rPr>
              <a:t> party tool (i.e. </a:t>
            </a:r>
            <a:r>
              <a:rPr lang="en-US" sz="1200" b="0" dirty="0" smtClean="0">
                <a:latin typeface="Lato" charset="0"/>
                <a:ea typeface="Lato" charset="0"/>
                <a:cs typeface="Lato" charset="0"/>
              </a:rPr>
              <a:t>ELK Stack)</a:t>
            </a:r>
            <a:endParaRPr lang="en-US" sz="1200" b="0" dirty="0">
              <a:latin typeface="Lato" charset="0"/>
              <a:ea typeface="Lato" charset="0"/>
              <a:cs typeface="Lato" charset="0"/>
            </a:endParaRPr>
          </a:p>
          <a:p>
            <a:pPr marL="1200150" lvl="2" indent="-285750" algn="l">
              <a:buFont typeface="Arial" panose="020B0604020202020204" pitchFamily="34" charset="0"/>
              <a:buChar char="•"/>
            </a:pPr>
            <a:r>
              <a:rPr lang="en-US" sz="1200" b="0" dirty="0">
                <a:latin typeface="Lato" charset="0"/>
                <a:ea typeface="Lato" charset="0"/>
                <a:cs typeface="Lato" charset="0"/>
              </a:rPr>
              <a:t>The </a:t>
            </a:r>
            <a:r>
              <a:rPr lang="en-US" sz="1200" b="0" dirty="0" smtClean="0">
                <a:latin typeface="Lato" charset="0"/>
                <a:ea typeface="Lato" charset="0"/>
                <a:cs typeface="Lato" charset="0"/>
              </a:rPr>
              <a:t>Policies within API Management lets </a:t>
            </a:r>
            <a:r>
              <a:rPr lang="en-US" sz="1200" b="0" dirty="0">
                <a:latin typeface="Lato" charset="0"/>
                <a:ea typeface="Lato" charset="0"/>
                <a:cs typeface="Lato" charset="0"/>
              </a:rPr>
              <a:t>you send syslog messages to third-party log management services</a:t>
            </a:r>
          </a:p>
          <a:p>
            <a:pPr marL="1200150" lvl="2" indent="-285750" algn="l">
              <a:buFont typeface="Arial" panose="020B0604020202020204" pitchFamily="34" charset="0"/>
              <a:buChar char="•"/>
            </a:pPr>
            <a:r>
              <a:rPr lang="en-US" sz="1200" b="0" dirty="0" smtClean="0">
                <a:latin typeface="Lato" charset="0"/>
                <a:ea typeface="Lato" charset="0"/>
                <a:cs typeface="Lato" charset="0"/>
              </a:rPr>
              <a:t>ELK stack can </a:t>
            </a:r>
            <a:r>
              <a:rPr lang="en-US" sz="1200" b="0" dirty="0">
                <a:latin typeface="Lato" charset="0"/>
                <a:ea typeface="Lato" charset="0"/>
                <a:cs typeface="Lato" charset="0"/>
              </a:rPr>
              <a:t>listen on a TCP or UDP port for data coming from the syslog service on one or more </a:t>
            </a:r>
            <a:r>
              <a:rPr lang="en-US" sz="1200" b="0" dirty="0" smtClean="0">
                <a:latin typeface="Lato" charset="0"/>
                <a:ea typeface="Lato" charset="0"/>
                <a:cs typeface="Lato" charset="0"/>
              </a:rPr>
              <a:t>machines</a:t>
            </a:r>
          </a:p>
        </p:txBody>
      </p:sp>
      <p:graphicFrame>
        <p:nvGraphicFramePr>
          <p:cNvPr id="6" name="Diagram 5"/>
          <p:cNvGraphicFramePr/>
          <p:nvPr>
            <p:extLst>
              <p:ext uri="{D42A27DB-BD31-4B8C-83A1-F6EECF244321}">
                <p14:modId xmlns:p14="http://schemas.microsoft.com/office/powerpoint/2010/main" val="943425139"/>
              </p:ext>
            </p:extLst>
          </p:nvPr>
        </p:nvGraphicFramePr>
        <p:xfrm>
          <a:off x="4875101" y="5059297"/>
          <a:ext cx="2189408" cy="167011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37592628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/>
          <p:nvPr/>
        </p:nvPicPr>
        <p:blipFill>
          <a:blip r:embed="rId2"/>
          <a:stretch>
            <a:fillRect/>
          </a:stretch>
        </p:blipFill>
        <p:spPr>
          <a:xfrm>
            <a:off x="1086056" y="3889315"/>
            <a:ext cx="3913632" cy="2271649"/>
          </a:xfrm>
          <a:prstGeom prst="rect">
            <a:avLst/>
          </a:prstGeom>
        </p:spPr>
      </p:pic>
      <p:pic>
        <p:nvPicPr>
          <p:cNvPr id="6" name="Picture 5"/>
          <p:cNvPicPr/>
          <p:nvPr/>
        </p:nvPicPr>
        <p:blipFill>
          <a:blip r:embed="rId3"/>
          <a:stretch>
            <a:fillRect/>
          </a:stretch>
        </p:blipFill>
        <p:spPr>
          <a:xfrm>
            <a:off x="5301711" y="3880093"/>
            <a:ext cx="4113873" cy="2026031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702189" y="1445713"/>
            <a:ext cx="6333755" cy="2202801"/>
          </a:xfrm>
          <a:prstGeom prst="rect">
            <a:avLst/>
          </a:prstGeom>
        </p:spPr>
      </p:pic>
      <p:sp>
        <p:nvSpPr>
          <p:cNvPr id="7" name="TextBox 6"/>
          <p:cNvSpPr txBox="1"/>
          <p:nvPr/>
        </p:nvSpPr>
        <p:spPr>
          <a:xfrm>
            <a:off x="885815" y="5973479"/>
            <a:ext cx="8831792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 algn="l">
              <a:buFont typeface="Arial" panose="020B0604020202020204" pitchFamily="34" charset="0"/>
              <a:buChar char="•"/>
            </a:pPr>
            <a:endParaRPr lang="en-US" sz="1200" b="0" dirty="0">
              <a:latin typeface="Arial Hebrew" charset="-79"/>
              <a:ea typeface="Arial Hebrew" charset="-79"/>
              <a:cs typeface="Arial Hebrew" charset="-79"/>
            </a:endParaRPr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en-GB" sz="1200" i="1" dirty="0">
                <a:latin typeface="Arial Hebrew" charset="-79"/>
                <a:ea typeface="Arial Hebrew" charset="-79"/>
                <a:cs typeface="Arial Hebrew" charset="-79"/>
              </a:rPr>
              <a:t>Apigee, CA Technologies, </a:t>
            </a:r>
            <a:r>
              <a:rPr lang="en-GB" sz="1200" i="1" dirty="0" err="1">
                <a:latin typeface="Arial Hebrew" charset="-79"/>
                <a:ea typeface="Arial Hebrew" charset="-79"/>
                <a:cs typeface="Arial Hebrew" charset="-79"/>
              </a:rPr>
              <a:t>MuleSoft</a:t>
            </a:r>
            <a:r>
              <a:rPr lang="en-GB" sz="1200" i="1" dirty="0">
                <a:latin typeface="Arial Hebrew" charset="-79"/>
                <a:ea typeface="Arial Hebrew" charset="-79"/>
                <a:cs typeface="Arial Hebrew" charset="-79"/>
              </a:rPr>
              <a:t>, IBM and </a:t>
            </a:r>
            <a:r>
              <a:rPr lang="en-GB" sz="1200" i="1" dirty="0" err="1">
                <a:latin typeface="Arial Hebrew" charset="-79"/>
                <a:ea typeface="Arial Hebrew" charset="-79"/>
                <a:cs typeface="Arial Hebrew" charset="-79"/>
              </a:rPr>
              <a:t>Akana</a:t>
            </a:r>
            <a:r>
              <a:rPr lang="en-GB" sz="1200" i="1" dirty="0">
                <a:latin typeface="Arial Hebrew" charset="-79"/>
                <a:ea typeface="Arial Hebrew" charset="-79"/>
                <a:cs typeface="Arial Hebrew" charset="-79"/>
              </a:rPr>
              <a:t> </a:t>
            </a:r>
            <a:r>
              <a:rPr lang="en-GB" sz="1200" b="0" dirty="0">
                <a:latin typeface="Arial Hebrew" charset="-79"/>
                <a:ea typeface="Arial Hebrew" charset="-79"/>
                <a:cs typeface="Arial Hebrew" charset="-79"/>
              </a:rPr>
              <a:t>are top five vendors in API lifecycle management and core capabilities</a:t>
            </a:r>
            <a:r>
              <a:rPr lang="en-GB" sz="1200" dirty="0">
                <a:latin typeface="Arial Hebrew" charset="-79"/>
                <a:ea typeface="Arial Hebrew" charset="-79"/>
                <a:cs typeface="Arial Hebrew" charset="-79"/>
              </a:rPr>
              <a:t>.</a:t>
            </a:r>
          </a:p>
          <a:p>
            <a:pPr marL="171450" indent="-171450" algn="l">
              <a:buFont typeface="Arial" panose="020B0604020202020204" pitchFamily="34" charset="0"/>
              <a:buChar char="•"/>
            </a:pPr>
            <a:endParaRPr lang="en-US" sz="1800" dirty="0">
              <a:latin typeface="Arial Hebrew" charset="-79"/>
              <a:ea typeface="Arial Hebrew" charset="-79"/>
              <a:cs typeface="Arial Hebrew" charset="-79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871538" y="157163"/>
            <a:ext cx="8448675" cy="1047750"/>
          </a:xfrm>
        </p:spPr>
        <p:txBody>
          <a:bodyPr/>
          <a:lstStyle/>
          <a:p>
            <a:r>
              <a:rPr lang="en-US" dirty="0" smtClean="0"/>
              <a:t>API Management Products</a:t>
            </a:r>
            <a:endParaRPr lang="en-US" dirty="0"/>
          </a:p>
        </p:txBody>
      </p:sp>
      <p:sp>
        <p:nvSpPr>
          <p:cNvPr id="8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-77788" y="6424613"/>
            <a:ext cx="584201" cy="304800"/>
          </a:xfrm>
        </p:spPr>
        <p:txBody>
          <a:bodyPr/>
          <a:lstStyle/>
          <a:p>
            <a:r>
              <a:rPr lang="en-US" dirty="0"/>
              <a:t>9</a:t>
            </a:r>
          </a:p>
        </p:txBody>
      </p:sp>
    </p:spTree>
    <p:extLst>
      <p:ext uri="{BB962C8B-B14F-4D97-AF65-F5344CB8AC3E}">
        <p14:creationId xmlns:p14="http://schemas.microsoft.com/office/powerpoint/2010/main" val="11213299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970ACE7-7972-4389-A70A-097F415613C7}" type="slidenum">
              <a:rPr lang="en-US" smtClean="0"/>
              <a:pPr/>
              <a:t>12</a:t>
            </a:fld>
            <a:endParaRPr lang="en-US" dirty="0"/>
          </a:p>
        </p:txBody>
      </p:sp>
      <p:grpSp>
        <p:nvGrpSpPr>
          <p:cNvPr id="5" name="Group 33"/>
          <p:cNvGrpSpPr/>
          <p:nvPr>
            <p:custDataLst>
              <p:tags r:id="rId1"/>
            </p:custDataLst>
          </p:nvPr>
        </p:nvGrpSpPr>
        <p:grpSpPr>
          <a:xfrm>
            <a:off x="4631696" y="1793946"/>
            <a:ext cx="4845685" cy="1185899"/>
            <a:chOff x="5543549" y="2724369"/>
            <a:chExt cx="3295651" cy="1064698"/>
          </a:xfrm>
        </p:grpSpPr>
        <p:sp>
          <p:nvSpPr>
            <p:cNvPr id="6" name="Rectangle 5"/>
            <p:cNvSpPr/>
            <p:nvPr/>
          </p:nvSpPr>
          <p:spPr>
            <a:xfrm>
              <a:off x="5543549" y="3065581"/>
              <a:ext cx="3295651" cy="723486"/>
            </a:xfrm>
            <a:prstGeom prst="rect">
              <a:avLst/>
            </a:prstGeom>
            <a:noFill/>
            <a:ln w="12700" cap="flat" cmpd="sng" algn="ctr">
              <a:noFill/>
              <a:prstDash val="solid"/>
            </a:ln>
            <a:effectLst/>
          </p:spPr>
          <p:txBody>
            <a:bodyPr rtlCol="0" anchor="t"/>
            <a:lstStyle/>
            <a:p>
              <a:pPr marL="855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Lato" charset="0"/>
                <a:ea typeface="Lato" charset="0"/>
                <a:cs typeface="Lato" charset="0"/>
              </a:endParaRPr>
            </a:p>
          </p:txBody>
        </p:sp>
        <p:sp>
          <p:nvSpPr>
            <p:cNvPr id="7" name="Round Same Side Corner Rectangle 6"/>
            <p:cNvSpPr/>
            <p:nvPr/>
          </p:nvSpPr>
          <p:spPr>
            <a:xfrm>
              <a:off x="5543549" y="2724369"/>
              <a:ext cx="3295651" cy="293690"/>
            </a:xfrm>
            <a:prstGeom prst="round2SameRect">
              <a:avLst>
                <a:gd name="adj1" fmla="val 0"/>
                <a:gd name="adj2" fmla="val 0"/>
              </a:avLst>
            </a:prstGeom>
            <a:solidFill>
              <a:schemeClr val="bg2">
                <a:lumMod val="75000"/>
              </a:schemeClr>
            </a:solidFill>
            <a:ln w="12700" cap="flat" cmpd="sng" algn="ctr">
              <a:noFill/>
              <a:prstDash val="solid"/>
            </a:ln>
            <a:effectLst>
              <a:outerShdw blurRad="25400" dist="25400" dir="2700000" algn="tl" rotWithShape="0">
                <a:prstClr val="black">
                  <a:alpha val="15000"/>
                </a:prstClr>
              </a:outerShdw>
            </a:effectLst>
          </p:spPr>
          <p:txBody>
            <a:bodyPr lIns="108000" rtlCol="0" anchor="ctr"/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CA" sz="11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Lato" charset="0"/>
                  <a:ea typeface="Lato" charset="0"/>
                  <a:cs typeface="Lato" charset="0"/>
                </a:rPr>
                <a:t>OVERVIEW</a:t>
              </a:r>
            </a:p>
          </p:txBody>
        </p:sp>
      </p:grpSp>
      <p:graphicFrame>
        <p:nvGraphicFramePr>
          <p:cNvPr id="8" name="Table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56255950"/>
              </p:ext>
            </p:extLst>
          </p:nvPr>
        </p:nvGraphicFramePr>
        <p:xfrm>
          <a:off x="612557" y="1806392"/>
          <a:ext cx="3805827" cy="1608120"/>
        </p:xfrm>
        <a:graphic>
          <a:graphicData uri="http://schemas.openxmlformats.org/drawingml/2006/table">
            <a:tbl>
              <a:tblPr firstRow="1" bandRow="1"/>
              <a:tblGrid>
                <a:gridCol w="1400503"/>
                <a:gridCol w="2405324"/>
              </a:tblGrid>
              <a:tr h="234221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4572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9144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3716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18288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2860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27432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2004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36576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algn="l">
                        <a:defRPr/>
                      </a:pPr>
                      <a:r>
                        <a:rPr lang="en-US" sz="1050" b="1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Lato" charset="0"/>
                          <a:cs typeface="Lato" charset="0"/>
                        </a:rPr>
                        <a:t>Company</a:t>
                      </a:r>
                    </a:p>
                  </a:txBody>
                  <a:tcPr marT="72000" marB="36000">
                    <a:lnL w="12700" cmpd="sng">
                      <a:noFill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4572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9144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3716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18288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2860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27432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2004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36576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r>
                        <a:rPr lang="en-CA" sz="1050" b="0" dirty="0" err="1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Lato" charset="0"/>
                          <a:cs typeface="Lato" charset="0"/>
                        </a:rPr>
                        <a:t>apigee</a:t>
                      </a:r>
                      <a:endParaRPr lang="en-CA" sz="1050" b="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Lato" charset="0"/>
                        <a:cs typeface="Lato" charset="0"/>
                      </a:endParaRPr>
                    </a:p>
                  </a:txBody>
                  <a:tcPr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95000"/>
                      </a:srgbClr>
                    </a:solidFill>
                  </a:tcPr>
                </a:tc>
              </a:tr>
              <a:tr h="234221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r>
                        <a:rPr lang="en-CA" sz="1050" b="1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Lato" charset="0"/>
                          <a:cs typeface="Lato" charset="0"/>
                        </a:rPr>
                        <a:t>Employees</a:t>
                      </a:r>
                      <a:endParaRPr lang="en-CA" sz="1050" b="1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Lato" charset="0"/>
                        <a:cs typeface="Lato" charset="0"/>
                      </a:endParaRPr>
                    </a:p>
                  </a:txBody>
                  <a:tcPr marT="72000" marB="36000">
                    <a:lnL w="12700" cmpd="sng">
                      <a:noFill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r>
                        <a:rPr lang="en-CA" sz="1050" b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Lato" charset="0"/>
                          <a:cs typeface="Lato" charset="0"/>
                        </a:rPr>
                        <a:t>201-500</a:t>
                      </a:r>
                      <a:endParaRPr lang="en-CA" sz="1050" b="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Lato" charset="0"/>
                        <a:cs typeface="Lato" charset="0"/>
                      </a:endParaRPr>
                    </a:p>
                  </a:txBody>
                  <a:tcPr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95000"/>
                      </a:srgbClr>
                    </a:solidFill>
                  </a:tcPr>
                </a:tc>
              </a:tr>
              <a:tr h="234221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r>
                        <a:rPr lang="en-CA" sz="1050" b="1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Lato" charset="0"/>
                          <a:cs typeface="Lato" charset="0"/>
                        </a:rPr>
                        <a:t>Headquarters</a:t>
                      </a:r>
                      <a:endParaRPr lang="en-CA" sz="1050" b="1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Lato" charset="0"/>
                        <a:cs typeface="Lato" charset="0"/>
                      </a:endParaRPr>
                    </a:p>
                  </a:txBody>
                  <a:tcPr marT="72000" marB="36000">
                    <a:lnL w="12700" cmpd="sng">
                      <a:noFill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US" sz="1050" b="0" i="0" dirty="0" smtClean="0">
                          <a:solidFill>
                            <a:srgbClr val="000000"/>
                          </a:solidFill>
                          <a:effectLst/>
                          <a:latin typeface="Linux Libertine"/>
                        </a:rPr>
                        <a:t>Santa Clara, California</a:t>
                      </a:r>
                      <a:endParaRPr lang="en-US" sz="1050" b="0" i="0" dirty="0">
                        <a:solidFill>
                          <a:srgbClr val="000000"/>
                        </a:solidFill>
                        <a:effectLst/>
                        <a:latin typeface="Linux Libertine"/>
                      </a:endParaRPr>
                    </a:p>
                  </a:txBody>
                  <a:tcPr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95000"/>
                      </a:srgbClr>
                    </a:solidFill>
                  </a:tcPr>
                </a:tc>
              </a:tr>
              <a:tr h="234221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r>
                        <a:rPr lang="en-CA" sz="1050" b="1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Lato" charset="0"/>
                          <a:cs typeface="Lato" charset="0"/>
                        </a:rPr>
                        <a:t>Website</a:t>
                      </a:r>
                      <a:endParaRPr lang="en-CA" sz="1050" b="1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Lato" charset="0"/>
                        <a:cs typeface="Lato" charset="0"/>
                      </a:endParaRPr>
                    </a:p>
                  </a:txBody>
                  <a:tcPr marT="72000" marB="36000">
                    <a:lnL w="12700" cmpd="sng">
                      <a:noFill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r>
                        <a:rPr lang="en-CA" sz="1050" b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Lato" charset="0"/>
                          <a:cs typeface="Lato" charset="0"/>
                          <a:hlinkClick r:id="rId5"/>
                        </a:rPr>
                        <a:t>apigee.com</a:t>
                      </a:r>
                      <a:endParaRPr lang="en-CA" sz="1050" b="0" dirty="0" smtClean="0"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Lato" charset="0"/>
                        <a:cs typeface="Lato" charset="0"/>
                      </a:endParaRPr>
                    </a:p>
                  </a:txBody>
                  <a:tcPr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95000"/>
                      </a:srgbClr>
                    </a:solidFill>
                  </a:tcPr>
                </a:tc>
              </a:tr>
              <a:tr h="234221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r>
                        <a:rPr lang="en-CA" sz="1050" b="1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Lato" charset="0"/>
                          <a:cs typeface="Lato" charset="0"/>
                        </a:rPr>
                        <a:t>Founded</a:t>
                      </a:r>
                      <a:endParaRPr lang="en-CA" sz="1050" b="1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Lato" charset="0"/>
                        <a:cs typeface="Lato" charset="0"/>
                      </a:endParaRPr>
                    </a:p>
                  </a:txBody>
                  <a:tcPr marT="72000" marB="36000">
                    <a:lnL w="12700" cmpd="sng">
                      <a:noFill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r>
                        <a:rPr lang="en-CA" sz="1050" b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Lato" charset="0"/>
                          <a:cs typeface="Lato" charset="0"/>
                        </a:rPr>
                        <a:t>2004</a:t>
                      </a:r>
                      <a:endParaRPr lang="en-CA" sz="1050" b="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Lato" charset="0"/>
                        <a:cs typeface="Lato" charset="0"/>
                      </a:endParaRPr>
                    </a:p>
                  </a:txBody>
                  <a:tcPr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95000"/>
                      </a:srgbClr>
                    </a:solidFill>
                  </a:tcPr>
                </a:tc>
              </a:tr>
              <a:tr h="234221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r>
                        <a:rPr lang="en-CA" sz="1050" b="1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Lato" charset="0"/>
                          <a:cs typeface="Lato" charset="0"/>
                        </a:rPr>
                        <a:t>Presence</a:t>
                      </a:r>
                      <a:endParaRPr lang="en-CA" sz="1050" b="1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Lato" charset="0"/>
                        <a:cs typeface="Lato" charset="0"/>
                      </a:endParaRPr>
                    </a:p>
                  </a:txBody>
                  <a:tcPr marT="72000" marB="36000">
                    <a:lnL w="12700" cmpd="sng">
                      <a:noFill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r>
                        <a:rPr lang="en-CA" sz="1050" b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Lato" charset="0"/>
                          <a:cs typeface="Lato" charset="0"/>
                        </a:rPr>
                        <a:t>Public company and Acquired by Google</a:t>
                      </a:r>
                      <a:endParaRPr lang="en-CA" sz="1050" b="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Lato" charset="0"/>
                        <a:cs typeface="Lato" charset="0"/>
                      </a:endParaRPr>
                    </a:p>
                  </a:txBody>
                  <a:tcPr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95000"/>
                      </a:srgbClr>
                    </a:solidFill>
                  </a:tcPr>
                </a:tc>
              </a:tr>
            </a:tbl>
          </a:graphicData>
        </a:graphic>
      </p:graphicFrame>
      <p:grpSp>
        <p:nvGrpSpPr>
          <p:cNvPr id="9" name="Group 33"/>
          <p:cNvGrpSpPr/>
          <p:nvPr>
            <p:custDataLst>
              <p:tags r:id="rId2"/>
            </p:custDataLst>
          </p:nvPr>
        </p:nvGrpSpPr>
        <p:grpSpPr>
          <a:xfrm>
            <a:off x="4607983" y="3158792"/>
            <a:ext cx="4893115" cy="1440044"/>
            <a:chOff x="5543549" y="2724368"/>
            <a:chExt cx="3327909" cy="1134224"/>
          </a:xfrm>
        </p:grpSpPr>
        <p:sp>
          <p:nvSpPr>
            <p:cNvPr id="10" name="Rectangle 4"/>
            <p:cNvSpPr/>
            <p:nvPr/>
          </p:nvSpPr>
          <p:spPr>
            <a:xfrm>
              <a:off x="5543549" y="3018344"/>
              <a:ext cx="3295651" cy="840248"/>
            </a:xfrm>
            <a:prstGeom prst="rect">
              <a:avLst/>
            </a:prstGeom>
            <a:noFill/>
            <a:ln w="12700" cap="flat" cmpd="sng" algn="ctr">
              <a:noFill/>
              <a:prstDash val="solid"/>
            </a:ln>
            <a:effectLst/>
          </p:spPr>
          <p:txBody>
            <a:bodyPr rtlCol="0" anchor="t"/>
            <a:lstStyle/>
            <a:p>
              <a:pPr marL="180000" marR="0" lvl="0" indent="-17145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en-US" sz="1000" b="0" dirty="0" smtClean="0">
                  <a:latin typeface="Lato" charset="0"/>
                  <a:ea typeface="Lato" charset="0"/>
                  <a:cs typeface="Lato" charset="0"/>
                </a:rPr>
                <a:t>As a product it has shown the abilities in API </a:t>
              </a:r>
              <a:r>
                <a:rPr lang="en-US" sz="1000" b="0" dirty="0">
                  <a:latin typeface="Lato" charset="0"/>
                  <a:ea typeface="Lato" charset="0"/>
                  <a:cs typeface="Lato" charset="0"/>
                </a:rPr>
                <a:t>management prospects, and provides a platform from which its customers can target their own APIs to the appropriate constituencies of developers and spread their success stories</a:t>
              </a:r>
              <a:r>
                <a:rPr lang="en-US" sz="1000" b="0" dirty="0" smtClean="0">
                  <a:latin typeface="Lato" charset="0"/>
                  <a:ea typeface="Lato" charset="0"/>
                  <a:cs typeface="Lato" charset="0"/>
                </a:rPr>
                <a:t>.</a:t>
              </a:r>
            </a:p>
            <a:p>
              <a:pPr marL="180000" marR="0" lvl="0" indent="-17145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en-US" sz="1000" b="0" dirty="0">
                  <a:latin typeface="Lato" charset="0"/>
                  <a:ea typeface="Lato" charset="0"/>
                  <a:cs typeface="Lato" charset="0"/>
                </a:rPr>
                <a:t>A recent partnership with Pivotal brings </a:t>
              </a:r>
              <a:r>
                <a:rPr lang="en-US" sz="1000" b="0" dirty="0" err="1">
                  <a:latin typeface="Lato" charset="0"/>
                  <a:ea typeface="Lato" charset="0"/>
                  <a:cs typeface="Lato" charset="0"/>
                </a:rPr>
                <a:t>Apigee's</a:t>
              </a:r>
              <a:r>
                <a:rPr lang="en-US" sz="1000" b="0" dirty="0">
                  <a:latin typeface="Lato" charset="0"/>
                  <a:ea typeface="Lato" charset="0"/>
                  <a:cs typeface="Lato" charset="0"/>
                </a:rPr>
                <a:t> API management to bear on applications built on Pivotal Cloud Foundry, which leverages platform as a service (PaaS) capabilities such as horizontal scaling and event processing.</a:t>
              </a:r>
              <a:endPara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Lato" charset="0"/>
                <a:ea typeface="Lato" charset="0"/>
                <a:cs typeface="Lato" charset="0"/>
              </a:endParaRPr>
            </a:p>
          </p:txBody>
        </p:sp>
        <p:sp>
          <p:nvSpPr>
            <p:cNvPr id="11" name="Round Same Side Corner Rectangle 6"/>
            <p:cNvSpPr/>
            <p:nvPr/>
          </p:nvSpPr>
          <p:spPr>
            <a:xfrm>
              <a:off x="5575807" y="2724368"/>
              <a:ext cx="3295651" cy="278457"/>
            </a:xfrm>
            <a:prstGeom prst="round2SameRect">
              <a:avLst>
                <a:gd name="adj1" fmla="val 0"/>
                <a:gd name="adj2" fmla="val 0"/>
              </a:avLst>
            </a:prstGeom>
            <a:solidFill>
              <a:schemeClr val="bg2">
                <a:lumMod val="75000"/>
              </a:schemeClr>
            </a:solidFill>
            <a:ln w="12700" cap="flat" cmpd="sng" algn="ctr">
              <a:noFill/>
              <a:prstDash val="solid"/>
            </a:ln>
            <a:effectLst>
              <a:outerShdw blurRad="25400" dist="25400" dir="2700000" algn="tl" rotWithShape="0">
                <a:prstClr val="black">
                  <a:alpha val="15000"/>
                </a:prstClr>
              </a:outerShdw>
            </a:effectLst>
          </p:spPr>
          <p:txBody>
            <a:bodyPr lIns="108000" rtlCol="0" anchor="ctr"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r>
                <a:rPr lang="en-CA" sz="1100" kern="0" dirty="0">
                  <a:solidFill>
                    <a:srgbClr val="FFFFFF"/>
                  </a:solidFill>
                  <a:latin typeface="Lato" charset="0"/>
                  <a:ea typeface="Lato" charset="0"/>
                  <a:cs typeface="Lato" charset="0"/>
                </a:rPr>
                <a:t>STRENGTHS</a:t>
              </a:r>
            </a:p>
          </p:txBody>
        </p:sp>
      </p:grpSp>
      <p:grpSp>
        <p:nvGrpSpPr>
          <p:cNvPr id="12" name="Group 33"/>
          <p:cNvGrpSpPr/>
          <p:nvPr>
            <p:custDataLst>
              <p:tags r:id="rId3"/>
            </p:custDataLst>
          </p:nvPr>
        </p:nvGrpSpPr>
        <p:grpSpPr>
          <a:xfrm>
            <a:off x="4607983" y="4599154"/>
            <a:ext cx="4845685" cy="1185900"/>
            <a:chOff x="5543549" y="2724369"/>
            <a:chExt cx="3295651" cy="1064699"/>
          </a:xfrm>
        </p:grpSpPr>
        <p:sp>
          <p:nvSpPr>
            <p:cNvPr id="13" name="Rectangle 12"/>
            <p:cNvSpPr/>
            <p:nvPr/>
          </p:nvSpPr>
          <p:spPr>
            <a:xfrm>
              <a:off x="5543549" y="3018344"/>
              <a:ext cx="3295651" cy="770724"/>
            </a:xfrm>
            <a:prstGeom prst="rect">
              <a:avLst/>
            </a:prstGeom>
            <a:noFill/>
            <a:ln w="12700" cap="flat" cmpd="sng" algn="ctr">
              <a:noFill/>
              <a:prstDash val="solid"/>
            </a:ln>
            <a:effectLst/>
          </p:spPr>
          <p:txBody>
            <a:bodyPr rtlCol="0" anchor="t"/>
            <a:lstStyle/>
            <a:p>
              <a:pPr marL="855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Lato" charset="0"/>
                <a:ea typeface="Lato" charset="0"/>
                <a:cs typeface="Lato" charset="0"/>
              </a:endParaRPr>
            </a:p>
          </p:txBody>
        </p:sp>
        <p:sp>
          <p:nvSpPr>
            <p:cNvPr id="14" name="Round Same Side Corner Rectangle 13"/>
            <p:cNvSpPr/>
            <p:nvPr/>
          </p:nvSpPr>
          <p:spPr>
            <a:xfrm>
              <a:off x="5543549" y="2724369"/>
              <a:ext cx="3295651" cy="293690"/>
            </a:xfrm>
            <a:prstGeom prst="round2SameRect">
              <a:avLst>
                <a:gd name="adj1" fmla="val 0"/>
                <a:gd name="adj2" fmla="val 0"/>
              </a:avLst>
            </a:prstGeom>
            <a:solidFill>
              <a:schemeClr val="bg2">
                <a:lumMod val="75000"/>
              </a:schemeClr>
            </a:solidFill>
            <a:ln w="12700" cap="flat" cmpd="sng" algn="ctr">
              <a:noFill/>
              <a:prstDash val="solid"/>
            </a:ln>
            <a:effectLst>
              <a:outerShdw blurRad="25400" dist="25400" dir="2700000" algn="tl" rotWithShape="0">
                <a:prstClr val="black">
                  <a:alpha val="15000"/>
                </a:prstClr>
              </a:outerShdw>
            </a:effectLst>
          </p:spPr>
          <p:txBody>
            <a:bodyPr lIns="108000" rtlCol="0" anchor="ctr"/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CA" sz="11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Lato" charset="0"/>
                  <a:ea typeface="Lato" charset="0"/>
                  <a:cs typeface="Lato" charset="0"/>
                </a:rPr>
                <a:t>CHALLENGES </a:t>
              </a:r>
            </a:p>
          </p:txBody>
        </p:sp>
      </p:grpSp>
      <p:sp>
        <p:nvSpPr>
          <p:cNvPr id="15" name="TextBox 14"/>
          <p:cNvSpPr txBox="1"/>
          <p:nvPr/>
        </p:nvSpPr>
        <p:spPr>
          <a:xfrm>
            <a:off x="4607983" y="4958242"/>
            <a:ext cx="4893115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4625" marR="0" lvl="0" indent="-174625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050" b="0" kern="0" dirty="0">
                <a:solidFill>
                  <a:srgbClr val="333333"/>
                </a:solidFill>
                <a:latin typeface="Lato" charset="0"/>
                <a:ea typeface="Lato" charset="0"/>
                <a:cs typeface="Lato" charset="0"/>
              </a:rPr>
              <a:t>The investment proposition for </a:t>
            </a:r>
            <a:r>
              <a:rPr lang="en-US" sz="1050" b="0" kern="0" dirty="0" err="1">
                <a:solidFill>
                  <a:srgbClr val="333333"/>
                </a:solidFill>
                <a:latin typeface="Lato" charset="0"/>
                <a:ea typeface="Lato" charset="0"/>
                <a:cs typeface="Lato" charset="0"/>
              </a:rPr>
              <a:t>Apigee’s</a:t>
            </a:r>
            <a:r>
              <a:rPr lang="en-US" sz="1050" b="0" kern="0" dirty="0">
                <a:solidFill>
                  <a:srgbClr val="333333"/>
                </a:solidFill>
                <a:latin typeface="Lato" charset="0"/>
                <a:ea typeface="Lato" charset="0"/>
                <a:cs typeface="Lato" charset="0"/>
              </a:rPr>
              <a:t> API management offering that is suitable for medium </a:t>
            </a:r>
            <a:r>
              <a:rPr lang="en-US" sz="1050" b="0" kern="0" dirty="0" smtClean="0">
                <a:solidFill>
                  <a:srgbClr val="333333"/>
                </a:solidFill>
                <a:latin typeface="Lato" charset="0"/>
                <a:ea typeface="Lato" charset="0"/>
                <a:cs typeface="Lato" charset="0"/>
              </a:rPr>
              <a:t>to broad-level </a:t>
            </a:r>
            <a:r>
              <a:rPr lang="en-US" sz="1050" b="0" kern="0" dirty="0">
                <a:solidFill>
                  <a:srgbClr val="333333"/>
                </a:solidFill>
                <a:latin typeface="Lato" charset="0"/>
                <a:ea typeface="Lato" charset="0"/>
                <a:cs typeface="Lato" charset="0"/>
              </a:rPr>
              <a:t>enterprise initiatives is relatively high in comparison to some of its competitors</a:t>
            </a:r>
            <a:endParaRPr kumimoji="0" lang="en-CA" sz="1050" b="0" i="0" u="none" strike="noStrike" kern="0" cap="none" spc="0" normalizeH="0" baseline="0" noProof="0" dirty="0" smtClean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Lato" charset="0"/>
              <a:ea typeface="Lato" charset="0"/>
              <a:cs typeface="Lato" charset="0"/>
            </a:endParaRPr>
          </a:p>
          <a:p>
            <a:pPr marL="174625" marR="0" lvl="0" indent="-174625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CA" sz="1050" b="0" i="0" u="none" strike="noStrike" kern="0" cap="none" spc="0" normalizeH="0" baseline="0" noProof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Lato" charset="0"/>
                <a:ea typeface="Lato" charset="0"/>
                <a:cs typeface="Lato" charset="0"/>
              </a:rPr>
              <a:t>No single</a:t>
            </a:r>
            <a:r>
              <a:rPr kumimoji="0" lang="en-CA" sz="1050" b="0" i="0" u="none" strike="noStrike" kern="0" cap="none" spc="0" normalizeH="0" noProof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Lato" charset="0"/>
                <a:ea typeface="Lato" charset="0"/>
                <a:cs typeface="Lato" charset="0"/>
              </a:rPr>
              <a:t> dashboard view as desired by enterprise clients.</a:t>
            </a:r>
            <a:r>
              <a:rPr kumimoji="0" lang="en-CA" sz="1050" b="0" i="0" u="none" strike="noStrike" kern="0" cap="none" spc="0" normalizeH="0" baseline="0" noProof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Lato" charset="0"/>
                <a:ea typeface="Lato" charset="0"/>
                <a:cs typeface="Lato" charset="0"/>
              </a:rPr>
              <a:t> 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4655413" y="2097346"/>
            <a:ext cx="4845685" cy="90024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50" b="0" dirty="0" smtClean="0">
                <a:solidFill>
                  <a:schemeClr val="dk1"/>
                </a:solidFill>
                <a:latin typeface="Lato" charset="0"/>
                <a:ea typeface="Lato" charset="0"/>
                <a:cs typeface="Lato" charset="0"/>
              </a:rPr>
              <a:t>Apigee has a mature </a:t>
            </a:r>
            <a:r>
              <a:rPr lang="en-US" sz="1050" b="0" dirty="0">
                <a:solidFill>
                  <a:schemeClr val="dk1"/>
                </a:solidFill>
                <a:latin typeface="Lato" charset="0"/>
                <a:ea typeface="Lato" charset="0"/>
                <a:cs typeface="Lato" charset="0"/>
              </a:rPr>
              <a:t>and well-rounded API management offering strengthened by an aggressive product </a:t>
            </a:r>
            <a:r>
              <a:rPr lang="en-US" sz="1050" b="0" dirty="0" smtClean="0">
                <a:solidFill>
                  <a:schemeClr val="dk1"/>
                </a:solidFill>
                <a:latin typeface="Lato" charset="0"/>
                <a:ea typeface="Lato" charset="0"/>
                <a:cs typeface="Lato" charset="0"/>
              </a:rPr>
              <a:t>strategy which </a:t>
            </a:r>
            <a:r>
              <a:rPr lang="en-US" sz="1050" b="0" dirty="0">
                <a:solidFill>
                  <a:schemeClr val="dk1"/>
                </a:solidFill>
                <a:latin typeface="Lato" charset="0"/>
                <a:ea typeface="Lato" charset="0"/>
                <a:cs typeface="Lato" charset="0"/>
              </a:rPr>
              <a:t>offers  </a:t>
            </a:r>
            <a:r>
              <a:rPr lang="en-US" sz="1050" b="0" dirty="0" smtClean="0">
                <a:solidFill>
                  <a:schemeClr val="dk1"/>
                </a:solidFill>
                <a:latin typeface="Lato" charset="0"/>
                <a:ea typeface="Lato" charset="0"/>
                <a:cs typeface="Lato" charset="0"/>
              </a:rPr>
              <a:t>a </a:t>
            </a:r>
            <a:r>
              <a:rPr lang="en-US" sz="1050" b="0" dirty="0">
                <a:solidFill>
                  <a:schemeClr val="dk1"/>
                </a:solidFill>
                <a:latin typeface="Lato" charset="0"/>
                <a:ea typeface="Lato" charset="0"/>
                <a:cs typeface="Lato" charset="0"/>
              </a:rPr>
              <a:t>combination of a unified API platform (API Edge) and big data predictive </a:t>
            </a:r>
            <a:r>
              <a:rPr lang="en-US" sz="1050" b="0" dirty="0" smtClean="0">
                <a:solidFill>
                  <a:schemeClr val="dk1"/>
                </a:solidFill>
                <a:latin typeface="Lato" charset="0"/>
                <a:ea typeface="Lato" charset="0"/>
                <a:cs typeface="Lato" charset="0"/>
              </a:rPr>
              <a:t>analytics (</a:t>
            </a:r>
            <a:r>
              <a:rPr lang="en-US" sz="1050" b="0" dirty="0">
                <a:solidFill>
                  <a:schemeClr val="dk1"/>
                </a:solidFill>
                <a:latin typeface="Lato" charset="0"/>
                <a:ea typeface="Lato" charset="0"/>
                <a:cs typeface="Lato" charset="0"/>
              </a:rPr>
              <a:t>Apigee Insights) along with technical and business </a:t>
            </a:r>
            <a:r>
              <a:rPr lang="en-US" sz="1050" b="0" dirty="0" smtClean="0">
                <a:solidFill>
                  <a:schemeClr val="dk1"/>
                </a:solidFill>
                <a:latin typeface="Lato" charset="0"/>
                <a:ea typeface="Lato" charset="0"/>
                <a:cs typeface="Lato" charset="0"/>
              </a:rPr>
              <a:t>infrastructure </a:t>
            </a:r>
            <a:r>
              <a:rPr lang="en-US" sz="1050" b="0" dirty="0">
                <a:solidFill>
                  <a:schemeClr val="dk1"/>
                </a:solidFill>
                <a:latin typeface="Lato" charset="0"/>
                <a:ea typeface="Lato" charset="0"/>
                <a:cs typeface="Lato" charset="0"/>
              </a:rPr>
              <a:t>and tactical requirements of enterprise API </a:t>
            </a:r>
            <a:r>
              <a:rPr lang="en-US" sz="1050" b="0" dirty="0" smtClean="0">
                <a:solidFill>
                  <a:schemeClr val="dk1"/>
                </a:solidFill>
                <a:latin typeface="Lato" charset="0"/>
                <a:ea typeface="Lato" charset="0"/>
                <a:cs typeface="Lato" charset="0"/>
              </a:rPr>
              <a:t>initiatives.</a:t>
            </a:r>
          </a:p>
        </p:txBody>
      </p:sp>
      <p:sp>
        <p:nvSpPr>
          <p:cNvPr id="18" name="Title 2"/>
          <p:cNvSpPr txBox="1">
            <a:spLocks/>
          </p:cNvSpPr>
          <p:nvPr/>
        </p:nvSpPr>
        <p:spPr bwMode="auto">
          <a:xfrm>
            <a:off x="719630" y="684000"/>
            <a:ext cx="8881570" cy="47821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72009" tIns="36005" rIns="72009" bIns="36005" numCol="1" rtlCol="0" anchor="ctr" anchorCtr="0" compatLnSpc="1">
            <a:prstTxWarp prst="textNoShape">
              <a:avLst/>
            </a:prstTxWarp>
            <a:noAutofit/>
          </a:bodyPr>
          <a:lstStyle>
            <a:lvl1pPr algn="l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defRPr sz="36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defRPr sz="3600" b="1">
                <a:solidFill>
                  <a:schemeClr val="tx2"/>
                </a:solidFill>
                <a:latin typeface="Arial Narrow" pitchFamily="34" charset="0"/>
              </a:defRPr>
            </a:lvl2pPr>
            <a:lvl3pPr algn="l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defRPr sz="3600" b="1">
                <a:solidFill>
                  <a:schemeClr val="tx2"/>
                </a:solidFill>
                <a:latin typeface="Arial Narrow" pitchFamily="34" charset="0"/>
              </a:defRPr>
            </a:lvl3pPr>
            <a:lvl4pPr algn="l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defRPr sz="3600" b="1">
                <a:solidFill>
                  <a:schemeClr val="tx2"/>
                </a:solidFill>
                <a:latin typeface="Arial Narrow" pitchFamily="34" charset="0"/>
              </a:defRPr>
            </a:lvl4pPr>
            <a:lvl5pPr algn="l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defRPr sz="3600" b="1">
                <a:solidFill>
                  <a:schemeClr val="tx2"/>
                </a:solidFill>
                <a:latin typeface="Arial Narrow" pitchFamily="34" charset="0"/>
              </a:defRPr>
            </a:lvl5pPr>
            <a:lvl6pPr marL="457200" algn="l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defRPr sz="3600" b="1">
                <a:solidFill>
                  <a:schemeClr val="tx2"/>
                </a:solidFill>
                <a:latin typeface="Arial Narrow" pitchFamily="34" charset="0"/>
              </a:defRPr>
            </a:lvl6pPr>
            <a:lvl7pPr marL="914400" algn="l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defRPr sz="3600" b="1">
                <a:solidFill>
                  <a:schemeClr val="tx2"/>
                </a:solidFill>
                <a:latin typeface="Arial Narrow" pitchFamily="34" charset="0"/>
              </a:defRPr>
            </a:lvl7pPr>
            <a:lvl8pPr marL="1371600" algn="l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defRPr sz="3600" b="1">
                <a:solidFill>
                  <a:schemeClr val="tx2"/>
                </a:solidFill>
                <a:latin typeface="Arial Narrow" pitchFamily="34" charset="0"/>
              </a:defRPr>
            </a:lvl8pPr>
            <a:lvl9pPr marL="1828800" algn="l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defRPr sz="3600" b="1">
                <a:solidFill>
                  <a:schemeClr val="tx2"/>
                </a:solidFill>
                <a:latin typeface="Arial Narrow" pitchFamily="34" charset="0"/>
              </a:defRPr>
            </a:lvl9pPr>
          </a:lstStyle>
          <a:p>
            <a:r>
              <a:rPr lang="en-US" sz="3150" kern="0" dirty="0" smtClean="0"/>
              <a:t>Apigee </a:t>
            </a:r>
            <a:r>
              <a:rPr lang="en-US" sz="1600" b="0" kern="0" dirty="0" smtClean="0"/>
              <a:t>Commercial</a:t>
            </a:r>
            <a:endParaRPr lang="en-US" sz="3150" b="0" kern="0" dirty="0" smtClean="0"/>
          </a:p>
        </p:txBody>
      </p:sp>
      <p:graphicFrame>
        <p:nvGraphicFramePr>
          <p:cNvPr id="4" name="Tab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98811681"/>
              </p:ext>
            </p:extLst>
          </p:nvPr>
        </p:nvGraphicFramePr>
        <p:xfrm>
          <a:off x="612557" y="3634604"/>
          <a:ext cx="3772926" cy="1929386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10535"/>
                <a:gridCol w="2662391"/>
              </a:tblGrid>
              <a:tr h="228105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1050" b="1" u="none" strike="noStrike" kern="1200" dirty="0"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Products</a:t>
                      </a:r>
                    </a:p>
                  </a:txBody>
                  <a:tcPr marL="7620" marR="7620" marT="7620" marB="0" anchor="b"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1050" u="none" strike="noStrike" kern="1200" dirty="0"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Details</a:t>
                      </a:r>
                    </a:p>
                  </a:txBody>
                  <a:tcPr marL="7620" marR="7620" marT="7620" marB="0" anchor="b">
                    <a:solidFill>
                      <a:schemeClr val="accent1">
                        <a:lumMod val="75000"/>
                      </a:schemeClr>
                    </a:solidFill>
                  </a:tcPr>
                </a:tc>
              </a:tr>
              <a:tr h="228105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1050" b="1" u="none" strike="noStrike" kern="1200" dirty="0"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Apigee Edge</a:t>
                      </a:r>
                    </a:p>
                  </a:txBody>
                  <a:tcPr marL="7620" marR="7620" marT="7620" marB="0" anchor="ctr">
                    <a:solidFill>
                      <a:schemeClr val="accent1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1050" u="none" strike="noStrike" kern="1200" dirty="0"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API management user interface</a:t>
                      </a:r>
                    </a:p>
                  </a:txBody>
                  <a:tcPr marL="7620" marR="7620" marT="7620" marB="0" anchor="b"/>
                </a:tc>
              </a:tr>
              <a:tr h="228105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1050" b="1" u="none" strike="noStrike" kern="1200" dirty="0"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Apigee Insight</a:t>
                      </a:r>
                    </a:p>
                  </a:txBody>
                  <a:tcPr marL="7620" marR="7620" marT="7620" marB="0" anchor="ctr">
                    <a:solidFill>
                      <a:schemeClr val="accent1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1050" u="none" strike="noStrike" kern="1200" dirty="0"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Analytics</a:t>
                      </a:r>
                    </a:p>
                  </a:txBody>
                  <a:tcPr marL="7620" marR="7620" marT="7620" marB="0" anchor="b"/>
                </a:tc>
              </a:tr>
              <a:tr h="408687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1050" b="1" u="none" strike="noStrike" kern="1200" dirty="0"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Apigee API Exchange</a:t>
                      </a:r>
                    </a:p>
                  </a:txBody>
                  <a:tcPr marL="7620" marR="7620" marT="7620" marB="0" anchor="ctr">
                    <a:solidFill>
                      <a:schemeClr val="accent1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1050" u="none" strike="noStrike" kern="1200" dirty="0"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Telecom Specific functionality</a:t>
                      </a:r>
                    </a:p>
                  </a:txBody>
                  <a:tcPr marL="7620" marR="7620" marT="7620" marB="0" anchor="b"/>
                </a:tc>
              </a:tr>
              <a:tr h="228105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1050" b="1" u="none" strike="noStrike" kern="1200" dirty="0"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Apigee Sense</a:t>
                      </a:r>
                    </a:p>
                  </a:txBody>
                  <a:tcPr marL="7620" marR="7620" marT="7620" marB="0" anchor="ctr">
                    <a:solidFill>
                      <a:schemeClr val="accent1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1050" u="none" strike="noStrike" kern="1200" dirty="0"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Cloud-based bot detection and protection.</a:t>
                      </a:r>
                    </a:p>
                  </a:txBody>
                  <a:tcPr marL="7620" marR="7620" marT="7620" marB="0" anchor="b"/>
                </a:tc>
              </a:tr>
              <a:tr h="608279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1050" b="1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Apigee </a:t>
                      </a:r>
                      <a:r>
                        <a:rPr lang="en-US" sz="1050" b="1" u="none" strike="noStrike" kern="1200" dirty="0"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Edge </a:t>
                      </a:r>
                      <a:endParaRPr lang="en-US" sz="1050" b="1" u="none" strike="noStrike" kern="1200" dirty="0" smtClean="0">
                        <a:solidFill>
                          <a:schemeClr val="dk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  <a:p>
                      <a:pPr marL="0" algn="l" defTabSz="914400" rtl="0" eaLnBrk="1" fontAlgn="b" latinLnBrk="0" hangingPunct="1"/>
                      <a:r>
                        <a:rPr lang="en-US" sz="1050" b="1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Micro gateway</a:t>
                      </a:r>
                      <a:endParaRPr lang="en-US" sz="1050" b="1" u="none" strike="noStrike" kern="1200" dirty="0">
                        <a:solidFill>
                          <a:schemeClr val="dk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solidFill>
                      <a:schemeClr val="accent1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1050" u="none" strike="noStrike" kern="1200" dirty="0"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Available on-premises and in the cloud, and helps to simplify deployment of the Apigee solution</a:t>
                      </a:r>
                    </a:p>
                  </a:txBody>
                  <a:tcPr marL="7620" marR="7620" marT="7620" marB="0" anchor="b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505295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MuleSoft </a:t>
            </a:r>
            <a:r>
              <a:rPr lang="en-US" sz="1600" b="0" dirty="0"/>
              <a:t>Commercial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970ACE7-7972-4389-A70A-097F415613C7}" type="slidenum">
              <a:rPr lang="en-US" smtClean="0"/>
              <a:pPr/>
              <a:t>13</a:t>
            </a:fld>
            <a:endParaRPr lang="en-US" dirty="0"/>
          </a:p>
        </p:txBody>
      </p:sp>
      <p:grpSp>
        <p:nvGrpSpPr>
          <p:cNvPr id="5" name="Group 33"/>
          <p:cNvGrpSpPr/>
          <p:nvPr>
            <p:custDataLst>
              <p:tags r:id="rId1"/>
            </p:custDataLst>
          </p:nvPr>
        </p:nvGrpSpPr>
        <p:grpSpPr>
          <a:xfrm>
            <a:off x="4617220" y="2173717"/>
            <a:ext cx="4845685" cy="1133075"/>
            <a:chOff x="5543549" y="2771794"/>
            <a:chExt cx="3295651" cy="1017273"/>
          </a:xfrm>
        </p:grpSpPr>
        <p:sp>
          <p:nvSpPr>
            <p:cNvPr id="6" name="Rectangle 5"/>
            <p:cNvSpPr/>
            <p:nvPr/>
          </p:nvSpPr>
          <p:spPr>
            <a:xfrm>
              <a:off x="5543549" y="3065581"/>
              <a:ext cx="3295651" cy="723486"/>
            </a:xfrm>
            <a:prstGeom prst="rect">
              <a:avLst/>
            </a:prstGeom>
            <a:noFill/>
            <a:ln w="12700" cap="flat" cmpd="sng" algn="ctr">
              <a:noFill/>
              <a:prstDash val="solid"/>
            </a:ln>
            <a:effectLst/>
          </p:spPr>
          <p:txBody>
            <a:bodyPr rtlCol="0" anchor="t"/>
            <a:lstStyle/>
            <a:p>
              <a:pPr marL="855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Lato" charset="0"/>
                <a:ea typeface="Lato" charset="0"/>
                <a:cs typeface="Lato" charset="0"/>
              </a:endParaRPr>
            </a:p>
          </p:txBody>
        </p:sp>
        <p:sp>
          <p:nvSpPr>
            <p:cNvPr id="7" name="Round Same Side Corner Rectangle 6"/>
            <p:cNvSpPr/>
            <p:nvPr/>
          </p:nvSpPr>
          <p:spPr>
            <a:xfrm>
              <a:off x="5543549" y="2771794"/>
              <a:ext cx="3295651" cy="246265"/>
            </a:xfrm>
            <a:prstGeom prst="round2SameRect">
              <a:avLst>
                <a:gd name="adj1" fmla="val 0"/>
                <a:gd name="adj2" fmla="val 0"/>
              </a:avLst>
            </a:prstGeom>
            <a:solidFill>
              <a:schemeClr val="bg2">
                <a:lumMod val="75000"/>
              </a:schemeClr>
            </a:solidFill>
            <a:ln w="12700" cap="flat" cmpd="sng" algn="ctr">
              <a:noFill/>
              <a:prstDash val="solid"/>
            </a:ln>
            <a:effectLst>
              <a:outerShdw blurRad="25400" dist="25400" dir="2700000" algn="tl" rotWithShape="0">
                <a:prstClr val="black">
                  <a:alpha val="15000"/>
                </a:prstClr>
              </a:outerShdw>
            </a:effectLst>
          </p:spPr>
          <p:txBody>
            <a:bodyPr lIns="108000"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CA" sz="11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Lato" charset="0"/>
                  <a:ea typeface="Lato" charset="0"/>
                  <a:cs typeface="Lato" charset="0"/>
                </a:rPr>
                <a:t>OVERVIEW</a:t>
              </a:r>
            </a:p>
          </p:txBody>
        </p:sp>
      </p:grpSp>
      <p:graphicFrame>
        <p:nvGraphicFramePr>
          <p:cNvPr id="8" name="Table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12531303"/>
              </p:ext>
            </p:extLst>
          </p:nvPr>
        </p:nvGraphicFramePr>
        <p:xfrm>
          <a:off x="588891" y="1447459"/>
          <a:ext cx="3805827" cy="1608120"/>
        </p:xfrm>
        <a:graphic>
          <a:graphicData uri="http://schemas.openxmlformats.org/drawingml/2006/table">
            <a:tbl>
              <a:tblPr firstRow="1" bandRow="1"/>
              <a:tblGrid>
                <a:gridCol w="1400503"/>
                <a:gridCol w="2405324"/>
              </a:tblGrid>
              <a:tr h="234221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4572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9144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3716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18288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2860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27432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2004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36576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algn="l">
                        <a:defRPr/>
                      </a:pPr>
                      <a:r>
                        <a:rPr lang="en-US" sz="1050" b="1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Lato" charset="0"/>
                          <a:cs typeface="Lato" charset="0"/>
                        </a:rPr>
                        <a:t>Company</a:t>
                      </a:r>
                    </a:p>
                  </a:txBody>
                  <a:tcPr marT="72000" marB="36000">
                    <a:lnL w="12700" cmpd="sng">
                      <a:noFill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4572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9144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3716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18288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2860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27432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2004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36576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r>
                        <a:rPr lang="en-CA" sz="1050" b="0" dirty="0" err="1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Lato" charset="0"/>
                          <a:cs typeface="Lato" charset="0"/>
                        </a:rPr>
                        <a:t>Mulesoft</a:t>
                      </a:r>
                      <a:endParaRPr lang="en-CA" sz="1050" b="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Lato" charset="0"/>
                        <a:cs typeface="Lato" charset="0"/>
                      </a:endParaRPr>
                    </a:p>
                  </a:txBody>
                  <a:tcPr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95000"/>
                      </a:srgbClr>
                    </a:solidFill>
                  </a:tcPr>
                </a:tc>
              </a:tr>
              <a:tr h="234221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r>
                        <a:rPr lang="en-CA" sz="1050" b="1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Lato" charset="0"/>
                          <a:cs typeface="Lato" charset="0"/>
                        </a:rPr>
                        <a:t>Employees</a:t>
                      </a:r>
                      <a:endParaRPr lang="en-CA" sz="1050" b="1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Lato" charset="0"/>
                        <a:cs typeface="Lato" charset="0"/>
                      </a:endParaRPr>
                    </a:p>
                  </a:txBody>
                  <a:tcPr marT="72000" marB="36000">
                    <a:lnL w="12700" cmpd="sng">
                      <a:noFill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r>
                        <a:rPr lang="en-CA" sz="1050" b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Lato" charset="0"/>
                          <a:cs typeface="Lato" charset="0"/>
                        </a:rPr>
                        <a:t>500+</a:t>
                      </a:r>
                      <a:endParaRPr lang="en-CA" sz="1050" b="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Lato" charset="0"/>
                        <a:cs typeface="Lato" charset="0"/>
                      </a:endParaRPr>
                    </a:p>
                  </a:txBody>
                  <a:tcPr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95000"/>
                      </a:srgbClr>
                    </a:solidFill>
                  </a:tcPr>
                </a:tc>
              </a:tr>
              <a:tr h="234221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r>
                        <a:rPr lang="en-CA" sz="1050" b="1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Lato" charset="0"/>
                          <a:cs typeface="Lato" charset="0"/>
                        </a:rPr>
                        <a:t>Headquarters</a:t>
                      </a:r>
                      <a:endParaRPr lang="en-CA" sz="1050" b="1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Lato" charset="0"/>
                        <a:cs typeface="Lato" charset="0"/>
                      </a:endParaRPr>
                    </a:p>
                  </a:txBody>
                  <a:tcPr marT="72000" marB="36000">
                    <a:lnL w="12700" cmpd="sng">
                      <a:noFill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r>
                        <a:rPr lang="en-CA" sz="1050" b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Lato" charset="0"/>
                          <a:cs typeface="Lato" charset="0"/>
                        </a:rPr>
                        <a:t>San Francisco,</a:t>
                      </a:r>
                      <a:r>
                        <a:rPr lang="en-CA" sz="1050" b="0" baseline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Lato" charset="0"/>
                          <a:cs typeface="Lato" charset="0"/>
                        </a:rPr>
                        <a:t> CA </a:t>
                      </a:r>
                      <a:endParaRPr lang="en-CA" sz="1050" b="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Lato" charset="0"/>
                        <a:cs typeface="Lato" charset="0"/>
                      </a:endParaRPr>
                    </a:p>
                  </a:txBody>
                  <a:tcPr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95000"/>
                      </a:srgbClr>
                    </a:solidFill>
                  </a:tcPr>
                </a:tc>
              </a:tr>
              <a:tr h="234221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r>
                        <a:rPr lang="en-CA" sz="1050" b="1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Lato" charset="0"/>
                          <a:cs typeface="Lato" charset="0"/>
                        </a:rPr>
                        <a:t>Website</a:t>
                      </a:r>
                      <a:endParaRPr lang="en-CA" sz="1050" b="1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Lato" charset="0"/>
                        <a:cs typeface="Lato" charset="0"/>
                      </a:endParaRPr>
                    </a:p>
                  </a:txBody>
                  <a:tcPr marT="72000" marB="36000">
                    <a:lnL w="12700" cmpd="sng">
                      <a:noFill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r>
                        <a:rPr lang="en-CA" sz="1050" b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Lato" charset="0"/>
                          <a:cs typeface="Lato" charset="0"/>
                          <a:hlinkClick r:id="rId5"/>
                        </a:rPr>
                        <a:t>mulesoft.com</a:t>
                      </a:r>
                      <a:endParaRPr lang="en-CA" sz="1050" b="0" dirty="0" smtClean="0"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Lato" charset="0"/>
                        <a:cs typeface="Lato" charset="0"/>
                      </a:endParaRPr>
                    </a:p>
                  </a:txBody>
                  <a:tcPr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95000"/>
                      </a:srgbClr>
                    </a:solidFill>
                  </a:tcPr>
                </a:tc>
              </a:tr>
              <a:tr h="234221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r>
                        <a:rPr lang="en-CA" sz="1050" b="1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Lato" charset="0"/>
                          <a:cs typeface="Lato" charset="0"/>
                        </a:rPr>
                        <a:t>Founded</a:t>
                      </a:r>
                      <a:endParaRPr lang="en-CA" sz="1050" b="1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Lato" charset="0"/>
                        <a:cs typeface="Lato" charset="0"/>
                      </a:endParaRPr>
                    </a:p>
                  </a:txBody>
                  <a:tcPr marT="72000" marB="36000">
                    <a:lnL w="12700" cmpd="sng">
                      <a:noFill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r>
                        <a:rPr lang="en-CA" sz="1050" b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Lato" charset="0"/>
                          <a:cs typeface="Lato" charset="0"/>
                        </a:rPr>
                        <a:t>2003</a:t>
                      </a:r>
                      <a:endParaRPr lang="en-CA" sz="1050" b="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Lato" charset="0"/>
                        <a:cs typeface="Lato" charset="0"/>
                      </a:endParaRPr>
                    </a:p>
                  </a:txBody>
                  <a:tcPr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95000"/>
                      </a:srgbClr>
                    </a:solidFill>
                  </a:tcPr>
                </a:tc>
              </a:tr>
              <a:tr h="234221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r>
                        <a:rPr lang="en-CA" sz="1050" b="1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Lato" charset="0"/>
                          <a:cs typeface="Lato" charset="0"/>
                        </a:rPr>
                        <a:t>Presence</a:t>
                      </a:r>
                      <a:endParaRPr lang="en-CA" sz="1050" b="1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Lato" charset="0"/>
                        <a:cs typeface="Lato" charset="0"/>
                      </a:endParaRPr>
                    </a:p>
                  </a:txBody>
                  <a:tcPr marT="72000" marB="36000">
                    <a:lnL w="12700" cmpd="sng">
                      <a:noFill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r>
                        <a:rPr lang="en-CA" sz="1050" b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Lato" charset="0"/>
                          <a:cs typeface="Lato" charset="0"/>
                        </a:rPr>
                        <a:t>Privately</a:t>
                      </a:r>
                      <a:r>
                        <a:rPr lang="en-CA" sz="1050" b="0" baseline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Lato" charset="0"/>
                          <a:cs typeface="Lato" charset="0"/>
                        </a:rPr>
                        <a:t> Held </a:t>
                      </a:r>
                      <a:endParaRPr lang="en-CA" sz="1050" b="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Lato" charset="0"/>
                        <a:cs typeface="Lato" charset="0"/>
                      </a:endParaRPr>
                    </a:p>
                  </a:txBody>
                  <a:tcPr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95000"/>
                      </a:srgbClr>
                    </a:solidFill>
                  </a:tcPr>
                </a:tc>
              </a:tr>
            </a:tbl>
          </a:graphicData>
        </a:graphic>
      </p:graphicFrame>
      <p:grpSp>
        <p:nvGrpSpPr>
          <p:cNvPr id="9" name="Group 33"/>
          <p:cNvGrpSpPr/>
          <p:nvPr>
            <p:custDataLst>
              <p:tags r:id="rId2"/>
            </p:custDataLst>
          </p:nvPr>
        </p:nvGrpSpPr>
        <p:grpSpPr>
          <a:xfrm>
            <a:off x="4617219" y="3211634"/>
            <a:ext cx="4893115" cy="1305989"/>
            <a:chOff x="5543549" y="2801848"/>
            <a:chExt cx="3327909" cy="1028638"/>
          </a:xfrm>
        </p:grpSpPr>
        <p:sp>
          <p:nvSpPr>
            <p:cNvPr id="10" name="Rectangle 4"/>
            <p:cNvSpPr/>
            <p:nvPr/>
          </p:nvSpPr>
          <p:spPr>
            <a:xfrm>
              <a:off x="5543549" y="3018345"/>
              <a:ext cx="3295651" cy="812141"/>
            </a:xfrm>
            <a:prstGeom prst="rect">
              <a:avLst/>
            </a:prstGeom>
            <a:noFill/>
            <a:ln w="12700" cap="flat" cmpd="sng" algn="ctr">
              <a:noFill/>
              <a:prstDash val="solid"/>
            </a:ln>
            <a:effectLst/>
          </p:spPr>
          <p:txBody>
            <a:bodyPr rtlCol="0" anchor="t"/>
            <a:lstStyle/>
            <a:p>
              <a:pPr marL="180000" marR="0" lvl="0" indent="-17145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05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33333"/>
                  </a:solidFill>
                  <a:effectLst/>
                  <a:uLnTx/>
                  <a:uFillTx/>
                  <a:latin typeface="Lato" charset="0"/>
                  <a:ea typeface="Lato" charset="0"/>
                  <a:cs typeface="Lato" charset="0"/>
                </a:rPr>
                <a:t>As a product that has grown out of the open source community, it contains crowdsourced innovations that set it apart from the competition.</a:t>
              </a:r>
            </a:p>
            <a:p>
              <a:pPr marL="180000" marR="0" lvl="0" indent="-17145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05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33333"/>
                  </a:solidFill>
                  <a:effectLst/>
                  <a:uLnTx/>
                  <a:uFillTx/>
                  <a:latin typeface="Lato" charset="0"/>
                  <a:ea typeface="Lato" charset="0"/>
                  <a:cs typeface="Lato" charset="0"/>
                </a:rPr>
                <a:t>Mule Anypoint</a:t>
              </a:r>
              <a:r>
                <a:rPr kumimoji="0" lang="en-US" sz="1050" b="0" i="0" u="none" strike="noStrike" kern="0" cap="none" spc="0" normalizeH="0" noProof="0" dirty="0" smtClean="0">
                  <a:ln>
                    <a:noFill/>
                  </a:ln>
                  <a:solidFill>
                    <a:srgbClr val="333333"/>
                  </a:solidFill>
                  <a:effectLst/>
                  <a:uLnTx/>
                  <a:uFillTx/>
                  <a:latin typeface="Lato" charset="0"/>
                  <a:ea typeface="Lato" charset="0"/>
                  <a:cs typeface="Lato" charset="0"/>
                </a:rPr>
                <a:t> ESB and API platforms</a:t>
              </a:r>
              <a:r>
                <a:rPr kumimoji="0" lang="en-US" sz="105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33333"/>
                  </a:solidFill>
                  <a:effectLst/>
                  <a:uLnTx/>
                  <a:uFillTx/>
                  <a:latin typeface="Lato" charset="0"/>
                  <a:ea typeface="Lato" charset="0"/>
                  <a:cs typeface="Lato" charset="0"/>
                </a:rPr>
                <a:t> includes comprehensive monitoring and administrative capabilities. </a:t>
              </a:r>
            </a:p>
            <a:p>
              <a:pPr marL="180000" lvl="0" indent="-171450" algn="l">
                <a:buFont typeface="Arial" panose="020B0604020202020204" pitchFamily="34" charset="0"/>
                <a:buChar char="•"/>
                <a:defRPr/>
              </a:pPr>
              <a:r>
                <a:rPr lang="en-US" sz="1050" kern="0" dirty="0">
                  <a:solidFill>
                    <a:srgbClr val="333333"/>
                  </a:solidFill>
                  <a:latin typeface="Lato" charset="0"/>
                  <a:ea typeface="Lato" charset="0"/>
                  <a:cs typeface="Lato" charset="0"/>
                </a:rPr>
                <a:t>Mulesoft provides </a:t>
              </a:r>
              <a:r>
                <a:rPr lang="en-US" sz="1050" kern="0" dirty="0" smtClean="0">
                  <a:solidFill>
                    <a:srgbClr val="333333"/>
                  </a:solidFill>
                  <a:latin typeface="Lato" charset="0"/>
                  <a:ea typeface="Lato" charset="0"/>
                  <a:cs typeface="Lato" charset="0"/>
                </a:rPr>
                <a:t>technical </a:t>
              </a:r>
              <a:r>
                <a:rPr lang="en-US" sz="1050" kern="0" dirty="0">
                  <a:solidFill>
                    <a:srgbClr val="333333"/>
                  </a:solidFill>
                  <a:latin typeface="Lato" charset="0"/>
                  <a:ea typeface="Lato" charset="0"/>
                  <a:cs typeface="Lato" charset="0"/>
                </a:rPr>
                <a:t>start to an API program (but not the business start, because the MuleSoft Catalyst offering is still evolving).</a:t>
              </a:r>
            </a:p>
            <a:p>
              <a:pPr marL="180000" marR="0" lvl="0" indent="-17145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Lato" charset="0"/>
                <a:ea typeface="Lato" charset="0"/>
                <a:cs typeface="Lato" charset="0"/>
              </a:endParaRPr>
            </a:p>
          </p:txBody>
        </p:sp>
        <p:sp>
          <p:nvSpPr>
            <p:cNvPr id="11" name="Round Same Side Corner Rectangle 6"/>
            <p:cNvSpPr/>
            <p:nvPr/>
          </p:nvSpPr>
          <p:spPr>
            <a:xfrm>
              <a:off x="5575807" y="2801848"/>
              <a:ext cx="3295651" cy="200977"/>
            </a:xfrm>
            <a:prstGeom prst="round2SameRect">
              <a:avLst>
                <a:gd name="adj1" fmla="val 0"/>
                <a:gd name="adj2" fmla="val 0"/>
              </a:avLst>
            </a:prstGeom>
            <a:solidFill>
              <a:schemeClr val="bg2">
                <a:lumMod val="75000"/>
              </a:schemeClr>
            </a:solidFill>
            <a:ln w="12700" cap="flat" cmpd="sng" algn="ctr">
              <a:noFill/>
              <a:prstDash val="solid"/>
            </a:ln>
            <a:effectLst>
              <a:outerShdw blurRad="25400" dist="25400" dir="2700000" algn="tl" rotWithShape="0">
                <a:prstClr val="black">
                  <a:alpha val="15000"/>
                </a:prstClr>
              </a:outerShdw>
            </a:effectLst>
          </p:spPr>
          <p:txBody>
            <a:bodyPr lIns="108000" rtlCol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r>
                <a:rPr lang="en-CA" sz="1100" kern="0" dirty="0">
                  <a:solidFill>
                    <a:srgbClr val="FFFFFF"/>
                  </a:solidFill>
                  <a:latin typeface="Lato" charset="0"/>
                  <a:ea typeface="Lato" charset="0"/>
                  <a:cs typeface="Lato" charset="0"/>
                </a:rPr>
                <a:t>STRENGTHS</a:t>
              </a:r>
            </a:p>
          </p:txBody>
        </p:sp>
      </p:grpSp>
      <p:grpSp>
        <p:nvGrpSpPr>
          <p:cNvPr id="12" name="Group 33"/>
          <p:cNvGrpSpPr/>
          <p:nvPr>
            <p:custDataLst>
              <p:tags r:id="rId3"/>
            </p:custDataLst>
          </p:nvPr>
        </p:nvGrpSpPr>
        <p:grpSpPr>
          <a:xfrm>
            <a:off x="4617219" y="4605771"/>
            <a:ext cx="4845685" cy="1153787"/>
            <a:chOff x="5543549" y="2753200"/>
            <a:chExt cx="3295651" cy="1035868"/>
          </a:xfrm>
        </p:grpSpPr>
        <p:sp>
          <p:nvSpPr>
            <p:cNvPr id="13" name="Rectangle 12"/>
            <p:cNvSpPr/>
            <p:nvPr/>
          </p:nvSpPr>
          <p:spPr>
            <a:xfrm>
              <a:off x="5543549" y="3018344"/>
              <a:ext cx="3295651" cy="770724"/>
            </a:xfrm>
            <a:prstGeom prst="rect">
              <a:avLst/>
            </a:prstGeom>
            <a:noFill/>
            <a:ln w="12700" cap="flat" cmpd="sng" algn="ctr">
              <a:noFill/>
              <a:prstDash val="solid"/>
            </a:ln>
            <a:effectLst/>
          </p:spPr>
          <p:txBody>
            <a:bodyPr rtlCol="0" anchor="t"/>
            <a:lstStyle/>
            <a:p>
              <a:pPr marL="855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Lato" charset="0"/>
                <a:ea typeface="Lato" charset="0"/>
                <a:cs typeface="Lato" charset="0"/>
              </a:endParaRPr>
            </a:p>
          </p:txBody>
        </p:sp>
        <p:sp>
          <p:nvSpPr>
            <p:cNvPr id="14" name="Round Same Side Corner Rectangle 13"/>
            <p:cNvSpPr/>
            <p:nvPr/>
          </p:nvSpPr>
          <p:spPr>
            <a:xfrm>
              <a:off x="5543549" y="2753200"/>
              <a:ext cx="3295651" cy="264858"/>
            </a:xfrm>
            <a:prstGeom prst="round2SameRect">
              <a:avLst>
                <a:gd name="adj1" fmla="val 0"/>
                <a:gd name="adj2" fmla="val 0"/>
              </a:avLst>
            </a:prstGeom>
            <a:solidFill>
              <a:schemeClr val="bg2">
                <a:lumMod val="75000"/>
              </a:schemeClr>
            </a:solidFill>
            <a:ln w="12700" cap="flat" cmpd="sng" algn="ctr">
              <a:noFill/>
              <a:prstDash val="solid"/>
            </a:ln>
            <a:effectLst>
              <a:outerShdw blurRad="25400" dist="25400" dir="2700000" algn="tl" rotWithShape="0">
                <a:prstClr val="black">
                  <a:alpha val="15000"/>
                </a:prstClr>
              </a:outerShdw>
            </a:effectLst>
          </p:spPr>
          <p:txBody>
            <a:bodyPr lIns="108000"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CA" sz="11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Lato" charset="0"/>
                  <a:ea typeface="Lato" charset="0"/>
                  <a:cs typeface="Lato" charset="0"/>
                </a:rPr>
                <a:t>CHALLENGES </a:t>
              </a:r>
            </a:p>
          </p:txBody>
        </p:sp>
      </p:grpSp>
      <p:sp>
        <p:nvSpPr>
          <p:cNvPr id="15" name="TextBox 14"/>
          <p:cNvSpPr txBox="1"/>
          <p:nvPr/>
        </p:nvSpPr>
        <p:spPr>
          <a:xfrm>
            <a:off x="4617219" y="4932746"/>
            <a:ext cx="4893115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4625" marR="0" lvl="0" indent="-174625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CA" sz="1050" b="0" i="0" u="none" strike="noStrike" kern="0" cap="none" spc="0" normalizeH="0" baseline="0" noProof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Lato" charset="0"/>
                <a:ea typeface="Lato" charset="0"/>
                <a:cs typeface="Lato" charset="0"/>
              </a:rPr>
              <a:t>The solution’s messaging capabilities rely on JMS technology. ActiveMQ</a:t>
            </a:r>
            <a:r>
              <a:rPr kumimoji="0" lang="en-CA" sz="1050" b="0" i="0" u="none" strike="noStrike" kern="0" cap="none" spc="0" normalizeH="0" noProof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Lato" charset="0"/>
                <a:ea typeface="Lato" charset="0"/>
                <a:cs typeface="Lato" charset="0"/>
              </a:rPr>
              <a:t> which is a different Open Source Product.</a:t>
            </a:r>
            <a:r>
              <a:rPr kumimoji="0" lang="en-CA" sz="1050" b="0" i="0" u="none" strike="noStrike" kern="0" cap="none" spc="0" normalizeH="0" baseline="0" noProof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Lato" charset="0"/>
                <a:ea typeface="Lato" charset="0"/>
                <a:cs typeface="Lato" charset="0"/>
              </a:rPr>
              <a:t> </a:t>
            </a:r>
          </a:p>
          <a:p>
            <a:pPr marL="174625" marR="0" lvl="0" indent="-174625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CA" sz="1050" b="0" i="0" u="none" strike="noStrike" kern="0" cap="none" spc="0" normalizeH="0" baseline="0" noProof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Lato" charset="0"/>
                <a:ea typeface="Lato" charset="0"/>
                <a:cs typeface="Lato" charset="0"/>
              </a:rPr>
              <a:t>This community version of MuleSoft is not more available. MuleSoft</a:t>
            </a:r>
            <a:r>
              <a:rPr kumimoji="0" lang="en-CA" sz="1050" b="0" i="0" u="none" strike="noStrike" kern="0" cap="none" spc="0" normalizeH="0" noProof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Lato" charset="0"/>
                <a:ea typeface="Lato" charset="0"/>
                <a:cs typeface="Lato" charset="0"/>
              </a:rPr>
              <a:t> is considered as a Commercial product family.</a:t>
            </a:r>
            <a:endParaRPr kumimoji="0" lang="en-CA" sz="1050" b="0" i="0" u="none" strike="noStrike" kern="0" cap="none" spc="0" normalizeH="0" baseline="0" noProof="0" dirty="0" smtClean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Lato" charset="0"/>
              <a:ea typeface="Lato" charset="0"/>
              <a:cs typeface="Lato" charset="0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4617219" y="2437535"/>
            <a:ext cx="4845685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1050" b="0" i="0" u="none" strike="noStrike" kern="0" cap="none" spc="0" normalizeH="0" baseline="0" noProof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Lato" charset="0"/>
                <a:ea typeface="Lato" charset="0"/>
                <a:cs typeface="Lato" charset="0"/>
              </a:rPr>
              <a:t>MuleSoft is a vendor whose product has grown out of the open source community. </a:t>
            </a:r>
            <a:r>
              <a:rPr kumimoji="0" lang="en-CA" sz="1050" b="1" i="0" u="none" strike="noStrike" kern="0" cap="none" spc="0" normalizeH="0" baseline="0" noProof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Lato" charset="0"/>
                <a:ea typeface="Lato" charset="0"/>
                <a:cs typeface="Lato" charset="0"/>
              </a:rPr>
              <a:t>Mule ESB </a:t>
            </a:r>
            <a:r>
              <a:rPr kumimoji="0" lang="en-CA" sz="1050" b="0" i="0" u="none" strike="noStrike" kern="0" cap="none" spc="0" normalizeH="0" baseline="0" noProof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Lato" charset="0"/>
                <a:ea typeface="Lato" charset="0"/>
                <a:cs typeface="Lato" charset="0"/>
              </a:rPr>
              <a:t>is MuleSoft’s core solution and allows the company to specialize in integration technology focused on supporting business connectivity.</a:t>
            </a:r>
          </a:p>
        </p:txBody>
      </p:sp>
      <p:graphicFrame>
        <p:nvGraphicFramePr>
          <p:cNvPr id="19" name="Table 1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8381225"/>
              </p:ext>
            </p:extLst>
          </p:nvPr>
        </p:nvGraphicFramePr>
        <p:xfrm>
          <a:off x="588891" y="3259542"/>
          <a:ext cx="3862873" cy="28879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224102"/>
                <a:gridCol w="2638771"/>
              </a:tblGrid>
              <a:tr h="182880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u="none" strike="noStrike" dirty="0">
                          <a:effectLst/>
                          <a:latin typeface="Calibri" panose="020F0502020204030204" pitchFamily="34" charset="0"/>
                        </a:rPr>
                        <a:t>Products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 dirty="0">
                          <a:effectLst/>
                          <a:latin typeface="Calibri" panose="020F0502020204030204" pitchFamily="34" charset="0"/>
                        </a:rPr>
                        <a:t>Details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solidFill>
                      <a:schemeClr val="accent1">
                        <a:lumMod val="75000"/>
                      </a:schemeClr>
                    </a:solidFill>
                  </a:tcPr>
                </a:tc>
              </a:tr>
              <a:tr h="182880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050" b="1" u="none" strike="noStrike" dirty="0">
                          <a:effectLst/>
                          <a:latin typeface="Calibri" panose="020F0502020204030204" pitchFamily="34" charset="0"/>
                        </a:rPr>
                        <a:t>Anypoint Studio</a:t>
                      </a:r>
                      <a:endParaRPr lang="en-US" sz="105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solidFill>
                      <a:schemeClr val="accent1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50" u="none" strike="noStrike" dirty="0">
                          <a:effectLst/>
                          <a:latin typeface="Calibri" panose="020F0502020204030204" pitchFamily="34" charset="0"/>
                        </a:rPr>
                        <a:t>IDE  to design and build integrations</a:t>
                      </a:r>
                      <a:endParaRPr lang="en-US" sz="10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</a:tr>
              <a:tr h="365760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050" b="1" u="none" strike="noStrike" dirty="0">
                          <a:effectLst/>
                          <a:latin typeface="Calibri" panose="020F0502020204030204" pitchFamily="34" charset="0"/>
                        </a:rPr>
                        <a:t>Anypoint Connectors</a:t>
                      </a:r>
                      <a:endParaRPr lang="en-US" sz="105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solidFill>
                      <a:schemeClr val="accent1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50" u="none" strike="noStrike" dirty="0">
                          <a:effectLst/>
                          <a:latin typeface="Calibri" panose="020F0502020204030204" pitchFamily="34" charset="0"/>
                        </a:rPr>
                        <a:t>Connect any endpoints using out-of-the-box</a:t>
                      </a:r>
                      <a:br>
                        <a:rPr lang="en-US" sz="1050" u="none" strike="noStrike" dirty="0"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US" sz="1050" u="none" strike="noStrike" dirty="0">
                          <a:effectLst/>
                          <a:latin typeface="Calibri" panose="020F0502020204030204" pitchFamily="34" charset="0"/>
                        </a:rPr>
                        <a:t> connectors</a:t>
                      </a:r>
                      <a:endParaRPr lang="en-US" sz="10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</a:tr>
              <a:tr h="365760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050" b="1" u="none" strike="noStrike" dirty="0">
                          <a:effectLst/>
                          <a:latin typeface="Calibri" panose="020F0502020204030204" pitchFamily="34" charset="0"/>
                        </a:rPr>
                        <a:t>Anypoint Exchange</a:t>
                      </a:r>
                      <a:endParaRPr lang="en-US" sz="105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solidFill>
                      <a:schemeClr val="accent1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50" u="none" strike="noStrike" dirty="0">
                          <a:effectLst/>
                          <a:latin typeface="Calibri" panose="020F0502020204030204" pitchFamily="34" charset="0"/>
                        </a:rPr>
                        <a:t>Access and leverage a rich collection of integration components</a:t>
                      </a:r>
                      <a:endParaRPr lang="en-US" sz="10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</a:tr>
              <a:tr h="365760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050" b="1" u="none" strike="noStrike" dirty="0">
                          <a:effectLst/>
                          <a:latin typeface="Calibri" panose="020F0502020204030204" pitchFamily="34" charset="0"/>
                        </a:rPr>
                        <a:t>Anypoint API Designer</a:t>
                      </a:r>
                      <a:endParaRPr lang="en-US" sz="105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solidFill>
                      <a:schemeClr val="accent1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50" u="none" strike="noStrike" dirty="0" smtClean="0">
                          <a:effectLst/>
                          <a:latin typeface="Calibri" panose="020F0502020204030204" pitchFamily="34" charset="0"/>
                        </a:rPr>
                        <a:t>A </a:t>
                      </a:r>
                      <a:r>
                        <a:rPr lang="en-US" sz="1050" u="none" strike="noStrike" dirty="0">
                          <a:effectLst/>
                          <a:latin typeface="Calibri" panose="020F0502020204030204" pitchFamily="34" charset="0"/>
                        </a:rPr>
                        <a:t>graphical syntax-aware platform to design APIs using RESTful API</a:t>
                      </a:r>
                      <a:endParaRPr lang="en-US" sz="10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</a:tr>
              <a:tr h="365760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050" b="1" u="none" strike="noStrike" dirty="0">
                          <a:effectLst/>
                          <a:latin typeface="Calibri" panose="020F0502020204030204" pitchFamily="34" charset="0"/>
                        </a:rPr>
                        <a:t>Anypoint API Portal</a:t>
                      </a:r>
                      <a:endParaRPr lang="en-US" sz="105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solidFill>
                      <a:schemeClr val="accent1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50" u="none" strike="noStrike" dirty="0" smtClean="0">
                          <a:effectLst/>
                          <a:latin typeface="Calibri" panose="020F0502020204030204" pitchFamily="34" charset="0"/>
                        </a:rPr>
                        <a:t>A </a:t>
                      </a:r>
                      <a:r>
                        <a:rPr lang="en-US" sz="1050" u="none" strike="noStrike" dirty="0">
                          <a:effectLst/>
                          <a:latin typeface="Calibri" panose="020F0502020204030204" pitchFamily="34" charset="0"/>
                        </a:rPr>
                        <a:t>platform to engage with API developers and drive adoption</a:t>
                      </a:r>
                      <a:endParaRPr lang="en-US" sz="10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</a:tr>
              <a:tr h="365760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050" b="1" u="none" strike="noStrike" dirty="0">
                          <a:effectLst/>
                          <a:latin typeface="Calibri" panose="020F0502020204030204" pitchFamily="34" charset="0"/>
                        </a:rPr>
                        <a:t>Mule runtime engine</a:t>
                      </a:r>
                      <a:endParaRPr lang="en-US" sz="105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solidFill>
                      <a:schemeClr val="accent1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50" u="none" strike="noStrike" dirty="0" smtClean="0">
                          <a:effectLst/>
                          <a:latin typeface="Calibri" panose="020F0502020204030204" pitchFamily="34" charset="0"/>
                        </a:rPr>
                        <a:t>Hybrid </a:t>
                      </a:r>
                      <a:r>
                        <a:rPr lang="en-US" sz="1050" u="none" strike="noStrike" dirty="0">
                          <a:effectLst/>
                          <a:latin typeface="Calibri" panose="020F0502020204030204" pitchFamily="34" charset="0"/>
                        </a:rPr>
                        <a:t>engine that powers all of our integration flows.</a:t>
                      </a:r>
                      <a:endParaRPr lang="en-US" sz="10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</a:tr>
              <a:tr h="182880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050" b="1" u="none" strike="noStrike" dirty="0">
                          <a:effectLst/>
                          <a:latin typeface="Calibri" panose="020F0502020204030204" pitchFamily="34" charset="0"/>
                        </a:rPr>
                        <a:t>Anypoint API Manager</a:t>
                      </a:r>
                      <a:endParaRPr lang="en-US" sz="105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solidFill>
                      <a:schemeClr val="accent1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50" u="none" strike="noStrike" dirty="0" smtClean="0">
                          <a:effectLst/>
                          <a:latin typeface="Calibri" panose="020F0502020204030204" pitchFamily="34" charset="0"/>
                        </a:rPr>
                        <a:t>Expose </a:t>
                      </a:r>
                      <a:r>
                        <a:rPr lang="en-US" sz="1050" u="none" strike="noStrike" dirty="0">
                          <a:effectLst/>
                          <a:latin typeface="Calibri" panose="020F0502020204030204" pitchFamily="34" charset="0"/>
                        </a:rPr>
                        <a:t>and provision your APIs</a:t>
                      </a:r>
                      <a:endParaRPr lang="en-US" sz="10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</a:tr>
              <a:tr h="365760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050" b="1" u="none" strike="noStrike" dirty="0">
                          <a:effectLst/>
                          <a:latin typeface="Calibri" panose="020F0502020204030204" pitchFamily="34" charset="0"/>
                        </a:rPr>
                        <a:t>Anypoint API Analytics</a:t>
                      </a:r>
                      <a:endParaRPr lang="en-US" sz="105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solidFill>
                      <a:schemeClr val="accent1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50" u="none" strike="noStrike" dirty="0">
                          <a:effectLst/>
                          <a:latin typeface="Calibri" panose="020F0502020204030204" pitchFamily="34" charset="0"/>
                        </a:rPr>
                        <a:t>Real-time view of API consumption trends and operational performance</a:t>
                      </a:r>
                      <a:endParaRPr lang="en-US" sz="10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5815432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WSO2 </a:t>
            </a:r>
            <a:r>
              <a:rPr lang="en-US" sz="1600" b="0" dirty="0" smtClean="0"/>
              <a:t>Open Source</a:t>
            </a:r>
            <a:endParaRPr lang="en-US" sz="1600" b="0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970ACE7-7972-4389-A70A-097F415613C7}" type="slidenum">
              <a:rPr lang="en-US" smtClean="0"/>
              <a:pPr/>
              <a:t>14</a:t>
            </a:fld>
            <a:endParaRPr lang="en-US" dirty="0"/>
          </a:p>
        </p:txBody>
      </p:sp>
      <p:grpSp>
        <p:nvGrpSpPr>
          <p:cNvPr id="18" name="Group 33"/>
          <p:cNvGrpSpPr/>
          <p:nvPr>
            <p:custDataLst>
              <p:tags r:id="rId1"/>
            </p:custDataLst>
          </p:nvPr>
        </p:nvGrpSpPr>
        <p:grpSpPr>
          <a:xfrm>
            <a:off x="4560689" y="1857210"/>
            <a:ext cx="4845685" cy="1185899"/>
            <a:chOff x="5543549" y="2724369"/>
            <a:chExt cx="3295651" cy="1064698"/>
          </a:xfrm>
        </p:grpSpPr>
        <p:sp>
          <p:nvSpPr>
            <p:cNvPr id="19" name="Rectangle 18"/>
            <p:cNvSpPr/>
            <p:nvPr/>
          </p:nvSpPr>
          <p:spPr>
            <a:xfrm>
              <a:off x="5543549" y="3065581"/>
              <a:ext cx="3295651" cy="723486"/>
            </a:xfrm>
            <a:prstGeom prst="rect">
              <a:avLst/>
            </a:prstGeom>
            <a:noFill/>
            <a:ln w="12700" cap="flat" cmpd="sng" algn="ctr">
              <a:noFill/>
              <a:prstDash val="solid"/>
            </a:ln>
            <a:effectLst/>
          </p:spPr>
          <p:txBody>
            <a:bodyPr rtlCol="0" anchor="t"/>
            <a:lstStyle/>
            <a:p>
              <a:pPr marL="855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Lato" charset="0"/>
                <a:ea typeface="Lato" charset="0"/>
                <a:cs typeface="Lato" charset="0"/>
              </a:endParaRPr>
            </a:p>
          </p:txBody>
        </p:sp>
        <p:sp>
          <p:nvSpPr>
            <p:cNvPr id="20" name="Round Same Side Corner Rectangle 19"/>
            <p:cNvSpPr/>
            <p:nvPr/>
          </p:nvSpPr>
          <p:spPr>
            <a:xfrm>
              <a:off x="5543549" y="2724369"/>
              <a:ext cx="3295651" cy="293690"/>
            </a:xfrm>
            <a:prstGeom prst="round2SameRect">
              <a:avLst>
                <a:gd name="adj1" fmla="val 0"/>
                <a:gd name="adj2" fmla="val 0"/>
              </a:avLst>
            </a:prstGeom>
            <a:solidFill>
              <a:schemeClr val="bg2">
                <a:lumMod val="75000"/>
              </a:schemeClr>
            </a:solidFill>
            <a:ln w="12700" cap="flat" cmpd="sng" algn="ctr">
              <a:noFill/>
              <a:prstDash val="solid"/>
            </a:ln>
            <a:effectLst>
              <a:outerShdw blurRad="25400" dist="25400" dir="2700000" algn="tl" rotWithShape="0">
                <a:prstClr val="black">
                  <a:alpha val="15000"/>
                </a:prstClr>
              </a:outerShdw>
            </a:effectLst>
          </p:spPr>
          <p:txBody>
            <a:bodyPr lIns="108000" rtlCol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r>
                <a:rPr lang="en-CA" sz="1100" kern="0" dirty="0">
                  <a:solidFill>
                    <a:srgbClr val="FFFFFF"/>
                  </a:solidFill>
                  <a:latin typeface="Lato" charset="0"/>
                  <a:ea typeface="Lato" charset="0"/>
                  <a:cs typeface="Lato" charset="0"/>
                </a:rPr>
                <a:t>OVERVIEW</a:t>
              </a:r>
            </a:p>
          </p:txBody>
        </p:sp>
      </p:grpSp>
      <p:graphicFrame>
        <p:nvGraphicFramePr>
          <p:cNvPr id="21" name="Table 2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58686009"/>
              </p:ext>
            </p:extLst>
          </p:nvPr>
        </p:nvGraphicFramePr>
        <p:xfrm>
          <a:off x="613871" y="1609003"/>
          <a:ext cx="3845041" cy="1608120"/>
        </p:xfrm>
        <a:graphic>
          <a:graphicData uri="http://schemas.openxmlformats.org/drawingml/2006/table">
            <a:tbl>
              <a:tblPr firstRow="1" bandRow="1"/>
              <a:tblGrid>
                <a:gridCol w="1414933"/>
                <a:gridCol w="2430108"/>
              </a:tblGrid>
              <a:tr h="234221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4572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9144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3716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18288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2860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27432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2004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36576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marL="0" algn="l" defTabSz="457200" rtl="0" eaLnBrk="1" latinLnBrk="0" hangingPunct="1">
                        <a:defRPr/>
                      </a:pPr>
                      <a:r>
                        <a:rPr lang="en-US" sz="1050" b="1" kern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Lato" charset="0"/>
                          <a:cs typeface="Lato" charset="0"/>
                        </a:rPr>
                        <a:t>Company</a:t>
                      </a:r>
                    </a:p>
                  </a:txBody>
                  <a:tcPr marT="72000" marB="36000">
                    <a:lnL w="12700" cmpd="sng">
                      <a:noFill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4572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9144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3716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18288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2860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27432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2004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36576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marL="0" algn="l" defTabSz="457200" rtl="0" eaLnBrk="1" latinLnBrk="0" hangingPunct="1">
                        <a:defRPr/>
                      </a:pPr>
                      <a:r>
                        <a:rPr lang="en-US" sz="1050" b="0" kern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Lato" charset="0"/>
                          <a:cs typeface="Lato" charset="0"/>
                        </a:rPr>
                        <a:t>WSO2</a:t>
                      </a:r>
                      <a:endParaRPr lang="en-US" sz="1050" b="0" kern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Lato" charset="0"/>
                        <a:cs typeface="Lato" charset="0"/>
                      </a:endParaRPr>
                    </a:p>
                  </a:txBody>
                  <a:tcPr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95000"/>
                      </a:srgbClr>
                    </a:solidFill>
                  </a:tcPr>
                </a:tc>
              </a:tr>
              <a:tr h="234221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marL="0" algn="l" defTabSz="457200" rtl="0" eaLnBrk="1" latinLnBrk="0" hangingPunct="1"/>
                      <a:r>
                        <a:rPr lang="en-CA" sz="1050" b="1" kern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Lato" charset="0"/>
                          <a:cs typeface="Lato" charset="0"/>
                        </a:rPr>
                        <a:t>Employees</a:t>
                      </a:r>
                      <a:endParaRPr lang="en-CA" sz="1050" b="1" kern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Lato" charset="0"/>
                        <a:cs typeface="Lato" charset="0"/>
                      </a:endParaRPr>
                    </a:p>
                  </a:txBody>
                  <a:tcPr marT="72000" marB="36000">
                    <a:lnL w="12700" cmpd="sng">
                      <a:noFill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b="0" kern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Lato" charset="0"/>
                          <a:cs typeface="Lato" charset="0"/>
                        </a:rPr>
                        <a:t>450+ </a:t>
                      </a:r>
                    </a:p>
                  </a:txBody>
                  <a:tcPr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95000"/>
                      </a:srgbClr>
                    </a:solidFill>
                  </a:tcPr>
                </a:tc>
              </a:tr>
              <a:tr h="234221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marL="0" algn="l" defTabSz="457200" rtl="0" eaLnBrk="1" latinLnBrk="0" hangingPunct="1"/>
                      <a:r>
                        <a:rPr lang="en-CA" sz="1050" b="1" kern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Lato" charset="0"/>
                          <a:cs typeface="Lato" charset="0"/>
                        </a:rPr>
                        <a:t>Headquarters</a:t>
                      </a:r>
                      <a:endParaRPr lang="en-CA" sz="1050" b="1" kern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Lato" charset="0"/>
                        <a:cs typeface="Lato" charset="0"/>
                      </a:endParaRPr>
                    </a:p>
                  </a:txBody>
                  <a:tcPr marT="72000" marB="36000">
                    <a:lnL w="12700" cmpd="sng">
                      <a:noFill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marL="0" algn="l" defTabSz="457200" rtl="0" eaLnBrk="1" latinLnBrk="0" hangingPunct="1">
                        <a:defRPr/>
                      </a:pPr>
                      <a:r>
                        <a:rPr lang="en-US" sz="1050" b="0" kern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Lato" charset="0"/>
                          <a:cs typeface="Lato" charset="0"/>
                        </a:rPr>
                        <a:t>Mountain View, CA </a:t>
                      </a:r>
                      <a:endParaRPr lang="en-US" sz="1050" b="0" kern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Lato" charset="0"/>
                        <a:cs typeface="Lato" charset="0"/>
                      </a:endParaRPr>
                    </a:p>
                  </a:txBody>
                  <a:tcPr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95000"/>
                      </a:srgbClr>
                    </a:solidFill>
                  </a:tcPr>
                </a:tc>
              </a:tr>
              <a:tr h="234221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marL="0" algn="l" defTabSz="457200" rtl="0" eaLnBrk="1" latinLnBrk="0" hangingPunct="1"/>
                      <a:r>
                        <a:rPr lang="en-CA" sz="1050" b="1" kern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Lato" charset="0"/>
                          <a:cs typeface="Lato" charset="0"/>
                        </a:rPr>
                        <a:t>Website</a:t>
                      </a:r>
                      <a:endParaRPr lang="en-CA" sz="1050" b="1" kern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Lato" charset="0"/>
                        <a:cs typeface="Lato" charset="0"/>
                      </a:endParaRPr>
                    </a:p>
                  </a:txBody>
                  <a:tcPr marT="72000" marB="36000">
                    <a:lnL w="12700" cmpd="sng">
                      <a:noFill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marL="0" algn="l" defTabSz="457200" rtl="0" eaLnBrk="1" latinLnBrk="0" hangingPunct="1">
                        <a:defRPr/>
                      </a:pPr>
                      <a:r>
                        <a:rPr lang="en-US" sz="1050" b="0" kern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Lato" charset="0"/>
                          <a:cs typeface="Lato" charset="0"/>
                          <a:hlinkClick r:id="rId5"/>
                        </a:rPr>
                        <a:t>wso2.com</a:t>
                      </a:r>
                      <a:endParaRPr lang="en-US" sz="1050" b="0" kern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Lato" charset="0"/>
                        <a:cs typeface="Lato" charset="0"/>
                      </a:endParaRPr>
                    </a:p>
                  </a:txBody>
                  <a:tcPr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95000"/>
                      </a:srgbClr>
                    </a:solidFill>
                  </a:tcPr>
                </a:tc>
              </a:tr>
              <a:tr h="234221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marL="0" algn="l" defTabSz="457200" rtl="0" eaLnBrk="1" latinLnBrk="0" hangingPunct="1"/>
                      <a:r>
                        <a:rPr lang="en-CA" sz="1050" b="1" kern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Lato" charset="0"/>
                          <a:cs typeface="Lato" charset="0"/>
                        </a:rPr>
                        <a:t>Founded</a:t>
                      </a:r>
                      <a:endParaRPr lang="en-CA" sz="1050" b="1" kern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Lato" charset="0"/>
                        <a:cs typeface="Lato" charset="0"/>
                      </a:endParaRPr>
                    </a:p>
                  </a:txBody>
                  <a:tcPr marT="72000" marB="36000">
                    <a:lnL w="12700" cmpd="sng">
                      <a:noFill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marL="0" algn="l" defTabSz="457200" rtl="0" eaLnBrk="1" latinLnBrk="0" hangingPunct="1"/>
                      <a:r>
                        <a:rPr lang="en-CA" sz="1050" b="0" kern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Lato" charset="0"/>
                          <a:cs typeface="Lato" charset="0"/>
                        </a:rPr>
                        <a:t>2005</a:t>
                      </a:r>
                      <a:endParaRPr lang="en-CA" sz="1050" b="0" kern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Lato" charset="0"/>
                        <a:cs typeface="Lato" charset="0"/>
                      </a:endParaRPr>
                    </a:p>
                  </a:txBody>
                  <a:tcPr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95000"/>
                      </a:srgbClr>
                    </a:solidFill>
                  </a:tcPr>
                </a:tc>
              </a:tr>
              <a:tr h="234221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marL="0" algn="l" defTabSz="457200" rtl="0" eaLnBrk="1" latinLnBrk="0" hangingPunct="1"/>
                      <a:r>
                        <a:rPr lang="en-CA" sz="1050" b="1" kern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Lato" charset="0"/>
                          <a:cs typeface="Lato" charset="0"/>
                        </a:rPr>
                        <a:t>Presence</a:t>
                      </a:r>
                      <a:endParaRPr lang="en-CA" sz="1050" b="1" kern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Lato" charset="0"/>
                        <a:cs typeface="Lato" charset="0"/>
                      </a:endParaRPr>
                    </a:p>
                  </a:txBody>
                  <a:tcPr marT="72000" marB="36000">
                    <a:lnL w="12700" cmpd="sng">
                      <a:noFill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marL="0" algn="l" defTabSz="457200" rtl="0" eaLnBrk="1" latinLnBrk="0" hangingPunct="1"/>
                      <a:r>
                        <a:rPr lang="en-CA" sz="1050" b="0" kern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Lato" charset="0"/>
                          <a:cs typeface="Lato" charset="0"/>
                        </a:rPr>
                        <a:t>Privately Held</a:t>
                      </a:r>
                      <a:endParaRPr lang="en-CA" sz="1050" b="0" kern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Lato" charset="0"/>
                        <a:cs typeface="Lato" charset="0"/>
                      </a:endParaRPr>
                    </a:p>
                  </a:txBody>
                  <a:tcPr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95000"/>
                      </a:srgbClr>
                    </a:solidFill>
                  </a:tcPr>
                </a:tc>
              </a:tr>
            </a:tbl>
          </a:graphicData>
        </a:graphic>
      </p:graphicFrame>
      <p:grpSp>
        <p:nvGrpSpPr>
          <p:cNvPr id="22" name="Group 33"/>
          <p:cNvGrpSpPr/>
          <p:nvPr>
            <p:custDataLst>
              <p:tags r:id="rId2"/>
            </p:custDataLst>
          </p:nvPr>
        </p:nvGrpSpPr>
        <p:grpSpPr>
          <a:xfrm>
            <a:off x="4566880" y="2893413"/>
            <a:ext cx="4845685" cy="1185900"/>
            <a:chOff x="5543549" y="2724369"/>
            <a:chExt cx="3295651" cy="1064699"/>
          </a:xfrm>
        </p:grpSpPr>
        <p:sp>
          <p:nvSpPr>
            <p:cNvPr id="23" name="Rectangle 22"/>
            <p:cNvSpPr/>
            <p:nvPr/>
          </p:nvSpPr>
          <p:spPr>
            <a:xfrm>
              <a:off x="5543549" y="3018344"/>
              <a:ext cx="3295651" cy="770724"/>
            </a:xfrm>
            <a:prstGeom prst="rect">
              <a:avLst/>
            </a:prstGeom>
            <a:noFill/>
            <a:ln w="12700" cap="flat" cmpd="sng" algn="ctr">
              <a:noFill/>
              <a:prstDash val="solid"/>
            </a:ln>
            <a:effectLst/>
          </p:spPr>
          <p:txBody>
            <a:bodyPr rtlCol="0" anchor="t"/>
            <a:lstStyle/>
            <a:p>
              <a:pPr marL="855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Lato" charset="0"/>
                <a:ea typeface="Lato" charset="0"/>
                <a:cs typeface="Lato" charset="0"/>
              </a:endParaRPr>
            </a:p>
          </p:txBody>
        </p:sp>
        <p:sp>
          <p:nvSpPr>
            <p:cNvPr id="24" name="Round Same Side Corner Rectangle 23"/>
            <p:cNvSpPr/>
            <p:nvPr/>
          </p:nvSpPr>
          <p:spPr>
            <a:xfrm>
              <a:off x="5543549" y="2724369"/>
              <a:ext cx="3295651" cy="293690"/>
            </a:xfrm>
            <a:prstGeom prst="round2SameRect">
              <a:avLst>
                <a:gd name="adj1" fmla="val 0"/>
                <a:gd name="adj2" fmla="val 0"/>
              </a:avLst>
            </a:prstGeom>
            <a:solidFill>
              <a:schemeClr val="bg2">
                <a:lumMod val="75000"/>
              </a:schemeClr>
            </a:solidFill>
            <a:ln w="12700" cap="flat" cmpd="sng" algn="ctr">
              <a:noFill/>
              <a:prstDash val="solid"/>
            </a:ln>
            <a:effectLst>
              <a:outerShdw blurRad="25400" dist="25400" dir="2700000" algn="tl" rotWithShape="0">
                <a:prstClr val="black">
                  <a:alpha val="15000"/>
                </a:prstClr>
              </a:outerShdw>
            </a:effectLst>
          </p:spPr>
          <p:txBody>
            <a:bodyPr lIns="108000" rtlCol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r>
                <a:rPr lang="en-CA" sz="1100" kern="0" dirty="0">
                  <a:solidFill>
                    <a:srgbClr val="FFFFFF"/>
                  </a:solidFill>
                  <a:latin typeface="Lato" charset="0"/>
                  <a:ea typeface="Lato" charset="0"/>
                  <a:cs typeface="Lato" charset="0"/>
                </a:rPr>
                <a:t>STRENGTHS</a:t>
              </a:r>
            </a:p>
          </p:txBody>
        </p:sp>
      </p:grpSp>
      <p:grpSp>
        <p:nvGrpSpPr>
          <p:cNvPr id="25" name="Group 33"/>
          <p:cNvGrpSpPr/>
          <p:nvPr>
            <p:custDataLst>
              <p:tags r:id="rId3"/>
            </p:custDataLst>
          </p:nvPr>
        </p:nvGrpSpPr>
        <p:grpSpPr>
          <a:xfrm>
            <a:off x="4568217" y="4472905"/>
            <a:ext cx="4845685" cy="1185900"/>
            <a:chOff x="5543549" y="2724369"/>
            <a:chExt cx="3295651" cy="1064699"/>
          </a:xfrm>
        </p:grpSpPr>
        <p:sp>
          <p:nvSpPr>
            <p:cNvPr id="26" name="Rectangle 25"/>
            <p:cNvSpPr/>
            <p:nvPr/>
          </p:nvSpPr>
          <p:spPr>
            <a:xfrm>
              <a:off x="5543549" y="3018344"/>
              <a:ext cx="3295651" cy="770724"/>
            </a:xfrm>
            <a:prstGeom prst="rect">
              <a:avLst/>
            </a:prstGeom>
            <a:noFill/>
            <a:ln w="12700" cap="flat" cmpd="sng" algn="ctr">
              <a:noFill/>
              <a:prstDash val="solid"/>
            </a:ln>
            <a:effectLst/>
          </p:spPr>
          <p:txBody>
            <a:bodyPr rtlCol="0" anchor="t"/>
            <a:lstStyle/>
            <a:p>
              <a:pPr marL="855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Lato" charset="0"/>
                <a:ea typeface="Lato" charset="0"/>
                <a:cs typeface="Lato" charset="0"/>
              </a:endParaRPr>
            </a:p>
          </p:txBody>
        </p:sp>
        <p:sp>
          <p:nvSpPr>
            <p:cNvPr id="27" name="Round Same Side Corner Rectangle 26"/>
            <p:cNvSpPr/>
            <p:nvPr/>
          </p:nvSpPr>
          <p:spPr>
            <a:xfrm>
              <a:off x="5543549" y="2724369"/>
              <a:ext cx="3295651" cy="293690"/>
            </a:xfrm>
            <a:prstGeom prst="round2SameRect">
              <a:avLst>
                <a:gd name="adj1" fmla="val 0"/>
                <a:gd name="adj2" fmla="val 0"/>
              </a:avLst>
            </a:prstGeom>
            <a:solidFill>
              <a:schemeClr val="bg2">
                <a:lumMod val="75000"/>
              </a:schemeClr>
            </a:solidFill>
            <a:ln w="12700" cap="flat" cmpd="sng" algn="ctr">
              <a:noFill/>
              <a:prstDash val="solid"/>
            </a:ln>
            <a:effectLst>
              <a:outerShdw blurRad="25400" dist="25400" dir="2700000" algn="tl" rotWithShape="0">
                <a:prstClr val="black">
                  <a:alpha val="15000"/>
                </a:prstClr>
              </a:outerShdw>
            </a:effectLst>
          </p:spPr>
          <p:txBody>
            <a:bodyPr lIns="108000" rtlCol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r>
                <a:rPr lang="en-CA" sz="1100" kern="0" dirty="0">
                  <a:solidFill>
                    <a:srgbClr val="FFFFFF"/>
                  </a:solidFill>
                  <a:latin typeface="Lato" charset="0"/>
                  <a:ea typeface="Lato" charset="0"/>
                  <a:cs typeface="Lato" charset="0"/>
                </a:rPr>
                <a:t>CHALLENGES </a:t>
              </a:r>
            </a:p>
          </p:txBody>
        </p:sp>
      </p:grpSp>
      <p:sp>
        <p:nvSpPr>
          <p:cNvPr id="29" name="TextBox 28"/>
          <p:cNvSpPr txBox="1"/>
          <p:nvPr/>
        </p:nvSpPr>
        <p:spPr>
          <a:xfrm>
            <a:off x="4560689" y="3260588"/>
            <a:ext cx="4845685" cy="122341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marR="0" lvl="0" indent="-17145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CA" sz="1050" b="0" i="0" u="none" strike="noStrike" kern="0" cap="none" spc="0" normalizeH="0" baseline="0" noProof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Lato" charset="0"/>
                <a:ea typeface="Lato" charset="0"/>
                <a:cs typeface="Lato" charset="0"/>
              </a:rPr>
              <a:t>As an open source solution, WSO2 provides a cost-effective option that is capable of scalability and agile deployment. </a:t>
            </a:r>
          </a:p>
          <a:p>
            <a:pPr marL="171450" marR="0" lvl="0" indent="-17145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CA" sz="1050" b="0" i="0" u="none" strike="noStrike" kern="0" cap="none" spc="0" normalizeH="0" baseline="0" noProof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Lato" charset="0"/>
                <a:ea typeface="Lato" charset="0"/>
                <a:cs typeface="Lato" charset="0"/>
              </a:rPr>
              <a:t>Enterprise Service Bus is built on WSO2’s Carbon technology, leveraging its core features (clustering, caching, etc.) to improve the architecture and functional capabilities of the bus. </a:t>
            </a:r>
          </a:p>
          <a:p>
            <a:pPr marL="171450" marR="0" lvl="0" indent="-17145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CA" sz="1050" b="0" i="0" u="none" strike="noStrike" kern="0" cap="none" spc="0" normalizeH="0" baseline="0" noProof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Lato" charset="0"/>
                <a:ea typeface="Lato" charset="0"/>
                <a:cs typeface="Lato" charset="0"/>
              </a:rPr>
              <a:t>Users cite the openness of the solution as a strong selling point that enables scalability and flexibility in their business environment. </a:t>
            </a:r>
          </a:p>
        </p:txBody>
      </p:sp>
      <p:sp>
        <p:nvSpPr>
          <p:cNvPr id="30" name="TextBox 29"/>
          <p:cNvSpPr txBox="1"/>
          <p:nvPr/>
        </p:nvSpPr>
        <p:spPr>
          <a:xfrm>
            <a:off x="4560688" y="2217180"/>
            <a:ext cx="4893115" cy="5770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1050" b="0" i="0" u="none" strike="noStrike" kern="0" cap="none" spc="0" normalizeH="0" baseline="0" noProof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Lato" charset="0"/>
                <a:ea typeface="Lato" charset="0"/>
                <a:cs typeface="Lato" charset="0"/>
              </a:rPr>
              <a:t>WSO2 is a cloud native and open source vendor who specializes in middleware technology. </a:t>
            </a:r>
            <a:r>
              <a:rPr kumimoji="0" lang="en-CA" sz="1050" b="1" i="0" u="none" strike="noStrike" kern="0" cap="none" spc="0" normalizeH="0" baseline="0" noProof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Lato" charset="0"/>
                <a:ea typeface="Lato" charset="0"/>
                <a:cs typeface="Lato" charset="0"/>
              </a:rPr>
              <a:t>Enterprise Service Bus </a:t>
            </a:r>
            <a:r>
              <a:rPr kumimoji="0" lang="en-CA" sz="1050" b="0" i="0" u="none" strike="noStrike" kern="0" cap="none" spc="0" normalizeH="0" baseline="0" noProof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Lato" charset="0"/>
                <a:ea typeface="Lato" charset="0"/>
                <a:cs typeface="Lato" charset="0"/>
              </a:rPr>
              <a:t>is a standards-based ESB solution built on top of WSO2’s Carbon technology. </a:t>
            </a:r>
          </a:p>
        </p:txBody>
      </p:sp>
      <p:sp>
        <p:nvSpPr>
          <p:cNvPr id="31" name="TextBox 30"/>
          <p:cNvSpPr txBox="1"/>
          <p:nvPr/>
        </p:nvSpPr>
        <p:spPr>
          <a:xfrm>
            <a:off x="4560690" y="4839488"/>
            <a:ext cx="4954992" cy="90024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marR="0" lvl="0" indent="-17145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CA" sz="1050" b="0" i="0" u="none" strike="noStrike" kern="0" cap="none" spc="0" normalizeH="0" baseline="0" noProof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Lato" charset="0"/>
                <a:ea typeface="Lato" charset="0"/>
                <a:cs typeface="Lato" charset="0"/>
              </a:rPr>
              <a:t>WSO2’s reliance on additional open source components for features, such as message persistence, publishing, and subscription, adds additional configuration steps to the initial setup.</a:t>
            </a:r>
          </a:p>
          <a:p>
            <a:pPr marL="171450" marR="0" lvl="0" indent="-17145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CA" sz="1050" b="0" i="0" u="none" strike="noStrike" kern="0" cap="none" spc="0" normalizeH="0" baseline="0" noProof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Lato" charset="0"/>
                <a:ea typeface="Lato" charset="0"/>
                <a:cs typeface="Lato" charset="0"/>
              </a:rPr>
              <a:t>WSO2 users may still have to rely more heavily on service support contracts and the open source community to develop their integration solutions. </a:t>
            </a:r>
          </a:p>
        </p:txBody>
      </p:sp>
      <p:graphicFrame>
        <p:nvGraphicFramePr>
          <p:cNvPr id="2" name="Table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9232799"/>
              </p:ext>
            </p:extLst>
          </p:nvPr>
        </p:nvGraphicFramePr>
        <p:xfrm>
          <a:off x="613868" y="3695121"/>
          <a:ext cx="3845042" cy="2209811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261058"/>
                <a:gridCol w="2583984"/>
              </a:tblGrid>
              <a:tr h="220981">
                <a:tc>
                  <a:txBody>
                    <a:bodyPr/>
                    <a:lstStyle/>
                    <a:p>
                      <a:pPr marL="0" algn="l" defTabSz="457200" rtl="0" eaLnBrk="1" fontAlgn="b" latinLnBrk="0" hangingPunct="1"/>
                      <a:r>
                        <a:rPr lang="en-US" sz="1050" b="1" kern="120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Lato" charset="0"/>
                          <a:cs typeface="Lato" charset="0"/>
                        </a:rPr>
                        <a:t>Products</a:t>
                      </a:r>
                    </a:p>
                  </a:txBody>
                  <a:tcPr marL="7620" marR="7620" marT="7620" marB="0" anchor="b"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1050" u="none" strike="noStrike" kern="1200" dirty="0"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Details</a:t>
                      </a:r>
                    </a:p>
                  </a:txBody>
                  <a:tcPr marL="7620" marR="7620" marT="7620" marB="0" anchor="b">
                    <a:solidFill>
                      <a:schemeClr val="accent1">
                        <a:lumMod val="75000"/>
                      </a:schemeClr>
                    </a:solidFill>
                  </a:tcPr>
                </a:tc>
              </a:tr>
              <a:tr h="220981">
                <a:tc>
                  <a:txBody>
                    <a:bodyPr/>
                    <a:lstStyle/>
                    <a:p>
                      <a:pPr marL="0" algn="l" defTabSz="457200" rtl="0" eaLnBrk="1" fontAlgn="b" latinLnBrk="0" hangingPunct="1"/>
                      <a:r>
                        <a:rPr lang="en-US" sz="1050" b="1" kern="120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Lato" charset="0"/>
                          <a:cs typeface="Lato" charset="0"/>
                        </a:rPr>
                        <a:t>API Gateway</a:t>
                      </a:r>
                    </a:p>
                  </a:txBody>
                  <a:tcPr marL="7620" marR="7620" marT="7620" marB="0" anchor="ctr">
                    <a:solidFill>
                      <a:schemeClr val="accent1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1050" u="none" strike="noStrike" kern="1200" dirty="0"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Design, compose and publish APIs</a:t>
                      </a:r>
                    </a:p>
                  </a:txBody>
                  <a:tcPr marL="7620" marR="7620" marT="7620" marB="0" anchor="b"/>
                </a:tc>
              </a:tr>
              <a:tr h="662944">
                <a:tc>
                  <a:txBody>
                    <a:bodyPr/>
                    <a:lstStyle/>
                    <a:p>
                      <a:pPr marL="0" algn="l" defTabSz="457200" rtl="0" eaLnBrk="1" fontAlgn="b" latinLnBrk="0" hangingPunct="1"/>
                      <a:r>
                        <a:rPr lang="en-US" sz="1050" b="1" kern="120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Lato" charset="0"/>
                          <a:cs typeface="Lato" charset="0"/>
                        </a:rPr>
                        <a:t>Enterprise Integrator</a:t>
                      </a:r>
                    </a:p>
                  </a:txBody>
                  <a:tcPr marL="7620" marR="7620" marT="7620" marB="0" anchor="ctr">
                    <a:solidFill>
                      <a:schemeClr val="accent1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1050" u="none" strike="noStrike" kern="1200" dirty="0"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Service bus to mediates and transforms data between legacy systems, SaaS applications, services, and APIs</a:t>
                      </a:r>
                    </a:p>
                  </a:txBody>
                  <a:tcPr marL="7620" marR="7620" marT="7620" marB="0" anchor="b"/>
                </a:tc>
              </a:tr>
              <a:tr h="220981">
                <a:tc>
                  <a:txBody>
                    <a:bodyPr/>
                    <a:lstStyle/>
                    <a:p>
                      <a:pPr marL="0" algn="l" defTabSz="457200" rtl="0" eaLnBrk="1" fontAlgn="b" latinLnBrk="0" hangingPunct="1"/>
                      <a:r>
                        <a:rPr lang="en-US" sz="1050" b="1" kern="120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Lato" charset="0"/>
                          <a:cs typeface="Lato" charset="0"/>
                        </a:rPr>
                        <a:t>Identity Server</a:t>
                      </a:r>
                    </a:p>
                  </a:txBody>
                  <a:tcPr marL="7620" marR="7620" marT="7620" marB="0" anchor="ctr">
                    <a:solidFill>
                      <a:schemeClr val="accent1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1050" u="none" strike="noStrike" kern="1200" dirty="0"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Identity management </a:t>
                      </a:r>
                    </a:p>
                  </a:txBody>
                  <a:tcPr marL="7620" marR="7620" marT="7620" marB="0" anchor="b"/>
                </a:tc>
              </a:tr>
              <a:tr h="441962">
                <a:tc>
                  <a:txBody>
                    <a:bodyPr/>
                    <a:lstStyle/>
                    <a:p>
                      <a:pPr marL="0" algn="l" defTabSz="457200" rtl="0" eaLnBrk="1" fontAlgn="b" latinLnBrk="0" hangingPunct="1"/>
                      <a:r>
                        <a:rPr lang="en-US" sz="1050" b="1" kern="120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Lato" charset="0"/>
                          <a:cs typeface="Lato" charset="0"/>
                        </a:rPr>
                        <a:t>Real-time Analytics</a:t>
                      </a:r>
                    </a:p>
                  </a:txBody>
                  <a:tcPr marL="7620" marR="7620" marT="7620" marB="0" anchor="ctr">
                    <a:solidFill>
                      <a:schemeClr val="accent1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1050" u="none" strike="noStrike" kern="1200" dirty="0"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Analytics product that analyzes data streams in real time</a:t>
                      </a:r>
                    </a:p>
                  </a:txBody>
                  <a:tcPr marL="7620" marR="7620" marT="7620" marB="0" anchor="b"/>
                </a:tc>
              </a:tr>
              <a:tr h="441962">
                <a:tc>
                  <a:txBody>
                    <a:bodyPr/>
                    <a:lstStyle/>
                    <a:p>
                      <a:pPr marL="0" algn="l" defTabSz="457200" rtl="0" eaLnBrk="1" fontAlgn="b" latinLnBrk="0" hangingPunct="1"/>
                      <a:r>
                        <a:rPr lang="en-US" sz="1050" b="1" kern="1200" dirty="0" err="1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Lato" charset="0"/>
                          <a:cs typeface="Lato" charset="0"/>
                        </a:rPr>
                        <a:t>IoT</a:t>
                      </a:r>
                      <a:r>
                        <a:rPr lang="en-US" sz="1050" b="1" kern="120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Lato" charset="0"/>
                          <a:cs typeface="Lato" charset="0"/>
                        </a:rPr>
                        <a:t> Server</a:t>
                      </a:r>
                    </a:p>
                  </a:txBody>
                  <a:tcPr marL="7620" marR="7620" marT="7620" marB="0" anchor="ctr">
                    <a:solidFill>
                      <a:schemeClr val="accent1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1050" u="none" strike="noStrike" kern="1200" dirty="0"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Manage devices, Apps with enterprise mobility management (EMM/MDM) solution</a:t>
                      </a:r>
                    </a:p>
                  </a:txBody>
                  <a:tcPr marL="7620" marR="7620" marT="7620" marB="0" anchor="b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5924214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YK </a:t>
            </a:r>
            <a:r>
              <a:rPr lang="en-US" sz="1600" b="0" dirty="0" smtClean="0"/>
              <a:t>Open Source</a:t>
            </a:r>
            <a:endParaRPr lang="en-US" sz="1600" b="0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970ACE7-7972-4389-A70A-097F415613C7}" type="slidenum">
              <a:rPr lang="en-US" smtClean="0"/>
              <a:pPr/>
              <a:t>15</a:t>
            </a:fld>
            <a:endParaRPr lang="en-US" dirty="0"/>
          </a:p>
        </p:txBody>
      </p:sp>
      <p:grpSp>
        <p:nvGrpSpPr>
          <p:cNvPr id="18" name="Group 33"/>
          <p:cNvGrpSpPr/>
          <p:nvPr>
            <p:custDataLst>
              <p:tags r:id="rId1"/>
            </p:custDataLst>
          </p:nvPr>
        </p:nvGrpSpPr>
        <p:grpSpPr>
          <a:xfrm>
            <a:off x="4586690" y="2356469"/>
            <a:ext cx="4845685" cy="1185899"/>
            <a:chOff x="5543549" y="2724369"/>
            <a:chExt cx="3295651" cy="1064698"/>
          </a:xfrm>
        </p:grpSpPr>
        <p:sp>
          <p:nvSpPr>
            <p:cNvPr id="19" name="Rectangle 18"/>
            <p:cNvSpPr/>
            <p:nvPr/>
          </p:nvSpPr>
          <p:spPr>
            <a:xfrm>
              <a:off x="5543549" y="3065581"/>
              <a:ext cx="3295651" cy="723486"/>
            </a:xfrm>
            <a:prstGeom prst="rect">
              <a:avLst/>
            </a:prstGeom>
            <a:noFill/>
            <a:ln w="12700" cap="flat" cmpd="sng" algn="ctr">
              <a:noFill/>
              <a:prstDash val="solid"/>
            </a:ln>
            <a:effectLst/>
          </p:spPr>
          <p:txBody>
            <a:bodyPr rtlCol="0" anchor="t"/>
            <a:lstStyle/>
            <a:p>
              <a:pPr marL="855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Lato" charset="0"/>
                <a:ea typeface="Lato" charset="0"/>
                <a:cs typeface="Lato" charset="0"/>
              </a:endParaRPr>
            </a:p>
          </p:txBody>
        </p:sp>
        <p:sp>
          <p:nvSpPr>
            <p:cNvPr id="20" name="Round Same Side Corner Rectangle 19"/>
            <p:cNvSpPr/>
            <p:nvPr/>
          </p:nvSpPr>
          <p:spPr>
            <a:xfrm>
              <a:off x="5543549" y="2724369"/>
              <a:ext cx="3295651" cy="293690"/>
            </a:xfrm>
            <a:prstGeom prst="round2SameRect">
              <a:avLst>
                <a:gd name="adj1" fmla="val 0"/>
                <a:gd name="adj2" fmla="val 0"/>
              </a:avLst>
            </a:prstGeom>
            <a:solidFill>
              <a:schemeClr val="bg2">
                <a:lumMod val="75000"/>
              </a:schemeClr>
            </a:solidFill>
            <a:ln w="12700" cap="flat" cmpd="sng" algn="ctr">
              <a:noFill/>
              <a:prstDash val="solid"/>
            </a:ln>
            <a:effectLst>
              <a:outerShdw blurRad="25400" dist="25400" dir="2700000" algn="tl" rotWithShape="0">
                <a:prstClr val="black">
                  <a:alpha val="15000"/>
                </a:prstClr>
              </a:outerShdw>
            </a:effectLst>
          </p:spPr>
          <p:txBody>
            <a:bodyPr lIns="108000" rtlCol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r>
                <a:rPr lang="en-CA" sz="1100" kern="0" dirty="0">
                  <a:solidFill>
                    <a:srgbClr val="FFFFFF"/>
                  </a:solidFill>
                  <a:latin typeface="Lato" charset="0"/>
                  <a:ea typeface="Lato" charset="0"/>
                  <a:cs typeface="Lato" charset="0"/>
                </a:rPr>
                <a:t>OVERVIEW</a:t>
              </a:r>
            </a:p>
          </p:txBody>
        </p:sp>
      </p:grpSp>
      <p:graphicFrame>
        <p:nvGraphicFramePr>
          <p:cNvPr id="21" name="Table 2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12796256"/>
              </p:ext>
            </p:extLst>
          </p:nvPr>
        </p:nvGraphicFramePr>
        <p:xfrm>
          <a:off x="639505" y="2069636"/>
          <a:ext cx="3845041" cy="1608120"/>
        </p:xfrm>
        <a:graphic>
          <a:graphicData uri="http://schemas.openxmlformats.org/drawingml/2006/table">
            <a:tbl>
              <a:tblPr firstRow="1" bandRow="1"/>
              <a:tblGrid>
                <a:gridCol w="1414933"/>
                <a:gridCol w="2430108"/>
              </a:tblGrid>
              <a:tr h="234221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4572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9144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3716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18288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2860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27432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2004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36576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marL="0" algn="l" defTabSz="457200" rtl="0" eaLnBrk="1" latinLnBrk="0" hangingPunct="1">
                        <a:defRPr/>
                      </a:pPr>
                      <a:r>
                        <a:rPr lang="en-US" sz="1050" b="1" kern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Lato" charset="0"/>
                          <a:cs typeface="Lato" charset="0"/>
                        </a:rPr>
                        <a:t>Company</a:t>
                      </a:r>
                    </a:p>
                  </a:txBody>
                  <a:tcPr marT="72000" marB="36000">
                    <a:lnL w="12700" cmpd="sng">
                      <a:noFill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4572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9144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3716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18288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2860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27432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2004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36576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marL="0" algn="l" defTabSz="457200" rtl="0" eaLnBrk="1" latinLnBrk="0" hangingPunct="1">
                        <a:defRPr/>
                      </a:pPr>
                      <a:r>
                        <a:rPr lang="en-US" sz="1050" b="0" kern="1200" dirty="0" err="1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Lato" charset="0"/>
                          <a:cs typeface="Lato" charset="0"/>
                        </a:rPr>
                        <a:t>Tyk</a:t>
                      </a:r>
                      <a:r>
                        <a:rPr lang="en-US" sz="1050" b="0" kern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Lato" charset="0"/>
                          <a:cs typeface="Lato" charset="0"/>
                        </a:rPr>
                        <a:t> Technologies</a:t>
                      </a:r>
                      <a:endParaRPr lang="en-US" sz="1050" b="0" kern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Lato" charset="0"/>
                        <a:cs typeface="Lato" charset="0"/>
                      </a:endParaRPr>
                    </a:p>
                  </a:txBody>
                  <a:tcPr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95000"/>
                      </a:srgbClr>
                    </a:solidFill>
                  </a:tcPr>
                </a:tc>
              </a:tr>
              <a:tr h="234221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marL="0" algn="l" defTabSz="457200" rtl="0" eaLnBrk="1" latinLnBrk="0" hangingPunct="1"/>
                      <a:r>
                        <a:rPr lang="en-CA" sz="1050" b="1" kern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Lato" charset="0"/>
                          <a:cs typeface="Lato" charset="0"/>
                        </a:rPr>
                        <a:t>Employees</a:t>
                      </a:r>
                      <a:endParaRPr lang="en-CA" sz="1050" b="1" kern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Lato" charset="0"/>
                        <a:cs typeface="Lato" charset="0"/>
                      </a:endParaRPr>
                    </a:p>
                  </a:txBody>
                  <a:tcPr marT="72000" marB="36000">
                    <a:lnL w="12700" cmpd="sng">
                      <a:noFill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b="0" kern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Lato" charset="0"/>
                          <a:cs typeface="Lato" charset="0"/>
                        </a:rPr>
                        <a:t>11-50</a:t>
                      </a:r>
                    </a:p>
                  </a:txBody>
                  <a:tcPr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95000"/>
                      </a:srgbClr>
                    </a:solidFill>
                  </a:tcPr>
                </a:tc>
              </a:tr>
              <a:tr h="234221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marL="0" algn="l" defTabSz="457200" rtl="0" eaLnBrk="1" latinLnBrk="0" hangingPunct="1"/>
                      <a:r>
                        <a:rPr lang="en-CA" sz="1050" b="1" kern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Lato" charset="0"/>
                          <a:cs typeface="Lato" charset="0"/>
                        </a:rPr>
                        <a:t>Headquarters</a:t>
                      </a:r>
                      <a:endParaRPr lang="en-CA" sz="1050" b="1" kern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Lato" charset="0"/>
                        <a:cs typeface="Lato" charset="0"/>
                      </a:endParaRPr>
                    </a:p>
                  </a:txBody>
                  <a:tcPr marT="72000" marB="36000">
                    <a:lnL w="12700" cmpd="sng">
                      <a:noFill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b="0" kern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Lato" charset="0"/>
                          <a:cs typeface="Lato" charset="0"/>
                        </a:rPr>
                        <a:t>LONDON, UK</a:t>
                      </a:r>
                    </a:p>
                  </a:txBody>
                  <a:tcPr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95000"/>
                      </a:srgbClr>
                    </a:solidFill>
                  </a:tcPr>
                </a:tc>
              </a:tr>
              <a:tr h="234221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marL="0" algn="l" defTabSz="457200" rtl="0" eaLnBrk="1" latinLnBrk="0" hangingPunct="1"/>
                      <a:r>
                        <a:rPr lang="en-CA" sz="1050" b="1" kern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Lato" charset="0"/>
                          <a:cs typeface="Lato" charset="0"/>
                        </a:rPr>
                        <a:t>Website</a:t>
                      </a:r>
                      <a:endParaRPr lang="en-CA" sz="1050" b="1" kern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Lato" charset="0"/>
                        <a:cs typeface="Lato" charset="0"/>
                      </a:endParaRPr>
                    </a:p>
                  </a:txBody>
                  <a:tcPr marT="72000" marB="36000">
                    <a:lnL w="12700" cmpd="sng">
                      <a:noFill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marL="0" algn="l" defTabSz="457200" rtl="0" eaLnBrk="1" latinLnBrk="0" hangingPunct="1">
                        <a:defRPr/>
                      </a:pPr>
                      <a:r>
                        <a:rPr lang="en-US" sz="1050" b="0" kern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Lato" charset="0"/>
                          <a:cs typeface="Lato" charset="0"/>
                          <a:hlinkClick r:id="rId6"/>
                        </a:rPr>
                        <a:t>tyk.io</a:t>
                      </a:r>
                      <a:endParaRPr lang="en-US" sz="1050" b="0" kern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Lato" charset="0"/>
                        <a:cs typeface="Lato" charset="0"/>
                      </a:endParaRPr>
                    </a:p>
                  </a:txBody>
                  <a:tcPr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95000"/>
                      </a:srgbClr>
                    </a:solidFill>
                  </a:tcPr>
                </a:tc>
              </a:tr>
              <a:tr h="234221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marL="0" algn="l" defTabSz="457200" rtl="0" eaLnBrk="1" latinLnBrk="0" hangingPunct="1"/>
                      <a:r>
                        <a:rPr lang="en-CA" sz="1050" b="1" kern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Lato" charset="0"/>
                          <a:cs typeface="Lato" charset="0"/>
                        </a:rPr>
                        <a:t>Founded</a:t>
                      </a:r>
                      <a:endParaRPr lang="en-CA" sz="1050" b="1" kern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Lato" charset="0"/>
                        <a:cs typeface="Lato" charset="0"/>
                      </a:endParaRPr>
                    </a:p>
                  </a:txBody>
                  <a:tcPr marT="72000" marB="36000">
                    <a:lnL w="12700" cmpd="sng">
                      <a:noFill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marL="0" algn="l" defTabSz="457200" rtl="0" eaLnBrk="1" latinLnBrk="0" hangingPunct="1"/>
                      <a:r>
                        <a:rPr lang="en-CA" sz="1050" b="0" kern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Lato" charset="0"/>
                          <a:cs typeface="Lato" charset="0"/>
                        </a:rPr>
                        <a:t>2014</a:t>
                      </a:r>
                      <a:endParaRPr lang="en-CA" sz="1050" b="0" kern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Lato" charset="0"/>
                        <a:cs typeface="Lato" charset="0"/>
                      </a:endParaRPr>
                    </a:p>
                  </a:txBody>
                  <a:tcPr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95000"/>
                      </a:srgbClr>
                    </a:solidFill>
                  </a:tcPr>
                </a:tc>
              </a:tr>
              <a:tr h="234221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marL="0" algn="l" defTabSz="457200" rtl="0" eaLnBrk="1" latinLnBrk="0" hangingPunct="1"/>
                      <a:r>
                        <a:rPr lang="en-CA" sz="1050" b="1" kern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Lato" charset="0"/>
                          <a:cs typeface="Lato" charset="0"/>
                        </a:rPr>
                        <a:t>Presence</a:t>
                      </a:r>
                      <a:endParaRPr lang="en-CA" sz="1050" b="1" kern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Lato" charset="0"/>
                        <a:cs typeface="Lato" charset="0"/>
                      </a:endParaRPr>
                    </a:p>
                  </a:txBody>
                  <a:tcPr marT="72000" marB="36000">
                    <a:lnL w="12700" cmpd="sng">
                      <a:noFill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marL="0" algn="l" defTabSz="457200" rtl="0" eaLnBrk="1" latinLnBrk="0" hangingPunct="1"/>
                      <a:r>
                        <a:rPr lang="en-CA" sz="1050" b="0" kern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Lato" charset="0"/>
                          <a:cs typeface="Lato" charset="0"/>
                        </a:rPr>
                        <a:t>Privately Held</a:t>
                      </a:r>
                      <a:endParaRPr lang="en-CA" sz="1050" b="0" kern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Lato" charset="0"/>
                        <a:cs typeface="Lato" charset="0"/>
                      </a:endParaRPr>
                    </a:p>
                  </a:txBody>
                  <a:tcPr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95000"/>
                      </a:srgbClr>
                    </a:solidFill>
                  </a:tcPr>
                </a:tc>
              </a:tr>
            </a:tbl>
          </a:graphicData>
        </a:graphic>
      </p:graphicFrame>
      <p:grpSp>
        <p:nvGrpSpPr>
          <p:cNvPr id="22" name="Group 33"/>
          <p:cNvGrpSpPr/>
          <p:nvPr>
            <p:custDataLst>
              <p:tags r:id="rId2"/>
            </p:custDataLst>
          </p:nvPr>
        </p:nvGrpSpPr>
        <p:grpSpPr>
          <a:xfrm>
            <a:off x="4592880" y="3175511"/>
            <a:ext cx="4845685" cy="1185900"/>
            <a:chOff x="5543549" y="2724369"/>
            <a:chExt cx="3295651" cy="1064699"/>
          </a:xfrm>
        </p:grpSpPr>
        <p:sp>
          <p:nvSpPr>
            <p:cNvPr id="23" name="Rectangle 22"/>
            <p:cNvSpPr/>
            <p:nvPr/>
          </p:nvSpPr>
          <p:spPr>
            <a:xfrm>
              <a:off x="5543549" y="3018344"/>
              <a:ext cx="3295651" cy="770724"/>
            </a:xfrm>
            <a:prstGeom prst="rect">
              <a:avLst/>
            </a:prstGeom>
            <a:noFill/>
            <a:ln w="12700" cap="flat" cmpd="sng" algn="ctr">
              <a:noFill/>
              <a:prstDash val="solid"/>
            </a:ln>
            <a:effectLst/>
          </p:spPr>
          <p:txBody>
            <a:bodyPr rtlCol="0" anchor="t"/>
            <a:lstStyle/>
            <a:p>
              <a:pPr marL="855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Lato" charset="0"/>
                <a:ea typeface="Lato" charset="0"/>
                <a:cs typeface="Lato" charset="0"/>
              </a:endParaRPr>
            </a:p>
          </p:txBody>
        </p:sp>
        <p:sp>
          <p:nvSpPr>
            <p:cNvPr id="24" name="Round Same Side Corner Rectangle 23"/>
            <p:cNvSpPr/>
            <p:nvPr/>
          </p:nvSpPr>
          <p:spPr>
            <a:xfrm>
              <a:off x="5543549" y="2724369"/>
              <a:ext cx="3295651" cy="293690"/>
            </a:xfrm>
            <a:prstGeom prst="round2SameRect">
              <a:avLst>
                <a:gd name="adj1" fmla="val 0"/>
                <a:gd name="adj2" fmla="val 0"/>
              </a:avLst>
            </a:prstGeom>
            <a:solidFill>
              <a:schemeClr val="bg2">
                <a:lumMod val="75000"/>
              </a:schemeClr>
            </a:solidFill>
            <a:ln w="12700" cap="flat" cmpd="sng" algn="ctr">
              <a:noFill/>
              <a:prstDash val="solid"/>
            </a:ln>
            <a:effectLst>
              <a:outerShdw blurRad="25400" dist="25400" dir="2700000" algn="tl" rotWithShape="0">
                <a:prstClr val="black">
                  <a:alpha val="15000"/>
                </a:prstClr>
              </a:outerShdw>
            </a:effectLst>
          </p:spPr>
          <p:txBody>
            <a:bodyPr lIns="108000" rtlCol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r>
                <a:rPr lang="en-CA" sz="1100" kern="0" dirty="0">
                  <a:solidFill>
                    <a:srgbClr val="FFFFFF"/>
                  </a:solidFill>
                  <a:latin typeface="Lato" charset="0"/>
                  <a:ea typeface="Lato" charset="0"/>
                  <a:cs typeface="Lato" charset="0"/>
                </a:rPr>
                <a:t>STRENGTHS</a:t>
              </a:r>
            </a:p>
          </p:txBody>
        </p:sp>
      </p:grpSp>
      <p:grpSp>
        <p:nvGrpSpPr>
          <p:cNvPr id="25" name="Group 33"/>
          <p:cNvGrpSpPr/>
          <p:nvPr>
            <p:custDataLst>
              <p:tags r:id="rId3"/>
            </p:custDataLst>
          </p:nvPr>
        </p:nvGrpSpPr>
        <p:grpSpPr>
          <a:xfrm>
            <a:off x="4586689" y="4666868"/>
            <a:ext cx="4845685" cy="1185900"/>
            <a:chOff x="5543549" y="2724369"/>
            <a:chExt cx="3295651" cy="1064699"/>
          </a:xfrm>
        </p:grpSpPr>
        <p:sp>
          <p:nvSpPr>
            <p:cNvPr id="26" name="Rectangle 25"/>
            <p:cNvSpPr/>
            <p:nvPr/>
          </p:nvSpPr>
          <p:spPr>
            <a:xfrm>
              <a:off x="5543549" y="3018344"/>
              <a:ext cx="3295651" cy="770724"/>
            </a:xfrm>
            <a:prstGeom prst="rect">
              <a:avLst/>
            </a:prstGeom>
            <a:noFill/>
            <a:ln w="12700" cap="flat" cmpd="sng" algn="ctr">
              <a:noFill/>
              <a:prstDash val="solid"/>
            </a:ln>
            <a:effectLst/>
          </p:spPr>
          <p:txBody>
            <a:bodyPr rtlCol="0" anchor="t"/>
            <a:lstStyle/>
            <a:p>
              <a:pPr marL="855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Lato" charset="0"/>
                <a:ea typeface="Lato" charset="0"/>
                <a:cs typeface="Lato" charset="0"/>
              </a:endParaRPr>
            </a:p>
          </p:txBody>
        </p:sp>
        <p:sp>
          <p:nvSpPr>
            <p:cNvPr id="27" name="Round Same Side Corner Rectangle 26"/>
            <p:cNvSpPr/>
            <p:nvPr/>
          </p:nvSpPr>
          <p:spPr>
            <a:xfrm>
              <a:off x="5543549" y="2724369"/>
              <a:ext cx="3295651" cy="293690"/>
            </a:xfrm>
            <a:prstGeom prst="round2SameRect">
              <a:avLst>
                <a:gd name="adj1" fmla="val 0"/>
                <a:gd name="adj2" fmla="val 0"/>
              </a:avLst>
            </a:prstGeom>
            <a:solidFill>
              <a:schemeClr val="bg2">
                <a:lumMod val="75000"/>
              </a:schemeClr>
            </a:solidFill>
            <a:ln w="12700" cap="flat" cmpd="sng" algn="ctr">
              <a:noFill/>
              <a:prstDash val="solid"/>
            </a:ln>
            <a:effectLst>
              <a:outerShdw blurRad="25400" dist="25400" dir="2700000" algn="tl" rotWithShape="0">
                <a:prstClr val="black">
                  <a:alpha val="15000"/>
                </a:prstClr>
              </a:outerShdw>
            </a:effectLst>
          </p:spPr>
          <p:txBody>
            <a:bodyPr lIns="108000" rtlCol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r>
                <a:rPr lang="en-CA" sz="1100" kern="0" dirty="0">
                  <a:solidFill>
                    <a:srgbClr val="FFFFFF"/>
                  </a:solidFill>
                  <a:latin typeface="Lato" charset="0"/>
                  <a:ea typeface="Lato" charset="0"/>
                  <a:cs typeface="Lato" charset="0"/>
                </a:rPr>
                <a:t>CHALLENGES </a:t>
              </a:r>
            </a:p>
          </p:txBody>
        </p:sp>
      </p:grpSp>
      <p:sp>
        <p:nvSpPr>
          <p:cNvPr id="29" name="TextBox 28"/>
          <p:cNvSpPr txBox="1"/>
          <p:nvPr/>
        </p:nvSpPr>
        <p:spPr>
          <a:xfrm>
            <a:off x="4586689" y="3542686"/>
            <a:ext cx="4845685" cy="10618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marR="0" lvl="0" indent="-17145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050" b="0" dirty="0">
                <a:latin typeface="Lato" charset="0"/>
                <a:ea typeface="Lato" charset="0"/>
                <a:cs typeface="Lato" charset="0"/>
              </a:rPr>
              <a:t>Manage Multiple APIs: </a:t>
            </a:r>
            <a:r>
              <a:rPr lang="en-US" sz="1050" b="0" dirty="0" err="1">
                <a:latin typeface="Lato" charset="0"/>
                <a:ea typeface="Lato" charset="0"/>
                <a:cs typeface="Lato" charset="0"/>
              </a:rPr>
              <a:t>Tyk’s</a:t>
            </a:r>
            <a:r>
              <a:rPr lang="en-US" sz="1050" b="0" dirty="0">
                <a:latin typeface="Lato" charset="0"/>
                <a:ea typeface="Lato" charset="0"/>
                <a:cs typeface="Lato" charset="0"/>
              </a:rPr>
              <a:t> dashboard has one gateway to manage all your APIs with streamlined </a:t>
            </a:r>
            <a:r>
              <a:rPr lang="en-US" sz="1050" b="0" dirty="0" smtClean="0">
                <a:latin typeface="Lato" charset="0"/>
                <a:ea typeface="Lato" charset="0"/>
                <a:cs typeface="Lato" charset="0"/>
              </a:rPr>
              <a:t>integration</a:t>
            </a:r>
          </a:p>
          <a:p>
            <a:pPr marL="171450" marR="0" lvl="0" indent="-17145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050" b="0" dirty="0" err="1">
                <a:latin typeface="Lato" charset="0"/>
                <a:ea typeface="Lato" charset="0"/>
                <a:cs typeface="Lato" charset="0"/>
              </a:rPr>
              <a:t>Customisable</a:t>
            </a:r>
            <a:r>
              <a:rPr lang="en-US" sz="1050" b="0" dirty="0">
                <a:latin typeface="Lato" charset="0"/>
                <a:ea typeface="Lato" charset="0"/>
                <a:cs typeface="Lato" charset="0"/>
              </a:rPr>
              <a:t> API Portal: </a:t>
            </a:r>
            <a:r>
              <a:rPr lang="en-US" sz="1050" b="0" dirty="0" err="1">
                <a:latin typeface="Lato" charset="0"/>
                <a:ea typeface="Lato" charset="0"/>
                <a:cs typeface="Lato" charset="0"/>
              </a:rPr>
              <a:t>Tyk’s</a:t>
            </a:r>
            <a:r>
              <a:rPr lang="en-US" sz="1050" b="0" dirty="0">
                <a:latin typeface="Lato" charset="0"/>
                <a:ea typeface="Lato" charset="0"/>
                <a:cs typeface="Lato" charset="0"/>
              </a:rPr>
              <a:t> portal makes it easy to publish your APIs to the world and allow developers to enroll for </a:t>
            </a:r>
            <a:r>
              <a:rPr lang="en-US" sz="1050" b="0" dirty="0" smtClean="0">
                <a:latin typeface="Lato" charset="0"/>
                <a:ea typeface="Lato" charset="0"/>
                <a:cs typeface="Lato" charset="0"/>
              </a:rPr>
              <a:t>access.</a:t>
            </a:r>
          </a:p>
          <a:p>
            <a:pPr marL="171450" marR="0" lvl="0" indent="-17145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050" b="0" dirty="0">
                <a:latin typeface="Lato" charset="0"/>
                <a:ea typeface="Lato" charset="0"/>
                <a:cs typeface="Lato" charset="0"/>
              </a:rPr>
              <a:t>Cloud, Hybrid or On-Premise </a:t>
            </a:r>
            <a:r>
              <a:rPr lang="en-US" sz="1050" b="0" dirty="0" err="1">
                <a:latin typeface="Lato" charset="0"/>
                <a:ea typeface="Lato" charset="0"/>
                <a:cs typeface="Lato" charset="0"/>
              </a:rPr>
              <a:t>Integrations:Tyk</a:t>
            </a:r>
            <a:r>
              <a:rPr lang="en-US" sz="1050" b="0" dirty="0">
                <a:latin typeface="Lato" charset="0"/>
                <a:ea typeface="Lato" charset="0"/>
                <a:cs typeface="Lato" charset="0"/>
              </a:rPr>
              <a:t> offers fully supported infrastructure through the cloud for free</a:t>
            </a:r>
            <a:endParaRPr kumimoji="0" lang="en-CA" sz="1050" b="0" i="0" u="none" strike="noStrike" kern="0" cap="none" spc="0" normalizeH="0" baseline="0" noProof="0" dirty="0" smtClean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Lato" charset="0"/>
              <a:ea typeface="Lato" charset="0"/>
              <a:cs typeface="Lato" charset="0"/>
            </a:endParaRPr>
          </a:p>
        </p:txBody>
      </p:sp>
      <p:sp>
        <p:nvSpPr>
          <p:cNvPr id="30" name="TextBox 29"/>
          <p:cNvSpPr txBox="1"/>
          <p:nvPr/>
        </p:nvSpPr>
        <p:spPr>
          <a:xfrm>
            <a:off x="4586689" y="2716439"/>
            <a:ext cx="4893115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50" b="0" dirty="0" err="1">
                <a:latin typeface="Lato" charset="0"/>
                <a:ea typeface="Lato" charset="0"/>
                <a:cs typeface="Lato" charset="0"/>
              </a:rPr>
              <a:t>Tyk</a:t>
            </a:r>
            <a:r>
              <a:rPr lang="en-US" sz="1050" b="0" dirty="0">
                <a:latin typeface="Lato" charset="0"/>
                <a:ea typeface="Lato" charset="0"/>
                <a:cs typeface="Lato" charset="0"/>
              </a:rPr>
              <a:t> is an open source API management platform, featuring an API gateway, analytics, developer portal and dashboard, all with speed and scalability in mind.</a:t>
            </a:r>
            <a:r>
              <a:rPr kumimoji="0" lang="en-CA" sz="1050" b="0" i="0" u="none" strike="noStrike" kern="0" cap="none" spc="0" normalizeH="0" baseline="0" noProof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Lato" charset="0"/>
                <a:ea typeface="Lato" charset="0"/>
                <a:cs typeface="Lato" charset="0"/>
              </a:rPr>
              <a:t>. </a:t>
            </a:r>
          </a:p>
        </p:txBody>
      </p:sp>
      <p:graphicFrame>
        <p:nvGraphicFramePr>
          <p:cNvPr id="2" name="Table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50294793"/>
              </p:ext>
            </p:extLst>
          </p:nvPr>
        </p:nvGraphicFramePr>
        <p:xfrm>
          <a:off x="632340" y="3889084"/>
          <a:ext cx="3845042" cy="1375643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261058"/>
                <a:gridCol w="2583984"/>
              </a:tblGrid>
              <a:tr h="172662">
                <a:tc>
                  <a:txBody>
                    <a:bodyPr/>
                    <a:lstStyle/>
                    <a:p>
                      <a:pPr marL="0" algn="l" defTabSz="457200" rtl="0" eaLnBrk="1" fontAlgn="b" latinLnBrk="0" hangingPunct="1"/>
                      <a:r>
                        <a:rPr lang="en-US" sz="1050" b="1" kern="120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Lato" charset="0"/>
                          <a:cs typeface="Lato" charset="0"/>
                        </a:rPr>
                        <a:t>Products</a:t>
                      </a:r>
                    </a:p>
                  </a:txBody>
                  <a:tcPr marL="7620" marR="7620" marT="7620" marB="0" anchor="b"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1050" u="none" strike="noStrike" kern="1200" dirty="0"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Details</a:t>
                      </a:r>
                    </a:p>
                  </a:txBody>
                  <a:tcPr marL="7620" marR="7620" marT="7620" marB="0" anchor="b">
                    <a:solidFill>
                      <a:schemeClr val="accent1">
                        <a:lumMod val="75000"/>
                      </a:schemeClr>
                    </a:solidFill>
                  </a:tcPr>
                </a:tc>
              </a:tr>
              <a:tr h="172662">
                <a:tc>
                  <a:txBody>
                    <a:bodyPr/>
                    <a:lstStyle/>
                    <a:p>
                      <a:pPr marL="0" algn="l" defTabSz="457200" rtl="0" eaLnBrk="1" fontAlgn="b" latinLnBrk="0" hangingPunct="1"/>
                      <a:r>
                        <a:rPr lang="en-GB" sz="1050" kern="1200" dirty="0" smtClean="0"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API Management </a:t>
                      </a:r>
                      <a:endParaRPr lang="en-US" sz="1050" b="1" kern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Lato" charset="0"/>
                        <a:cs typeface="Lato" charset="0"/>
                      </a:endParaRPr>
                    </a:p>
                  </a:txBody>
                  <a:tcPr marL="7620" marR="7620" marT="7620" marB="0" anchor="ctr">
                    <a:solidFill>
                      <a:schemeClr val="accent1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1050" u="none" strike="noStrike" kern="1200" dirty="0"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Design, compose and publish APIs</a:t>
                      </a:r>
                    </a:p>
                  </a:txBody>
                  <a:tcPr marL="7620" marR="7620" marT="7620" marB="0" anchor="b"/>
                </a:tc>
              </a:tr>
              <a:tr h="517988">
                <a:tc>
                  <a:txBody>
                    <a:bodyPr/>
                    <a:lstStyle/>
                    <a:p>
                      <a:pPr marL="0" algn="l" defTabSz="457200" rtl="0" eaLnBrk="1" fontAlgn="b" latinLnBrk="0" hangingPunct="1"/>
                      <a:r>
                        <a:rPr lang="en-US" sz="1050" b="1" kern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Lato" charset="0"/>
                          <a:cs typeface="Lato" charset="0"/>
                        </a:rPr>
                        <a:t>API Portal</a:t>
                      </a:r>
                      <a:endParaRPr lang="en-US" sz="1050" b="1" kern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Lato" charset="0"/>
                        <a:cs typeface="Lato" charset="0"/>
                      </a:endParaRPr>
                    </a:p>
                  </a:txBody>
                  <a:tcPr marL="7620" marR="7620" marT="7620" marB="0" anchor="ctr">
                    <a:solidFill>
                      <a:schemeClr val="accent1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GB" sz="1050" kern="1200" dirty="0" smtClean="0"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API Lifecycle Management</a:t>
                      </a:r>
                      <a:endParaRPr lang="en-US" sz="1050" u="none" strike="noStrike" kern="1200" dirty="0">
                        <a:solidFill>
                          <a:schemeClr val="dk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b"/>
                </a:tc>
              </a:tr>
              <a:tr h="172662">
                <a:tc>
                  <a:txBody>
                    <a:bodyPr/>
                    <a:lstStyle/>
                    <a:p>
                      <a:pPr marL="0" algn="l" defTabSz="457200" rtl="0" eaLnBrk="1" fontAlgn="b" latinLnBrk="0" hangingPunct="1"/>
                      <a:r>
                        <a:rPr lang="en-US" sz="1050" b="1" kern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Lato" charset="0"/>
                          <a:cs typeface="Lato" charset="0"/>
                        </a:rPr>
                        <a:t>API Gateway</a:t>
                      </a:r>
                      <a:endParaRPr lang="en-US" sz="1050" b="1" kern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Lato" charset="0"/>
                        <a:cs typeface="Lato" charset="0"/>
                      </a:endParaRPr>
                    </a:p>
                  </a:txBody>
                  <a:tcPr marL="7620" marR="7620" marT="7620" marB="0" anchor="ctr">
                    <a:solidFill>
                      <a:schemeClr val="accent1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1050" u="none" strike="noStrike" kern="1200" dirty="0"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Identity management </a:t>
                      </a:r>
                    </a:p>
                  </a:txBody>
                  <a:tcPr marL="7620" marR="7620" marT="7620" marB="0" anchor="b"/>
                </a:tc>
              </a:tr>
              <a:tr h="154942">
                <a:tc>
                  <a:txBody>
                    <a:bodyPr/>
                    <a:lstStyle/>
                    <a:p>
                      <a:pPr marL="0" algn="l" defTabSz="457200" rtl="0" eaLnBrk="1" fontAlgn="b" latinLnBrk="0" hangingPunct="1"/>
                      <a:endParaRPr lang="en-US" sz="1050" b="1" kern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Lato" charset="0"/>
                        <a:cs typeface="Lato" charset="0"/>
                      </a:endParaRPr>
                    </a:p>
                  </a:txBody>
                  <a:tcPr marL="7620" marR="7620" marT="7620" marB="0" anchor="ctr">
                    <a:solidFill>
                      <a:schemeClr val="accent1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sz="1050" u="none" strike="noStrike" kern="1200" dirty="0">
                        <a:solidFill>
                          <a:schemeClr val="dk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b"/>
                </a:tc>
              </a:tr>
              <a:tr h="172029">
                <a:tc>
                  <a:txBody>
                    <a:bodyPr/>
                    <a:lstStyle/>
                    <a:p>
                      <a:pPr marL="0" algn="l" defTabSz="457200" rtl="0" eaLnBrk="1" fontAlgn="b" latinLnBrk="0" hangingPunct="1"/>
                      <a:endParaRPr lang="en-US" sz="1050" b="1" kern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Lato" charset="0"/>
                        <a:cs typeface="Lato" charset="0"/>
                      </a:endParaRPr>
                    </a:p>
                  </a:txBody>
                  <a:tcPr marL="7620" marR="7620" marT="7620" marB="0" anchor="ctr">
                    <a:solidFill>
                      <a:schemeClr val="accent1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sz="1050" u="none" strike="noStrike" kern="1200" dirty="0">
                        <a:solidFill>
                          <a:schemeClr val="dk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b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8866054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ervice Registration Patterns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970ACE7-7972-4389-A70A-097F415613C7}" type="slidenum">
              <a:rPr lang="en-US" smtClean="0"/>
              <a:pPr/>
              <a:t>16</a:t>
            </a:fld>
            <a:endParaRPr lang="en-US" dirty="0"/>
          </a:p>
        </p:txBody>
      </p:sp>
      <p:sp>
        <p:nvSpPr>
          <p:cNvPr id="5" name="TextBox 4"/>
          <p:cNvSpPr txBox="1"/>
          <p:nvPr/>
        </p:nvSpPr>
        <p:spPr>
          <a:xfrm>
            <a:off x="574276" y="1476142"/>
            <a:ext cx="874593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1200" dirty="0" smtClean="0">
                <a:latin typeface="Lato" charset="0"/>
                <a:ea typeface="Lato" charset="0"/>
                <a:cs typeface="Lato" charset="0"/>
              </a:rPr>
              <a:t>Self Registration - </a:t>
            </a:r>
            <a:r>
              <a:rPr lang="en-US" sz="1200" b="0" dirty="0">
                <a:solidFill>
                  <a:srgbClr val="333333"/>
                </a:solidFill>
                <a:latin typeface="Lato" charset="0"/>
                <a:ea typeface="Lato" charset="0"/>
                <a:cs typeface="Lato" charset="0"/>
              </a:rPr>
              <a:t>A service instance is responsible for registering itself with the service </a:t>
            </a:r>
            <a:r>
              <a:rPr lang="en-US" sz="1200" b="0" dirty="0" smtClean="0">
                <a:solidFill>
                  <a:srgbClr val="333333"/>
                </a:solidFill>
                <a:latin typeface="Lato" charset="0"/>
                <a:ea typeface="Lato" charset="0"/>
                <a:cs typeface="Lato" charset="0"/>
              </a:rPr>
              <a:t>registry.</a:t>
            </a:r>
            <a:endParaRPr lang="en-US" sz="1200" dirty="0">
              <a:latin typeface="Lato" charset="0"/>
              <a:ea typeface="Lato" charset="0"/>
              <a:cs typeface="Lato" charset="0"/>
            </a:endParaRPr>
          </a:p>
          <a:p>
            <a:pPr algn="l"/>
            <a:endParaRPr lang="en-US" sz="1200" dirty="0">
              <a:latin typeface="Lato" charset="0"/>
              <a:ea typeface="Lato" charset="0"/>
              <a:cs typeface="Lato" charset="0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574276" y="3787632"/>
            <a:ext cx="874593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1200" dirty="0" smtClean="0">
                <a:latin typeface="Lato" charset="0"/>
                <a:ea typeface="Lato" charset="0"/>
                <a:cs typeface="Lato" charset="0"/>
              </a:rPr>
              <a:t>Third Party Registration </a:t>
            </a:r>
            <a:r>
              <a:rPr lang="en-US" sz="1200" b="0" dirty="0" smtClean="0">
                <a:latin typeface="Lato" charset="0"/>
                <a:ea typeface="Lato" charset="0"/>
                <a:cs typeface="Lato" charset="0"/>
              </a:rPr>
              <a:t>- </a:t>
            </a:r>
            <a:r>
              <a:rPr lang="en-US" sz="1200" b="0" dirty="0">
                <a:latin typeface="Lato" charset="0"/>
                <a:ea typeface="Lato" charset="0"/>
                <a:cs typeface="Lato" charset="0"/>
              </a:rPr>
              <a:t>A 3rd party registrar is responsible for registering and unregistering a service instance with the service registry.</a:t>
            </a:r>
          </a:p>
        </p:txBody>
      </p:sp>
      <p:sp>
        <p:nvSpPr>
          <p:cNvPr id="8" name="Rounded Rectangle 7"/>
          <p:cNvSpPr/>
          <p:nvPr/>
        </p:nvSpPr>
        <p:spPr bwMode="auto">
          <a:xfrm>
            <a:off x="2222695" y="2138288"/>
            <a:ext cx="1786597" cy="464234"/>
          </a:xfrm>
          <a:prstGeom prst="roundRect">
            <a:avLst/>
          </a:prstGeom>
          <a:noFill/>
          <a:ln w="9525" cap="flat" cmpd="sng" algn="ctr">
            <a:solidFill>
              <a:schemeClr val="bg2">
                <a:lumMod val="75000"/>
              </a:schemeClr>
            </a:solidFill>
            <a:prstDash val="solid"/>
            <a:round/>
            <a:headEnd type="none" w="lg" len="lg"/>
            <a:tailEnd type="none" w="lg" len="lg"/>
          </a:ln>
          <a:effectLst/>
        </p:spPr>
        <p:txBody>
          <a:bodyPr vert="horz" wrap="none" lIns="91440" tIns="91440" rIns="91440" bIns="9144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1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Lato" charset="0"/>
                <a:ea typeface="Lato" charset="0"/>
                <a:cs typeface="Lato" charset="0"/>
              </a:rPr>
              <a:t>Service A</a:t>
            </a:r>
          </a:p>
        </p:txBody>
      </p:sp>
      <p:sp>
        <p:nvSpPr>
          <p:cNvPr id="9" name="Rounded Rectangle 8"/>
          <p:cNvSpPr/>
          <p:nvPr/>
        </p:nvSpPr>
        <p:spPr bwMode="auto">
          <a:xfrm>
            <a:off x="2222695" y="2969994"/>
            <a:ext cx="1786597" cy="464234"/>
          </a:xfrm>
          <a:prstGeom prst="roundRect">
            <a:avLst/>
          </a:prstGeom>
          <a:noFill/>
          <a:ln w="9525" cap="flat" cmpd="sng" algn="ctr">
            <a:solidFill>
              <a:schemeClr val="bg2">
                <a:lumMod val="75000"/>
              </a:schemeClr>
            </a:solidFill>
            <a:prstDash val="solid"/>
            <a:round/>
            <a:headEnd type="none" w="lg" len="lg"/>
            <a:tailEnd type="none" w="lg" len="lg"/>
          </a:ln>
          <a:effectLst/>
        </p:spPr>
        <p:txBody>
          <a:bodyPr vert="horz" wrap="none" lIns="91440" tIns="91440" rIns="91440" bIns="9144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1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Lato" charset="0"/>
                <a:ea typeface="Lato" charset="0"/>
                <a:cs typeface="Lato" charset="0"/>
              </a:rPr>
              <a:t>Service B</a:t>
            </a:r>
          </a:p>
        </p:txBody>
      </p:sp>
      <p:sp>
        <p:nvSpPr>
          <p:cNvPr id="10" name="Oval 9"/>
          <p:cNvSpPr/>
          <p:nvPr/>
        </p:nvSpPr>
        <p:spPr bwMode="auto">
          <a:xfrm>
            <a:off x="5458264" y="2236762"/>
            <a:ext cx="1125416" cy="1063823"/>
          </a:xfrm>
          <a:prstGeom prst="ellipse">
            <a:avLst/>
          </a:prstGeom>
          <a:noFill/>
          <a:ln w="9525" cap="flat" cmpd="sng" algn="ctr">
            <a:solidFill>
              <a:schemeClr val="bg2">
                <a:lumMod val="75000"/>
              </a:schemeClr>
            </a:solidFill>
            <a:prstDash val="solid"/>
            <a:round/>
            <a:headEnd type="none" w="lg" len="lg"/>
            <a:tailEnd type="none" w="lg" len="lg"/>
          </a:ln>
          <a:effectLst/>
        </p:spPr>
        <p:txBody>
          <a:bodyPr vert="horz" wrap="none" lIns="91440" tIns="91440" rIns="91440" bIns="9144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1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Lato" charset="0"/>
                <a:ea typeface="Lato" charset="0"/>
                <a:cs typeface="Lato" charset="0"/>
              </a:rPr>
              <a:t>Service </a:t>
            </a:r>
          </a:p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1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Lato" charset="0"/>
                <a:ea typeface="Lato" charset="0"/>
                <a:cs typeface="Lato" charset="0"/>
              </a:rPr>
              <a:t>Registry</a:t>
            </a:r>
          </a:p>
        </p:txBody>
      </p:sp>
      <p:cxnSp>
        <p:nvCxnSpPr>
          <p:cNvPr id="12" name="Straight Arrow Connector 11"/>
          <p:cNvCxnSpPr>
            <a:stCxn id="8" idx="3"/>
            <a:endCxn id="10" idx="2"/>
          </p:cNvCxnSpPr>
          <p:nvPr/>
        </p:nvCxnSpPr>
        <p:spPr bwMode="auto">
          <a:xfrm>
            <a:off x="4009292" y="2370405"/>
            <a:ext cx="1448972" cy="398269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bg2"/>
            </a:solidFill>
            <a:prstDash val="solid"/>
            <a:round/>
            <a:headEnd type="none" w="lg" len="lg"/>
            <a:tailEnd type="triangle"/>
          </a:ln>
          <a:effectLst/>
        </p:spPr>
      </p:cxnSp>
      <p:cxnSp>
        <p:nvCxnSpPr>
          <p:cNvPr id="14" name="Straight Arrow Connector 13"/>
          <p:cNvCxnSpPr>
            <a:stCxn id="9" idx="3"/>
            <a:endCxn id="10" idx="2"/>
          </p:cNvCxnSpPr>
          <p:nvPr/>
        </p:nvCxnSpPr>
        <p:spPr bwMode="auto">
          <a:xfrm flipV="1">
            <a:off x="4009292" y="2768674"/>
            <a:ext cx="1448972" cy="433437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bg2"/>
            </a:solidFill>
            <a:prstDash val="solid"/>
            <a:round/>
            <a:headEnd type="none" w="lg" len="lg"/>
            <a:tailEnd type="triangle"/>
          </a:ln>
          <a:effectLst/>
        </p:spPr>
      </p:cxnSp>
      <p:sp>
        <p:nvSpPr>
          <p:cNvPr id="15" name="TextBox 14"/>
          <p:cNvSpPr txBox="1"/>
          <p:nvPr/>
        </p:nvSpPr>
        <p:spPr>
          <a:xfrm>
            <a:off x="4178104" y="2005929"/>
            <a:ext cx="1111348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50" b="0" dirty="0" smtClean="0">
                <a:latin typeface="Lato" charset="0"/>
                <a:ea typeface="Lato" charset="0"/>
                <a:cs typeface="Lato" charset="0"/>
              </a:rPr>
              <a:t>When going up / down</a:t>
            </a:r>
            <a:endParaRPr lang="en-US" sz="1050" b="0" dirty="0">
              <a:latin typeface="Lato" charset="0"/>
              <a:ea typeface="Lato" charset="0"/>
              <a:cs typeface="Lato" charset="0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4262510" y="3089032"/>
            <a:ext cx="1111348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50" b="0" dirty="0" smtClean="0">
                <a:latin typeface="Lato" charset="0"/>
                <a:ea typeface="Lato" charset="0"/>
                <a:cs typeface="Lato" charset="0"/>
              </a:rPr>
              <a:t>When going up / down</a:t>
            </a:r>
            <a:endParaRPr lang="en-US" sz="1050" b="0" dirty="0">
              <a:latin typeface="Lato" charset="0"/>
              <a:ea typeface="Lato" charset="0"/>
              <a:cs typeface="Lato" charset="0"/>
            </a:endParaRPr>
          </a:p>
        </p:txBody>
      </p:sp>
      <p:sp>
        <p:nvSpPr>
          <p:cNvPr id="18" name="Rounded Rectangle 17"/>
          <p:cNvSpPr/>
          <p:nvPr/>
        </p:nvSpPr>
        <p:spPr bwMode="auto">
          <a:xfrm>
            <a:off x="1329396" y="4499710"/>
            <a:ext cx="1786597" cy="464234"/>
          </a:xfrm>
          <a:prstGeom prst="roundRect">
            <a:avLst/>
          </a:prstGeom>
          <a:noFill/>
          <a:ln w="9525" cap="flat" cmpd="sng" algn="ctr">
            <a:solidFill>
              <a:schemeClr val="bg2">
                <a:lumMod val="75000"/>
              </a:schemeClr>
            </a:solidFill>
            <a:prstDash val="solid"/>
            <a:round/>
            <a:headEnd type="none" w="lg" len="lg"/>
            <a:tailEnd type="none" w="lg" len="lg"/>
          </a:ln>
          <a:effectLst/>
        </p:spPr>
        <p:txBody>
          <a:bodyPr vert="horz" wrap="none" lIns="91440" tIns="91440" rIns="91440" bIns="9144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1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Lato" charset="0"/>
                <a:ea typeface="Lato" charset="0"/>
                <a:cs typeface="Lato" charset="0"/>
              </a:rPr>
              <a:t>Service A</a:t>
            </a:r>
          </a:p>
        </p:txBody>
      </p:sp>
      <p:sp>
        <p:nvSpPr>
          <p:cNvPr id="19" name="Rounded Rectangle 18"/>
          <p:cNvSpPr/>
          <p:nvPr/>
        </p:nvSpPr>
        <p:spPr bwMode="auto">
          <a:xfrm>
            <a:off x="1329396" y="5230044"/>
            <a:ext cx="1786597" cy="464234"/>
          </a:xfrm>
          <a:prstGeom prst="roundRect">
            <a:avLst/>
          </a:prstGeom>
          <a:noFill/>
          <a:ln w="9525" cap="flat" cmpd="sng" algn="ctr">
            <a:solidFill>
              <a:schemeClr val="bg2">
                <a:lumMod val="75000"/>
              </a:schemeClr>
            </a:solidFill>
            <a:prstDash val="solid"/>
            <a:round/>
            <a:headEnd type="none" w="lg" len="lg"/>
            <a:tailEnd type="none" w="lg" len="lg"/>
          </a:ln>
          <a:effectLst/>
        </p:spPr>
        <p:txBody>
          <a:bodyPr vert="horz" wrap="none" lIns="91440" tIns="91440" rIns="91440" bIns="9144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1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Lato" charset="0"/>
                <a:ea typeface="Lato" charset="0"/>
                <a:cs typeface="Lato" charset="0"/>
              </a:rPr>
              <a:t>Service B</a:t>
            </a:r>
          </a:p>
        </p:txBody>
      </p:sp>
      <p:sp>
        <p:nvSpPr>
          <p:cNvPr id="23" name="TextBox 22"/>
          <p:cNvSpPr txBox="1"/>
          <p:nvPr/>
        </p:nvSpPr>
        <p:spPr>
          <a:xfrm>
            <a:off x="3453618" y="4499853"/>
            <a:ext cx="1111348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b="0" smtClean="0">
                <a:latin typeface="Lato" charset="0"/>
                <a:ea typeface="Lato" charset="0"/>
                <a:cs typeface="Lato" charset="0"/>
              </a:rPr>
              <a:t>Start Service</a:t>
            </a:r>
            <a:endParaRPr lang="en-US" sz="900" b="0" dirty="0">
              <a:latin typeface="Lato" charset="0"/>
              <a:ea typeface="Lato" charset="0"/>
              <a:cs typeface="Lato" charset="0"/>
            </a:endParaRPr>
          </a:p>
        </p:txBody>
      </p:sp>
      <p:sp>
        <p:nvSpPr>
          <p:cNvPr id="26" name="Rounded Rectangle 25"/>
          <p:cNvSpPr/>
          <p:nvPr/>
        </p:nvSpPr>
        <p:spPr bwMode="auto">
          <a:xfrm>
            <a:off x="4564965" y="5230044"/>
            <a:ext cx="1786597" cy="464234"/>
          </a:xfrm>
          <a:prstGeom prst="roundRect">
            <a:avLst/>
          </a:prstGeom>
          <a:noFill/>
          <a:ln w="9525" cap="flat" cmpd="sng" algn="ctr">
            <a:solidFill>
              <a:schemeClr val="bg2">
                <a:lumMod val="75000"/>
              </a:schemeClr>
            </a:solidFill>
            <a:prstDash val="solid"/>
            <a:round/>
            <a:headEnd type="none" w="lg" len="lg"/>
            <a:tailEnd type="none" w="lg" len="lg"/>
          </a:ln>
          <a:effectLst/>
        </p:spPr>
        <p:txBody>
          <a:bodyPr vert="horz" wrap="none" lIns="91440" tIns="91440" rIns="91440" bIns="9144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1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Lato" charset="0"/>
                <a:ea typeface="Lato" charset="0"/>
                <a:cs typeface="Lato" charset="0"/>
              </a:rPr>
              <a:t>Service Manager</a:t>
            </a:r>
          </a:p>
        </p:txBody>
      </p:sp>
      <p:sp>
        <p:nvSpPr>
          <p:cNvPr id="27" name="Rounded Rectangle 26"/>
          <p:cNvSpPr/>
          <p:nvPr/>
        </p:nvSpPr>
        <p:spPr bwMode="auto">
          <a:xfrm>
            <a:off x="1329396" y="5960379"/>
            <a:ext cx="1786597" cy="464234"/>
          </a:xfrm>
          <a:prstGeom prst="roundRect">
            <a:avLst/>
          </a:prstGeom>
          <a:noFill/>
          <a:ln w="9525" cap="flat" cmpd="sng" algn="ctr">
            <a:solidFill>
              <a:schemeClr val="bg2">
                <a:lumMod val="75000"/>
              </a:schemeClr>
            </a:solidFill>
            <a:prstDash val="solid"/>
            <a:round/>
            <a:headEnd type="none" w="lg" len="lg"/>
            <a:tailEnd type="none" w="lg" len="lg"/>
          </a:ln>
          <a:effectLst/>
        </p:spPr>
        <p:txBody>
          <a:bodyPr vert="horz" wrap="none" lIns="91440" tIns="91440" rIns="91440" bIns="9144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1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Lato" charset="0"/>
                <a:ea typeface="Lato" charset="0"/>
                <a:cs typeface="Lato" charset="0"/>
              </a:rPr>
              <a:t>Service C</a:t>
            </a:r>
          </a:p>
        </p:txBody>
      </p:sp>
      <p:cxnSp>
        <p:nvCxnSpPr>
          <p:cNvPr id="29" name="Straight Arrow Connector 28"/>
          <p:cNvCxnSpPr>
            <a:stCxn id="26" idx="1"/>
            <a:endCxn id="18" idx="3"/>
          </p:cNvCxnSpPr>
          <p:nvPr/>
        </p:nvCxnSpPr>
        <p:spPr bwMode="auto">
          <a:xfrm rot="10800000">
            <a:off x="3115993" y="4731827"/>
            <a:ext cx="1448972" cy="730334"/>
          </a:xfrm>
          <a:prstGeom prst="bentConnector3">
            <a:avLst>
              <a:gd name="adj1" fmla="val 50000"/>
            </a:avLst>
          </a:prstGeom>
          <a:solidFill>
            <a:schemeClr val="accent1"/>
          </a:solidFill>
          <a:ln w="9525" cap="flat" cmpd="sng" algn="ctr">
            <a:solidFill>
              <a:schemeClr val="bg2"/>
            </a:solidFill>
            <a:prstDash val="solid"/>
            <a:round/>
            <a:headEnd type="none" w="lg" len="lg"/>
            <a:tailEnd type="triangle"/>
          </a:ln>
          <a:effectLst/>
        </p:spPr>
      </p:cxnSp>
      <p:cxnSp>
        <p:nvCxnSpPr>
          <p:cNvPr id="31" name="Straight Arrow Connector 28"/>
          <p:cNvCxnSpPr>
            <a:stCxn id="26" idx="1"/>
            <a:endCxn id="19" idx="3"/>
          </p:cNvCxnSpPr>
          <p:nvPr/>
        </p:nvCxnSpPr>
        <p:spPr bwMode="auto">
          <a:xfrm rot="10800000">
            <a:off x="3115993" y="5462161"/>
            <a:ext cx="1448972" cy="12700"/>
          </a:xfrm>
          <a:prstGeom prst="bentConnector3">
            <a:avLst>
              <a:gd name="adj1" fmla="val 50000"/>
            </a:avLst>
          </a:prstGeom>
          <a:solidFill>
            <a:schemeClr val="accent1"/>
          </a:solidFill>
          <a:ln w="9525" cap="flat" cmpd="sng" algn="ctr">
            <a:solidFill>
              <a:schemeClr val="bg2"/>
            </a:solidFill>
            <a:prstDash val="solid"/>
            <a:round/>
            <a:headEnd type="none" w="lg" len="lg"/>
            <a:tailEnd type="triangle"/>
          </a:ln>
          <a:effectLst/>
        </p:spPr>
      </p:cxnSp>
      <p:cxnSp>
        <p:nvCxnSpPr>
          <p:cNvPr id="34" name="Straight Arrow Connector 28"/>
          <p:cNvCxnSpPr>
            <a:stCxn id="26" idx="1"/>
            <a:endCxn id="27" idx="3"/>
          </p:cNvCxnSpPr>
          <p:nvPr/>
        </p:nvCxnSpPr>
        <p:spPr bwMode="auto">
          <a:xfrm rot="10800000" flipV="1">
            <a:off x="3115993" y="5462160"/>
            <a:ext cx="1448972" cy="730335"/>
          </a:xfrm>
          <a:prstGeom prst="bentConnector3">
            <a:avLst>
              <a:gd name="adj1" fmla="val 50000"/>
            </a:avLst>
          </a:prstGeom>
          <a:solidFill>
            <a:schemeClr val="accent1"/>
          </a:solidFill>
          <a:ln w="9525" cap="flat" cmpd="sng" algn="ctr">
            <a:solidFill>
              <a:schemeClr val="bg2"/>
            </a:solidFill>
            <a:prstDash val="solid"/>
            <a:round/>
            <a:headEnd type="none" w="lg" len="lg"/>
            <a:tailEnd type="triangle"/>
          </a:ln>
          <a:effectLst/>
        </p:spPr>
      </p:cxnSp>
      <p:sp>
        <p:nvSpPr>
          <p:cNvPr id="37" name="TextBox 36"/>
          <p:cNvSpPr txBox="1"/>
          <p:nvPr/>
        </p:nvSpPr>
        <p:spPr>
          <a:xfrm>
            <a:off x="3383277" y="5213252"/>
            <a:ext cx="1111348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b="0" dirty="0" smtClean="0">
                <a:latin typeface="Lato" charset="0"/>
                <a:ea typeface="Lato" charset="0"/>
                <a:cs typeface="Lato" charset="0"/>
              </a:rPr>
              <a:t>Stop Service</a:t>
            </a:r>
            <a:endParaRPr lang="en-US" sz="900" b="0" dirty="0">
              <a:latin typeface="Lato" charset="0"/>
              <a:ea typeface="Lato" charset="0"/>
              <a:cs typeface="Lato" charset="0"/>
            </a:endParaRPr>
          </a:p>
        </p:txBody>
      </p:sp>
      <p:sp>
        <p:nvSpPr>
          <p:cNvPr id="38" name="TextBox 37"/>
          <p:cNvSpPr txBox="1"/>
          <p:nvPr/>
        </p:nvSpPr>
        <p:spPr>
          <a:xfrm>
            <a:off x="3277768" y="6173644"/>
            <a:ext cx="209609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b="0" dirty="0" smtClean="0">
                <a:latin typeface="Lato" charset="0"/>
                <a:ea typeface="Lato" charset="0"/>
                <a:cs typeface="Lato" charset="0"/>
              </a:rPr>
              <a:t>Detects </a:t>
            </a:r>
            <a:r>
              <a:rPr lang="en-US" sz="900" b="0" smtClean="0">
                <a:latin typeface="Lato" charset="0"/>
                <a:ea typeface="Lato" charset="0"/>
                <a:cs typeface="Lato" charset="0"/>
              </a:rPr>
              <a:t>Service Crash</a:t>
            </a:r>
            <a:endParaRPr lang="en-US" sz="900" b="0" dirty="0">
              <a:latin typeface="Lato" charset="0"/>
              <a:ea typeface="Lato" charset="0"/>
              <a:cs typeface="Lato" charset="0"/>
            </a:endParaRPr>
          </a:p>
        </p:txBody>
      </p:sp>
      <p:sp>
        <p:nvSpPr>
          <p:cNvPr id="39" name="Oval 38"/>
          <p:cNvSpPr/>
          <p:nvPr/>
        </p:nvSpPr>
        <p:spPr bwMode="auto">
          <a:xfrm>
            <a:off x="7369126" y="4929757"/>
            <a:ext cx="1125416" cy="1063823"/>
          </a:xfrm>
          <a:prstGeom prst="ellipse">
            <a:avLst/>
          </a:prstGeom>
          <a:noFill/>
          <a:ln w="9525" cap="flat" cmpd="sng" algn="ctr">
            <a:solidFill>
              <a:schemeClr val="bg2">
                <a:lumMod val="75000"/>
              </a:schemeClr>
            </a:solidFill>
            <a:prstDash val="solid"/>
            <a:round/>
            <a:headEnd type="none" w="lg" len="lg"/>
            <a:tailEnd type="none" w="lg" len="lg"/>
          </a:ln>
          <a:effectLst/>
        </p:spPr>
        <p:txBody>
          <a:bodyPr vert="horz" wrap="none" lIns="91440" tIns="91440" rIns="91440" bIns="9144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1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Lato" charset="0"/>
                <a:ea typeface="Lato" charset="0"/>
                <a:cs typeface="Lato" charset="0"/>
              </a:rPr>
              <a:t>Service </a:t>
            </a:r>
          </a:p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1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Lato" charset="0"/>
                <a:ea typeface="Lato" charset="0"/>
                <a:cs typeface="Lato" charset="0"/>
              </a:rPr>
              <a:t>Registry</a:t>
            </a:r>
          </a:p>
        </p:txBody>
      </p:sp>
      <p:cxnSp>
        <p:nvCxnSpPr>
          <p:cNvPr id="41" name="Straight Arrow Connector 40"/>
          <p:cNvCxnSpPr>
            <a:stCxn id="26" idx="3"/>
            <a:endCxn id="39" idx="2"/>
          </p:cNvCxnSpPr>
          <p:nvPr/>
        </p:nvCxnSpPr>
        <p:spPr bwMode="auto">
          <a:xfrm flipV="1">
            <a:off x="6351562" y="5461669"/>
            <a:ext cx="1017564" cy="492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bg2"/>
            </a:solidFill>
            <a:prstDash val="solid"/>
            <a:round/>
            <a:headEnd type="none" w="lg" len="lg"/>
            <a:tailEnd type="triangle"/>
          </a:ln>
          <a:effectLst/>
        </p:spPr>
      </p:cxnSp>
    </p:spTree>
    <p:extLst>
      <p:ext uri="{BB962C8B-B14F-4D97-AF65-F5344CB8AC3E}">
        <p14:creationId xmlns:p14="http://schemas.microsoft.com/office/powerpoint/2010/main" val="5418707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ervice Discovery Patterns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970ACE7-7972-4389-A70A-097F415613C7}" type="slidenum">
              <a:rPr lang="en-US" smtClean="0"/>
              <a:pPr/>
              <a:t>17</a:t>
            </a:fld>
            <a:endParaRPr lang="en-US" dirty="0"/>
          </a:p>
        </p:txBody>
      </p:sp>
      <p:sp>
        <p:nvSpPr>
          <p:cNvPr id="5" name="TextBox 4"/>
          <p:cNvSpPr txBox="1"/>
          <p:nvPr/>
        </p:nvSpPr>
        <p:spPr>
          <a:xfrm>
            <a:off x="569481" y="1530897"/>
            <a:ext cx="8745938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1100" dirty="0" smtClean="0">
                <a:latin typeface="Lato" charset="0"/>
                <a:ea typeface="Lato" charset="0"/>
                <a:cs typeface="Lato" charset="0"/>
              </a:rPr>
              <a:t>Client-Side Discovery - </a:t>
            </a:r>
            <a:r>
              <a:rPr lang="en-US" sz="1100" b="0" dirty="0">
                <a:latin typeface="Lato" charset="0"/>
                <a:ea typeface="Lato" charset="0"/>
                <a:cs typeface="Lato" charset="0"/>
              </a:rPr>
              <a:t>C</a:t>
            </a:r>
            <a:r>
              <a:rPr lang="en-US" sz="1100" b="0" dirty="0" smtClean="0">
                <a:latin typeface="Lato" charset="0"/>
                <a:ea typeface="Lato" charset="0"/>
                <a:cs typeface="Lato" charset="0"/>
              </a:rPr>
              <a:t>lient </a:t>
            </a:r>
            <a:r>
              <a:rPr lang="en-US" sz="1100" b="0" dirty="0">
                <a:latin typeface="Lato" charset="0"/>
                <a:ea typeface="Lato" charset="0"/>
                <a:cs typeface="Lato" charset="0"/>
              </a:rPr>
              <a:t>is responsible for determining the network locations of available service instances and load balancing requests across them.</a:t>
            </a:r>
            <a:endParaRPr lang="en-US" sz="1100" dirty="0">
              <a:latin typeface="Lato" charset="0"/>
              <a:ea typeface="Lato" charset="0"/>
              <a:cs typeface="Lato" charset="0"/>
            </a:endParaRPr>
          </a:p>
          <a:p>
            <a:pPr algn="l"/>
            <a:endParaRPr lang="en-US" sz="1100" dirty="0">
              <a:latin typeface="Lato" charset="0"/>
              <a:ea typeface="Lato" charset="0"/>
              <a:cs typeface="Lato" charset="0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566111" y="3683117"/>
            <a:ext cx="8745938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1100" dirty="0" smtClean="0">
                <a:latin typeface="Lato" charset="0"/>
                <a:ea typeface="Lato" charset="0"/>
                <a:cs typeface="Lato" charset="0"/>
              </a:rPr>
              <a:t>Server-Side Discovery - </a:t>
            </a:r>
            <a:r>
              <a:rPr lang="en-US" sz="1100" b="0" dirty="0">
                <a:latin typeface="Lato" charset="0"/>
                <a:ea typeface="Lato" charset="0"/>
                <a:cs typeface="Lato" charset="0"/>
              </a:rPr>
              <a:t>The client makes a request to a service via a load balancer. The load balancer queries the service registry and routes each request to an available service instance</a:t>
            </a:r>
            <a:endParaRPr lang="en-US" sz="1100" dirty="0">
              <a:latin typeface="Lato" charset="0"/>
              <a:ea typeface="Lato" charset="0"/>
              <a:cs typeface="Lato" charset="0"/>
            </a:endParaRPr>
          </a:p>
        </p:txBody>
      </p:sp>
      <p:sp>
        <p:nvSpPr>
          <p:cNvPr id="68" name="TextBox 67"/>
          <p:cNvSpPr txBox="1"/>
          <p:nvPr/>
        </p:nvSpPr>
        <p:spPr>
          <a:xfrm>
            <a:off x="566111" y="1264757"/>
            <a:ext cx="6470040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b="0" dirty="0">
                <a:latin typeface="Lato" charset="0"/>
                <a:ea typeface="Lato" charset="0"/>
                <a:cs typeface="Lato" charset="0"/>
              </a:rPr>
              <a:t>To find the </a:t>
            </a:r>
            <a:r>
              <a:rPr lang="en-US" sz="1100" b="0">
                <a:latin typeface="Lato" charset="0"/>
                <a:ea typeface="Lato" charset="0"/>
                <a:cs typeface="Lato" charset="0"/>
              </a:rPr>
              <a:t>available </a:t>
            </a:r>
            <a:r>
              <a:rPr lang="en-US" sz="1100" b="0" smtClean="0">
                <a:latin typeface="Lato" charset="0"/>
                <a:ea typeface="Lato" charset="0"/>
                <a:cs typeface="Lato" charset="0"/>
              </a:rPr>
              <a:t>Microservices </a:t>
            </a:r>
            <a:r>
              <a:rPr lang="en-US" sz="1100" b="0" dirty="0">
                <a:latin typeface="Lato" charset="0"/>
                <a:ea typeface="Lato" charset="0"/>
                <a:cs typeface="Lato" charset="0"/>
              </a:rPr>
              <a:t>and their location, we need to have a service discovery mechanism</a:t>
            </a:r>
          </a:p>
        </p:txBody>
      </p:sp>
      <p:sp>
        <p:nvSpPr>
          <p:cNvPr id="69" name="Rectangle 68"/>
          <p:cNvSpPr/>
          <p:nvPr/>
        </p:nvSpPr>
        <p:spPr bwMode="auto">
          <a:xfrm>
            <a:off x="2200952" y="2076670"/>
            <a:ext cx="1927700" cy="267114"/>
          </a:xfrm>
          <a:prstGeom prst="rect">
            <a:avLst/>
          </a:prstGeom>
          <a:solidFill>
            <a:srgbClr val="EECCCC"/>
          </a:solidFill>
          <a:ln w="9525" cap="flat" cmpd="sng" algn="ctr">
            <a:solidFill>
              <a:srgbClr val="EECCCC"/>
            </a:solidFill>
            <a:prstDash val="solid"/>
            <a:round/>
            <a:headEnd type="none" w="lg" len="lg"/>
            <a:tailEnd type="none" w="lg" len="lg"/>
          </a:ln>
          <a:effectLst/>
        </p:spPr>
        <p:txBody>
          <a:bodyPr vert="horz" wrap="none" lIns="91440" tIns="91440" rIns="91440" bIns="91440" numCol="1" rtlCol="0" anchor="ctr" anchorCtr="0" compatLnSpc="1">
            <a:prstTxWarp prst="textNoShape">
              <a:avLst/>
            </a:prstTxWarp>
          </a:bodyPr>
          <a:lstStyle/>
          <a:p>
            <a:r>
              <a:rPr lang="en-US" sz="1050" b="0" smtClean="0">
                <a:latin typeface="Lato" charset="0"/>
                <a:ea typeface="Lato" charset="0"/>
                <a:cs typeface="Lato" charset="0"/>
              </a:rPr>
              <a:t>API Gateway or Client</a:t>
            </a:r>
            <a:endParaRPr kumimoji="0" lang="en-US" sz="105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Lato" charset="0"/>
              <a:ea typeface="Lato" charset="0"/>
              <a:cs typeface="Lato" charset="0"/>
            </a:endParaRPr>
          </a:p>
        </p:txBody>
      </p:sp>
      <p:sp>
        <p:nvSpPr>
          <p:cNvPr id="71" name="Rectangle 70"/>
          <p:cNvSpPr/>
          <p:nvPr/>
        </p:nvSpPr>
        <p:spPr bwMode="auto">
          <a:xfrm>
            <a:off x="2200952" y="3140325"/>
            <a:ext cx="1927700" cy="267114"/>
          </a:xfrm>
          <a:prstGeom prst="rect">
            <a:avLst/>
          </a:prstGeom>
          <a:solidFill>
            <a:srgbClr val="EECCCC"/>
          </a:solidFill>
          <a:ln w="9525" cap="flat" cmpd="sng" algn="ctr">
            <a:solidFill>
              <a:srgbClr val="EECCCC"/>
            </a:solidFill>
            <a:prstDash val="solid"/>
            <a:round/>
            <a:headEnd type="none" w="lg" len="lg"/>
            <a:tailEnd type="none" w="lg" len="lg"/>
          </a:ln>
          <a:effectLst/>
        </p:spPr>
        <p:txBody>
          <a:bodyPr vert="horz" wrap="none" lIns="91440" tIns="91440" rIns="91440" bIns="91440" numCol="1" rtlCol="0" anchor="ctr" anchorCtr="0" compatLnSpc="1">
            <a:prstTxWarp prst="textNoShape">
              <a:avLst/>
            </a:prstTxWarp>
          </a:bodyPr>
          <a:lstStyle/>
          <a:p>
            <a:r>
              <a:rPr lang="en-US" sz="1050" b="0" dirty="0" smtClean="0">
                <a:latin typeface="Lato" charset="0"/>
                <a:ea typeface="Lato" charset="0"/>
                <a:cs typeface="Lato" charset="0"/>
              </a:rPr>
              <a:t>Service Registry</a:t>
            </a:r>
            <a:endParaRPr kumimoji="0" lang="en-US" sz="105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Lato" charset="0"/>
              <a:ea typeface="Lato" charset="0"/>
              <a:cs typeface="Lato" charset="0"/>
            </a:endParaRPr>
          </a:p>
        </p:txBody>
      </p:sp>
      <p:sp>
        <p:nvSpPr>
          <p:cNvPr id="72" name="Right Arrow 71"/>
          <p:cNvSpPr/>
          <p:nvPr/>
        </p:nvSpPr>
        <p:spPr bwMode="auto">
          <a:xfrm rot="5400000">
            <a:off x="2414508" y="2691210"/>
            <a:ext cx="726494" cy="152556"/>
          </a:xfrm>
          <a:prstGeom prst="rightArrow">
            <a:avLst/>
          </a:prstGeom>
          <a:noFill/>
          <a:ln w="4445" cap="flat" cmpd="sng" algn="ctr">
            <a:solidFill>
              <a:schemeClr val="bg2"/>
            </a:solidFill>
            <a:prstDash val="solid"/>
            <a:round/>
            <a:headEnd type="none" w="lg" len="lg"/>
            <a:tailEnd type="none" w="lg" len="lg"/>
          </a:ln>
          <a:effectLst/>
        </p:spPr>
        <p:txBody>
          <a:bodyPr vert="horz" wrap="none" lIns="91440" tIns="91440" rIns="91440" bIns="9144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6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Lato" charset="0"/>
              <a:ea typeface="Lato" charset="0"/>
              <a:cs typeface="Lato" charset="0"/>
            </a:endParaRPr>
          </a:p>
        </p:txBody>
      </p:sp>
      <p:sp>
        <p:nvSpPr>
          <p:cNvPr id="73" name="Right Arrow 72"/>
          <p:cNvSpPr/>
          <p:nvPr/>
        </p:nvSpPr>
        <p:spPr bwMode="auto">
          <a:xfrm rot="16200000">
            <a:off x="3111853" y="2672738"/>
            <a:ext cx="726494" cy="152556"/>
          </a:xfrm>
          <a:prstGeom prst="rightArrow">
            <a:avLst/>
          </a:prstGeom>
          <a:noFill/>
          <a:ln w="4445" cap="flat" cmpd="sng" algn="ctr">
            <a:solidFill>
              <a:schemeClr val="bg2"/>
            </a:solidFill>
            <a:prstDash val="solid"/>
            <a:round/>
            <a:headEnd type="none" w="lg" len="lg"/>
            <a:tailEnd type="none" w="lg" len="lg"/>
          </a:ln>
          <a:effectLst/>
        </p:spPr>
        <p:txBody>
          <a:bodyPr vert="horz" wrap="none" lIns="91440" tIns="91440" rIns="91440" bIns="9144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6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Lato" charset="0"/>
              <a:ea typeface="Lato" charset="0"/>
              <a:cs typeface="Lato" charset="0"/>
            </a:endParaRPr>
          </a:p>
        </p:txBody>
      </p:sp>
      <p:sp>
        <p:nvSpPr>
          <p:cNvPr id="74" name="TextBox 73"/>
          <p:cNvSpPr txBox="1"/>
          <p:nvPr/>
        </p:nvSpPr>
        <p:spPr>
          <a:xfrm>
            <a:off x="2138071" y="2532689"/>
            <a:ext cx="60946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800" b="0" dirty="0" smtClean="0">
                <a:latin typeface="Lato" charset="0"/>
                <a:ea typeface="Lato" charset="0"/>
                <a:cs typeface="Lato" charset="0"/>
              </a:rPr>
              <a:t>Discover </a:t>
            </a:r>
          </a:p>
          <a:p>
            <a:r>
              <a:rPr lang="en-US" sz="800" b="0" dirty="0" smtClean="0">
                <a:latin typeface="Lato" charset="0"/>
                <a:ea typeface="Lato" charset="0"/>
                <a:cs typeface="Lato" charset="0"/>
              </a:rPr>
              <a:t>Service</a:t>
            </a:r>
            <a:endParaRPr lang="en-US" sz="800" b="0" dirty="0">
              <a:latin typeface="Lato" charset="0"/>
              <a:ea typeface="Lato" charset="0"/>
              <a:cs typeface="Lato" charset="0"/>
            </a:endParaRPr>
          </a:p>
        </p:txBody>
      </p:sp>
      <p:sp>
        <p:nvSpPr>
          <p:cNvPr id="75" name="TextBox 74"/>
          <p:cNvSpPr txBox="1"/>
          <p:nvPr/>
        </p:nvSpPr>
        <p:spPr>
          <a:xfrm>
            <a:off x="3583513" y="2535466"/>
            <a:ext cx="572593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800" b="0" dirty="0" smtClean="0">
                <a:latin typeface="Lato" charset="0"/>
                <a:ea typeface="Lato" charset="0"/>
                <a:cs typeface="Lato" charset="0"/>
              </a:rPr>
              <a:t>Service </a:t>
            </a:r>
          </a:p>
          <a:p>
            <a:r>
              <a:rPr lang="en-US" sz="800" b="0" dirty="0" smtClean="0">
                <a:latin typeface="Lato" charset="0"/>
                <a:ea typeface="Lato" charset="0"/>
                <a:cs typeface="Lato" charset="0"/>
              </a:rPr>
              <a:t>Location</a:t>
            </a:r>
            <a:endParaRPr lang="en-US" sz="800" b="0" dirty="0">
              <a:latin typeface="Lato" charset="0"/>
              <a:ea typeface="Lato" charset="0"/>
              <a:cs typeface="Lato" charset="0"/>
            </a:endParaRPr>
          </a:p>
        </p:txBody>
      </p:sp>
      <p:sp>
        <p:nvSpPr>
          <p:cNvPr id="76" name="Right Arrow 75"/>
          <p:cNvSpPr/>
          <p:nvPr/>
        </p:nvSpPr>
        <p:spPr bwMode="auto">
          <a:xfrm>
            <a:off x="4229179" y="2122144"/>
            <a:ext cx="726494" cy="152556"/>
          </a:xfrm>
          <a:prstGeom prst="rightArrow">
            <a:avLst/>
          </a:prstGeom>
          <a:noFill/>
          <a:ln w="4445" cap="flat" cmpd="sng" algn="ctr">
            <a:solidFill>
              <a:schemeClr val="bg2"/>
            </a:solidFill>
            <a:prstDash val="solid"/>
            <a:round/>
            <a:headEnd type="none" w="lg" len="lg"/>
            <a:tailEnd type="none" w="lg" len="lg"/>
          </a:ln>
          <a:effectLst/>
        </p:spPr>
        <p:txBody>
          <a:bodyPr vert="horz" wrap="none" lIns="91440" tIns="91440" rIns="91440" bIns="9144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6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Lato" charset="0"/>
              <a:ea typeface="Lato" charset="0"/>
              <a:cs typeface="Lato" charset="0"/>
            </a:endParaRPr>
          </a:p>
        </p:txBody>
      </p:sp>
      <p:sp>
        <p:nvSpPr>
          <p:cNvPr id="77" name="TextBox 76"/>
          <p:cNvSpPr txBox="1"/>
          <p:nvPr/>
        </p:nvSpPr>
        <p:spPr>
          <a:xfrm>
            <a:off x="4367044" y="1968948"/>
            <a:ext cx="450764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800" b="0" dirty="0" smtClean="0">
                <a:latin typeface="Lato" charset="0"/>
                <a:ea typeface="Lato" charset="0"/>
                <a:cs typeface="Lato" charset="0"/>
              </a:rPr>
              <a:t>Client</a:t>
            </a:r>
            <a:endParaRPr lang="en-US" sz="800" b="0" dirty="0">
              <a:latin typeface="Lato" charset="0"/>
              <a:ea typeface="Lato" charset="0"/>
              <a:cs typeface="Lato" charset="0"/>
            </a:endParaRPr>
          </a:p>
        </p:txBody>
      </p:sp>
      <p:sp>
        <p:nvSpPr>
          <p:cNvPr id="78" name="Rectangle 77"/>
          <p:cNvSpPr/>
          <p:nvPr/>
        </p:nvSpPr>
        <p:spPr bwMode="auto">
          <a:xfrm>
            <a:off x="5833601" y="2122144"/>
            <a:ext cx="1509668" cy="226663"/>
          </a:xfrm>
          <a:prstGeom prst="rect">
            <a:avLst/>
          </a:prstGeom>
          <a:solidFill>
            <a:srgbClr val="EECCCC"/>
          </a:solidFill>
          <a:ln w="9525" cap="flat" cmpd="sng" algn="ctr">
            <a:solidFill>
              <a:schemeClr val="bg2">
                <a:lumMod val="40000"/>
                <a:lumOff val="60000"/>
              </a:schemeClr>
            </a:solidFill>
            <a:prstDash val="solid"/>
            <a:round/>
            <a:headEnd type="none" w="lg" len="lg"/>
            <a:tailEnd type="none" w="lg" len="lg"/>
          </a:ln>
          <a:effectLst/>
        </p:spPr>
        <p:txBody>
          <a:bodyPr vert="horz" wrap="none" lIns="91440" tIns="91440" rIns="91440" bIns="91440" numCol="1" rtlCol="0" anchor="ctr" anchorCtr="0" compatLnSpc="1">
            <a:prstTxWarp prst="textNoShape">
              <a:avLst/>
            </a:prstTxWarp>
          </a:bodyPr>
          <a:lstStyle/>
          <a:p>
            <a:r>
              <a:rPr lang="en-US" sz="1050" b="0" dirty="0" smtClean="0">
                <a:latin typeface="Lato" charset="0"/>
                <a:ea typeface="Lato" charset="0"/>
                <a:cs typeface="Lato" charset="0"/>
              </a:rPr>
              <a:t>Microservice A</a:t>
            </a:r>
            <a:endParaRPr kumimoji="0" lang="en-US" sz="105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Lato" charset="0"/>
              <a:ea typeface="Lato" charset="0"/>
              <a:cs typeface="Lato" charset="0"/>
            </a:endParaRPr>
          </a:p>
        </p:txBody>
      </p:sp>
      <p:sp>
        <p:nvSpPr>
          <p:cNvPr id="79" name="Rectangle 78"/>
          <p:cNvSpPr/>
          <p:nvPr/>
        </p:nvSpPr>
        <p:spPr bwMode="auto">
          <a:xfrm>
            <a:off x="5822273" y="2464370"/>
            <a:ext cx="1509668" cy="199650"/>
          </a:xfrm>
          <a:prstGeom prst="rect">
            <a:avLst/>
          </a:prstGeom>
          <a:solidFill>
            <a:srgbClr val="EECCCC"/>
          </a:solidFill>
          <a:ln w="9525" cap="flat" cmpd="sng" algn="ctr">
            <a:solidFill>
              <a:schemeClr val="bg2">
                <a:lumMod val="40000"/>
                <a:lumOff val="60000"/>
              </a:schemeClr>
            </a:solidFill>
            <a:prstDash val="solid"/>
            <a:round/>
            <a:headEnd type="none" w="lg" len="lg"/>
            <a:tailEnd type="none" w="lg" len="lg"/>
          </a:ln>
          <a:effectLst/>
        </p:spPr>
        <p:txBody>
          <a:bodyPr vert="horz" wrap="none" lIns="91440" tIns="91440" rIns="91440" bIns="91440" numCol="1" rtlCol="0" anchor="ctr" anchorCtr="0" compatLnSpc="1">
            <a:prstTxWarp prst="textNoShape">
              <a:avLst/>
            </a:prstTxWarp>
          </a:bodyPr>
          <a:lstStyle/>
          <a:p>
            <a:r>
              <a:rPr lang="en-US" sz="1050" b="0" dirty="0" smtClean="0">
                <a:latin typeface="Lato" charset="0"/>
                <a:ea typeface="Lato" charset="0"/>
                <a:cs typeface="Lato" charset="0"/>
              </a:rPr>
              <a:t>Microservice B</a:t>
            </a:r>
            <a:endParaRPr kumimoji="0" lang="en-US" sz="105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Lato" charset="0"/>
              <a:ea typeface="Lato" charset="0"/>
              <a:cs typeface="Lato" charset="0"/>
            </a:endParaRPr>
          </a:p>
        </p:txBody>
      </p:sp>
      <p:sp>
        <p:nvSpPr>
          <p:cNvPr id="80" name="Rectangle 79"/>
          <p:cNvSpPr/>
          <p:nvPr/>
        </p:nvSpPr>
        <p:spPr bwMode="auto">
          <a:xfrm>
            <a:off x="5841034" y="2779583"/>
            <a:ext cx="1509668" cy="220848"/>
          </a:xfrm>
          <a:prstGeom prst="rect">
            <a:avLst/>
          </a:prstGeom>
          <a:solidFill>
            <a:srgbClr val="EECCCC"/>
          </a:solidFill>
          <a:ln w="9525" cap="flat" cmpd="sng" algn="ctr">
            <a:solidFill>
              <a:schemeClr val="bg2">
                <a:lumMod val="40000"/>
                <a:lumOff val="60000"/>
              </a:schemeClr>
            </a:solidFill>
            <a:prstDash val="solid"/>
            <a:round/>
            <a:headEnd type="none" w="lg" len="lg"/>
            <a:tailEnd type="none" w="lg" len="lg"/>
          </a:ln>
          <a:effectLst/>
        </p:spPr>
        <p:txBody>
          <a:bodyPr vert="horz" wrap="none" lIns="91440" tIns="91440" rIns="91440" bIns="91440" numCol="1" rtlCol="0" anchor="ctr" anchorCtr="0" compatLnSpc="1">
            <a:prstTxWarp prst="textNoShape">
              <a:avLst/>
            </a:prstTxWarp>
          </a:bodyPr>
          <a:lstStyle/>
          <a:p>
            <a:r>
              <a:rPr lang="en-US" sz="1050" b="0" dirty="0" smtClean="0">
                <a:latin typeface="Lato" charset="0"/>
                <a:ea typeface="Lato" charset="0"/>
                <a:cs typeface="Lato" charset="0"/>
              </a:rPr>
              <a:t>Microservice C</a:t>
            </a:r>
            <a:endParaRPr kumimoji="0" lang="en-US" sz="105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Lato" charset="0"/>
              <a:ea typeface="Lato" charset="0"/>
              <a:cs typeface="Lato" charset="0"/>
            </a:endParaRPr>
          </a:p>
        </p:txBody>
      </p:sp>
      <p:sp>
        <p:nvSpPr>
          <p:cNvPr id="81" name="Rectangle 80"/>
          <p:cNvSpPr/>
          <p:nvPr/>
        </p:nvSpPr>
        <p:spPr bwMode="auto">
          <a:xfrm>
            <a:off x="5833601" y="3115994"/>
            <a:ext cx="1509668" cy="218533"/>
          </a:xfrm>
          <a:prstGeom prst="rect">
            <a:avLst/>
          </a:prstGeom>
          <a:solidFill>
            <a:srgbClr val="EECCCC"/>
          </a:solidFill>
          <a:ln w="9525" cap="flat" cmpd="sng" algn="ctr">
            <a:solidFill>
              <a:schemeClr val="bg2">
                <a:lumMod val="40000"/>
                <a:lumOff val="60000"/>
              </a:schemeClr>
            </a:solidFill>
            <a:prstDash val="solid"/>
            <a:round/>
            <a:headEnd type="none" w="lg" len="lg"/>
            <a:tailEnd type="none" w="lg" len="lg"/>
          </a:ln>
          <a:effectLst/>
        </p:spPr>
        <p:txBody>
          <a:bodyPr vert="horz" wrap="none" lIns="91440" tIns="91440" rIns="91440" bIns="91440" numCol="1" rtlCol="0" anchor="ctr" anchorCtr="0" compatLnSpc="1">
            <a:prstTxWarp prst="textNoShape">
              <a:avLst/>
            </a:prstTxWarp>
          </a:bodyPr>
          <a:lstStyle/>
          <a:p>
            <a:r>
              <a:rPr lang="en-US" sz="1050" b="0" dirty="0" smtClean="0">
                <a:latin typeface="Lato" charset="0"/>
                <a:ea typeface="Lato" charset="0"/>
                <a:cs typeface="Lato" charset="0"/>
              </a:rPr>
              <a:t>Microservice D</a:t>
            </a:r>
            <a:endParaRPr kumimoji="0" lang="en-US" sz="105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Lato" charset="0"/>
              <a:ea typeface="Lato" charset="0"/>
              <a:cs typeface="Lato" charset="0"/>
            </a:endParaRPr>
          </a:p>
        </p:txBody>
      </p:sp>
      <p:sp>
        <p:nvSpPr>
          <p:cNvPr id="82" name="Arc 81"/>
          <p:cNvSpPr/>
          <p:nvPr/>
        </p:nvSpPr>
        <p:spPr bwMode="auto">
          <a:xfrm rot="9245792" flipV="1">
            <a:off x="4000863" y="2223468"/>
            <a:ext cx="3696438" cy="269684"/>
          </a:xfrm>
          <a:prstGeom prst="arc">
            <a:avLst/>
          </a:prstGeom>
          <a:noFill/>
          <a:ln w="9525" cap="flat" cmpd="sng" algn="ctr">
            <a:solidFill>
              <a:schemeClr val="bg2"/>
            </a:solidFill>
            <a:prstDash val="solid"/>
            <a:round/>
            <a:headEnd type="none" w="lg" len="lg"/>
            <a:tailEnd type="none" w="lg" len="lg"/>
          </a:ln>
          <a:effectLst/>
        </p:spPr>
        <p:txBody>
          <a:bodyPr vert="horz" wrap="none" lIns="91440" tIns="91440" rIns="91440" bIns="9144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cs typeface="Arial" charset="0"/>
            </a:endParaRPr>
          </a:p>
        </p:txBody>
      </p:sp>
      <p:sp>
        <p:nvSpPr>
          <p:cNvPr id="83" name="Arc 82"/>
          <p:cNvSpPr/>
          <p:nvPr/>
        </p:nvSpPr>
        <p:spPr bwMode="auto">
          <a:xfrm rot="9426500" flipV="1">
            <a:off x="3123174" y="2464025"/>
            <a:ext cx="5755371" cy="702296"/>
          </a:xfrm>
          <a:prstGeom prst="arc">
            <a:avLst>
              <a:gd name="adj1" fmla="val 17800781"/>
              <a:gd name="adj2" fmla="val 21055022"/>
            </a:avLst>
          </a:prstGeom>
          <a:noFill/>
          <a:ln w="9525" cap="flat" cmpd="sng" algn="ctr">
            <a:solidFill>
              <a:schemeClr val="bg2"/>
            </a:solidFill>
            <a:prstDash val="solid"/>
            <a:round/>
            <a:headEnd type="none" w="lg" len="lg"/>
            <a:tailEnd type="none" w="lg" len="lg"/>
          </a:ln>
          <a:effectLst/>
        </p:spPr>
        <p:txBody>
          <a:bodyPr vert="horz" wrap="none" lIns="91440" tIns="91440" rIns="91440" bIns="9144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cs typeface="Arial" charset="0"/>
            </a:endParaRPr>
          </a:p>
        </p:txBody>
      </p:sp>
      <p:sp>
        <p:nvSpPr>
          <p:cNvPr id="84" name="Arc 83"/>
          <p:cNvSpPr/>
          <p:nvPr/>
        </p:nvSpPr>
        <p:spPr bwMode="auto">
          <a:xfrm rot="20698985" flipV="1">
            <a:off x="1114182" y="2711043"/>
            <a:ext cx="6001910" cy="650441"/>
          </a:xfrm>
          <a:prstGeom prst="arc">
            <a:avLst>
              <a:gd name="adj1" fmla="val 17800781"/>
              <a:gd name="adj2" fmla="val 21055022"/>
            </a:avLst>
          </a:prstGeom>
          <a:noFill/>
          <a:ln w="9525" cap="flat" cmpd="sng" algn="ctr">
            <a:solidFill>
              <a:schemeClr val="bg2"/>
            </a:solidFill>
            <a:prstDash val="solid"/>
            <a:round/>
            <a:headEnd type="none" w="lg" len="lg"/>
            <a:tailEnd type="none" w="lg" len="lg"/>
          </a:ln>
          <a:effectLst/>
        </p:spPr>
        <p:txBody>
          <a:bodyPr vert="horz" wrap="none" lIns="91440" tIns="91440" rIns="91440" bIns="9144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cs typeface="Arial" charset="0"/>
            </a:endParaRPr>
          </a:p>
        </p:txBody>
      </p:sp>
      <p:sp>
        <p:nvSpPr>
          <p:cNvPr id="85" name="Arc 84"/>
          <p:cNvSpPr/>
          <p:nvPr/>
        </p:nvSpPr>
        <p:spPr bwMode="auto">
          <a:xfrm flipV="1">
            <a:off x="1253614" y="2677718"/>
            <a:ext cx="5723045" cy="686194"/>
          </a:xfrm>
          <a:prstGeom prst="arc">
            <a:avLst>
              <a:gd name="adj1" fmla="val 17800781"/>
              <a:gd name="adj2" fmla="val 21055022"/>
            </a:avLst>
          </a:prstGeom>
          <a:noFill/>
          <a:ln w="9525" cap="flat" cmpd="sng" algn="ctr">
            <a:solidFill>
              <a:schemeClr val="bg2"/>
            </a:solidFill>
            <a:prstDash val="solid"/>
            <a:round/>
            <a:headEnd type="none" w="lg" len="lg"/>
            <a:tailEnd type="none" w="lg" len="lg"/>
          </a:ln>
          <a:effectLst/>
        </p:spPr>
        <p:txBody>
          <a:bodyPr vert="horz" wrap="none" lIns="91440" tIns="91440" rIns="91440" bIns="9144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cs typeface="Arial" charset="0"/>
            </a:endParaRPr>
          </a:p>
        </p:txBody>
      </p:sp>
      <p:sp>
        <p:nvSpPr>
          <p:cNvPr id="88" name="TextBox 87"/>
          <p:cNvSpPr txBox="1"/>
          <p:nvPr/>
        </p:nvSpPr>
        <p:spPr>
          <a:xfrm rot="19913103">
            <a:off x="4359785" y="2862299"/>
            <a:ext cx="511680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800" b="0" dirty="0" smtClean="0">
                <a:latin typeface="Lato" charset="0"/>
                <a:ea typeface="Lato" charset="0"/>
                <a:cs typeface="Lato" charset="0"/>
              </a:rPr>
              <a:t>Publish</a:t>
            </a:r>
            <a:endParaRPr lang="en-US" sz="800" b="0" dirty="0">
              <a:latin typeface="Lato" charset="0"/>
              <a:ea typeface="Lato" charset="0"/>
              <a:cs typeface="Lato" charset="0"/>
            </a:endParaRPr>
          </a:p>
        </p:txBody>
      </p:sp>
      <p:sp>
        <p:nvSpPr>
          <p:cNvPr id="93" name="Rounded Rectangle 92"/>
          <p:cNvSpPr/>
          <p:nvPr/>
        </p:nvSpPr>
        <p:spPr bwMode="auto">
          <a:xfrm>
            <a:off x="5732231" y="2013364"/>
            <a:ext cx="339966" cy="126344"/>
          </a:xfrm>
          <a:prstGeom prst="roundRect">
            <a:avLst/>
          </a:prstGeom>
          <a:noFill/>
          <a:ln w="9525" cap="flat" cmpd="sng" algn="ctr">
            <a:solidFill>
              <a:schemeClr val="bg2"/>
            </a:solidFill>
            <a:prstDash val="solid"/>
            <a:round/>
            <a:headEnd type="none" w="lg" len="lg"/>
            <a:tailEnd type="none" w="lg" len="lg"/>
          </a:ln>
          <a:effectLst/>
        </p:spPr>
        <p:txBody>
          <a:bodyPr vert="horz" wrap="none" lIns="91440" tIns="91440" rIns="91440" bIns="9144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5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Lato" charset="0"/>
                <a:ea typeface="Lato" charset="0"/>
                <a:cs typeface="Lato" charset="0"/>
              </a:rPr>
              <a:t>Rest API</a:t>
            </a:r>
          </a:p>
        </p:txBody>
      </p:sp>
      <p:sp>
        <p:nvSpPr>
          <p:cNvPr id="94" name="Rounded Rectangle 93"/>
          <p:cNvSpPr/>
          <p:nvPr/>
        </p:nvSpPr>
        <p:spPr bwMode="auto">
          <a:xfrm>
            <a:off x="5730312" y="2368577"/>
            <a:ext cx="339966" cy="126344"/>
          </a:xfrm>
          <a:prstGeom prst="roundRect">
            <a:avLst/>
          </a:prstGeom>
          <a:noFill/>
          <a:ln w="9525" cap="flat" cmpd="sng" algn="ctr">
            <a:solidFill>
              <a:schemeClr val="bg2"/>
            </a:solidFill>
            <a:prstDash val="solid"/>
            <a:round/>
            <a:headEnd type="none" w="lg" len="lg"/>
            <a:tailEnd type="none" w="lg" len="lg"/>
          </a:ln>
          <a:effectLst/>
        </p:spPr>
        <p:txBody>
          <a:bodyPr vert="horz" wrap="none" lIns="91440" tIns="91440" rIns="91440" bIns="9144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5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Lato" charset="0"/>
                <a:ea typeface="Lato" charset="0"/>
                <a:cs typeface="Lato" charset="0"/>
              </a:rPr>
              <a:t>Rest API</a:t>
            </a:r>
          </a:p>
        </p:txBody>
      </p:sp>
      <p:sp>
        <p:nvSpPr>
          <p:cNvPr id="95" name="Rounded Rectangle 94"/>
          <p:cNvSpPr/>
          <p:nvPr/>
        </p:nvSpPr>
        <p:spPr bwMode="auto">
          <a:xfrm>
            <a:off x="5730312" y="2678169"/>
            <a:ext cx="339966" cy="126344"/>
          </a:xfrm>
          <a:prstGeom prst="roundRect">
            <a:avLst/>
          </a:prstGeom>
          <a:noFill/>
          <a:ln w="9525" cap="flat" cmpd="sng" algn="ctr">
            <a:solidFill>
              <a:schemeClr val="bg2"/>
            </a:solidFill>
            <a:prstDash val="solid"/>
            <a:round/>
            <a:headEnd type="none" w="lg" len="lg"/>
            <a:tailEnd type="none" w="lg" len="lg"/>
          </a:ln>
          <a:effectLst/>
        </p:spPr>
        <p:txBody>
          <a:bodyPr vert="horz" wrap="none" lIns="91440" tIns="91440" rIns="91440" bIns="9144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5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Lato" charset="0"/>
                <a:ea typeface="Lato" charset="0"/>
                <a:cs typeface="Lato" charset="0"/>
              </a:rPr>
              <a:t>Rest API</a:t>
            </a:r>
          </a:p>
        </p:txBody>
      </p:sp>
      <p:sp>
        <p:nvSpPr>
          <p:cNvPr id="96" name="Rounded Rectangle 95"/>
          <p:cNvSpPr/>
          <p:nvPr/>
        </p:nvSpPr>
        <p:spPr bwMode="auto">
          <a:xfrm>
            <a:off x="5730312" y="3019116"/>
            <a:ext cx="339966" cy="126344"/>
          </a:xfrm>
          <a:prstGeom prst="roundRect">
            <a:avLst/>
          </a:prstGeom>
          <a:noFill/>
          <a:ln w="9525" cap="flat" cmpd="sng" algn="ctr">
            <a:solidFill>
              <a:schemeClr val="bg2"/>
            </a:solidFill>
            <a:prstDash val="solid"/>
            <a:round/>
            <a:headEnd type="none" w="lg" len="lg"/>
            <a:tailEnd type="none" w="lg" len="lg"/>
          </a:ln>
          <a:effectLst/>
        </p:spPr>
        <p:txBody>
          <a:bodyPr vert="horz" wrap="none" lIns="91440" tIns="91440" rIns="91440" bIns="9144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5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Lato" charset="0"/>
                <a:ea typeface="Lato" charset="0"/>
                <a:cs typeface="Lato" charset="0"/>
              </a:rPr>
              <a:t>Rest API</a:t>
            </a:r>
          </a:p>
        </p:txBody>
      </p:sp>
      <p:sp>
        <p:nvSpPr>
          <p:cNvPr id="97" name="Rectangle 96"/>
          <p:cNvSpPr/>
          <p:nvPr/>
        </p:nvSpPr>
        <p:spPr bwMode="auto">
          <a:xfrm>
            <a:off x="2574995" y="4721915"/>
            <a:ext cx="1927700" cy="267114"/>
          </a:xfrm>
          <a:prstGeom prst="rect">
            <a:avLst/>
          </a:prstGeom>
          <a:solidFill>
            <a:srgbClr val="EECCCC"/>
          </a:solidFill>
          <a:ln w="9525" cap="flat" cmpd="sng" algn="ctr">
            <a:solidFill>
              <a:srgbClr val="EECCCC"/>
            </a:solidFill>
            <a:prstDash val="solid"/>
            <a:round/>
            <a:headEnd type="none" w="lg" len="lg"/>
            <a:tailEnd type="none" w="lg" len="lg"/>
          </a:ln>
          <a:effectLst/>
        </p:spPr>
        <p:txBody>
          <a:bodyPr vert="horz" wrap="none" lIns="91440" tIns="91440" rIns="91440" bIns="91440" numCol="1" rtlCol="0" anchor="ctr" anchorCtr="0" compatLnSpc="1">
            <a:prstTxWarp prst="textNoShape">
              <a:avLst/>
            </a:prstTxWarp>
          </a:bodyPr>
          <a:lstStyle/>
          <a:p>
            <a:r>
              <a:rPr lang="en-US" sz="1050" b="0" dirty="0" smtClean="0">
                <a:latin typeface="Lato" charset="0"/>
                <a:ea typeface="Lato" charset="0"/>
                <a:cs typeface="Lato" charset="0"/>
              </a:rPr>
              <a:t>Load Balancer</a:t>
            </a:r>
            <a:endParaRPr kumimoji="0" lang="en-US" sz="105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Lato" charset="0"/>
              <a:ea typeface="Lato" charset="0"/>
              <a:cs typeface="Lato" charset="0"/>
            </a:endParaRPr>
          </a:p>
        </p:txBody>
      </p:sp>
      <p:sp>
        <p:nvSpPr>
          <p:cNvPr id="98" name="Rectangle 97"/>
          <p:cNvSpPr/>
          <p:nvPr/>
        </p:nvSpPr>
        <p:spPr bwMode="auto">
          <a:xfrm>
            <a:off x="2574995" y="5785570"/>
            <a:ext cx="1927700" cy="267114"/>
          </a:xfrm>
          <a:prstGeom prst="rect">
            <a:avLst/>
          </a:prstGeom>
          <a:solidFill>
            <a:srgbClr val="EECCCC"/>
          </a:solidFill>
          <a:ln w="9525" cap="flat" cmpd="sng" algn="ctr">
            <a:solidFill>
              <a:srgbClr val="EECCCC"/>
            </a:solidFill>
            <a:prstDash val="solid"/>
            <a:round/>
            <a:headEnd type="none" w="lg" len="lg"/>
            <a:tailEnd type="none" w="lg" len="lg"/>
          </a:ln>
          <a:effectLst/>
        </p:spPr>
        <p:txBody>
          <a:bodyPr vert="horz" wrap="none" lIns="91440" tIns="91440" rIns="91440" bIns="91440" numCol="1" rtlCol="0" anchor="ctr" anchorCtr="0" compatLnSpc="1">
            <a:prstTxWarp prst="textNoShape">
              <a:avLst/>
            </a:prstTxWarp>
          </a:bodyPr>
          <a:lstStyle/>
          <a:p>
            <a:r>
              <a:rPr lang="en-US" sz="1050" b="0" dirty="0" smtClean="0">
                <a:latin typeface="Lato" charset="0"/>
                <a:ea typeface="Lato" charset="0"/>
                <a:cs typeface="Lato" charset="0"/>
              </a:rPr>
              <a:t>Service Registry</a:t>
            </a:r>
            <a:endParaRPr kumimoji="0" lang="en-US" sz="105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Lato" charset="0"/>
              <a:ea typeface="Lato" charset="0"/>
              <a:cs typeface="Lato" charset="0"/>
            </a:endParaRPr>
          </a:p>
        </p:txBody>
      </p:sp>
      <p:sp>
        <p:nvSpPr>
          <p:cNvPr id="99" name="Right Arrow 98"/>
          <p:cNvSpPr/>
          <p:nvPr/>
        </p:nvSpPr>
        <p:spPr bwMode="auto">
          <a:xfrm rot="5400000">
            <a:off x="2788551" y="5336455"/>
            <a:ext cx="726494" cy="152556"/>
          </a:xfrm>
          <a:prstGeom prst="rightArrow">
            <a:avLst/>
          </a:prstGeom>
          <a:noFill/>
          <a:ln w="4445" cap="flat" cmpd="sng" algn="ctr">
            <a:solidFill>
              <a:schemeClr val="bg2"/>
            </a:solidFill>
            <a:prstDash val="solid"/>
            <a:round/>
            <a:headEnd type="none" w="lg" len="lg"/>
            <a:tailEnd type="none" w="lg" len="lg"/>
          </a:ln>
          <a:effectLst/>
        </p:spPr>
        <p:txBody>
          <a:bodyPr vert="horz" wrap="none" lIns="91440" tIns="91440" rIns="91440" bIns="9144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6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Lato" charset="0"/>
              <a:ea typeface="Lato" charset="0"/>
              <a:cs typeface="Lato" charset="0"/>
            </a:endParaRPr>
          </a:p>
        </p:txBody>
      </p:sp>
      <p:sp>
        <p:nvSpPr>
          <p:cNvPr id="100" name="Right Arrow 99"/>
          <p:cNvSpPr/>
          <p:nvPr/>
        </p:nvSpPr>
        <p:spPr bwMode="auto">
          <a:xfrm rot="16200000">
            <a:off x="3485896" y="5317983"/>
            <a:ext cx="726494" cy="152556"/>
          </a:xfrm>
          <a:prstGeom prst="rightArrow">
            <a:avLst/>
          </a:prstGeom>
          <a:noFill/>
          <a:ln w="4445" cap="flat" cmpd="sng" algn="ctr">
            <a:solidFill>
              <a:schemeClr val="bg2"/>
            </a:solidFill>
            <a:prstDash val="solid"/>
            <a:round/>
            <a:headEnd type="none" w="lg" len="lg"/>
            <a:tailEnd type="none" w="lg" len="lg"/>
          </a:ln>
          <a:effectLst/>
        </p:spPr>
        <p:txBody>
          <a:bodyPr vert="horz" wrap="none" lIns="91440" tIns="91440" rIns="91440" bIns="9144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6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Lato" charset="0"/>
              <a:ea typeface="Lato" charset="0"/>
              <a:cs typeface="Lato" charset="0"/>
            </a:endParaRPr>
          </a:p>
        </p:txBody>
      </p:sp>
      <p:sp>
        <p:nvSpPr>
          <p:cNvPr id="101" name="TextBox 100"/>
          <p:cNvSpPr txBox="1"/>
          <p:nvPr/>
        </p:nvSpPr>
        <p:spPr>
          <a:xfrm>
            <a:off x="2512114" y="5177934"/>
            <a:ext cx="60946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800" b="0" dirty="0" smtClean="0">
                <a:latin typeface="Lato" charset="0"/>
                <a:ea typeface="Lato" charset="0"/>
                <a:cs typeface="Lato" charset="0"/>
              </a:rPr>
              <a:t>Discover </a:t>
            </a:r>
          </a:p>
          <a:p>
            <a:r>
              <a:rPr lang="en-US" sz="800" b="0" dirty="0" smtClean="0">
                <a:latin typeface="Lato" charset="0"/>
                <a:ea typeface="Lato" charset="0"/>
                <a:cs typeface="Lato" charset="0"/>
              </a:rPr>
              <a:t>Service</a:t>
            </a:r>
            <a:endParaRPr lang="en-US" sz="800" b="0" dirty="0">
              <a:latin typeface="Lato" charset="0"/>
              <a:ea typeface="Lato" charset="0"/>
              <a:cs typeface="Lato" charset="0"/>
            </a:endParaRPr>
          </a:p>
        </p:txBody>
      </p:sp>
      <p:sp>
        <p:nvSpPr>
          <p:cNvPr id="102" name="TextBox 101"/>
          <p:cNvSpPr txBox="1"/>
          <p:nvPr/>
        </p:nvSpPr>
        <p:spPr>
          <a:xfrm>
            <a:off x="3957556" y="5180711"/>
            <a:ext cx="572593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800" b="0" dirty="0" smtClean="0">
                <a:latin typeface="Lato" charset="0"/>
                <a:ea typeface="Lato" charset="0"/>
                <a:cs typeface="Lato" charset="0"/>
              </a:rPr>
              <a:t>Service </a:t>
            </a:r>
          </a:p>
          <a:p>
            <a:r>
              <a:rPr lang="en-US" sz="800" b="0" dirty="0" smtClean="0">
                <a:latin typeface="Lato" charset="0"/>
                <a:ea typeface="Lato" charset="0"/>
                <a:cs typeface="Lato" charset="0"/>
              </a:rPr>
              <a:t>Location</a:t>
            </a:r>
            <a:endParaRPr lang="en-US" sz="800" b="0" dirty="0">
              <a:latin typeface="Lato" charset="0"/>
              <a:ea typeface="Lato" charset="0"/>
              <a:cs typeface="Lato" charset="0"/>
            </a:endParaRPr>
          </a:p>
        </p:txBody>
      </p:sp>
      <p:sp>
        <p:nvSpPr>
          <p:cNvPr id="103" name="Right Arrow 102"/>
          <p:cNvSpPr/>
          <p:nvPr/>
        </p:nvSpPr>
        <p:spPr bwMode="auto">
          <a:xfrm>
            <a:off x="4603222" y="4767389"/>
            <a:ext cx="726494" cy="152556"/>
          </a:xfrm>
          <a:prstGeom prst="rightArrow">
            <a:avLst/>
          </a:prstGeom>
          <a:noFill/>
          <a:ln w="4445" cap="flat" cmpd="sng" algn="ctr">
            <a:solidFill>
              <a:schemeClr val="bg2"/>
            </a:solidFill>
            <a:prstDash val="solid"/>
            <a:round/>
            <a:headEnd type="none" w="lg" len="lg"/>
            <a:tailEnd type="none" w="lg" len="lg"/>
          </a:ln>
          <a:effectLst/>
        </p:spPr>
        <p:txBody>
          <a:bodyPr vert="horz" wrap="none" lIns="91440" tIns="91440" rIns="91440" bIns="9144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6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Lato" charset="0"/>
              <a:ea typeface="Lato" charset="0"/>
              <a:cs typeface="Lato" charset="0"/>
            </a:endParaRPr>
          </a:p>
        </p:txBody>
      </p:sp>
      <p:sp>
        <p:nvSpPr>
          <p:cNvPr id="104" name="TextBox 103"/>
          <p:cNvSpPr txBox="1"/>
          <p:nvPr/>
        </p:nvSpPr>
        <p:spPr>
          <a:xfrm>
            <a:off x="4741087" y="4614193"/>
            <a:ext cx="450764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800" b="0" dirty="0" smtClean="0">
                <a:latin typeface="Lato" charset="0"/>
                <a:ea typeface="Lato" charset="0"/>
                <a:cs typeface="Lato" charset="0"/>
              </a:rPr>
              <a:t>Client</a:t>
            </a:r>
            <a:endParaRPr lang="en-US" sz="800" b="0" dirty="0">
              <a:latin typeface="Lato" charset="0"/>
              <a:ea typeface="Lato" charset="0"/>
              <a:cs typeface="Lato" charset="0"/>
            </a:endParaRPr>
          </a:p>
        </p:txBody>
      </p:sp>
      <p:sp>
        <p:nvSpPr>
          <p:cNvPr id="105" name="Rectangle 104"/>
          <p:cNvSpPr/>
          <p:nvPr/>
        </p:nvSpPr>
        <p:spPr bwMode="auto">
          <a:xfrm>
            <a:off x="6207644" y="4767389"/>
            <a:ext cx="1509668" cy="226663"/>
          </a:xfrm>
          <a:prstGeom prst="rect">
            <a:avLst/>
          </a:prstGeom>
          <a:solidFill>
            <a:srgbClr val="EECCCC"/>
          </a:solidFill>
          <a:ln w="9525" cap="flat" cmpd="sng" algn="ctr">
            <a:solidFill>
              <a:schemeClr val="bg2">
                <a:lumMod val="40000"/>
                <a:lumOff val="60000"/>
              </a:schemeClr>
            </a:solidFill>
            <a:prstDash val="solid"/>
            <a:round/>
            <a:headEnd type="none" w="lg" len="lg"/>
            <a:tailEnd type="none" w="lg" len="lg"/>
          </a:ln>
          <a:effectLst/>
        </p:spPr>
        <p:txBody>
          <a:bodyPr vert="horz" wrap="none" lIns="91440" tIns="91440" rIns="91440" bIns="91440" numCol="1" rtlCol="0" anchor="ctr" anchorCtr="0" compatLnSpc="1">
            <a:prstTxWarp prst="textNoShape">
              <a:avLst/>
            </a:prstTxWarp>
          </a:bodyPr>
          <a:lstStyle/>
          <a:p>
            <a:r>
              <a:rPr lang="en-US" sz="1050" b="0" dirty="0" smtClean="0">
                <a:latin typeface="Lato" charset="0"/>
                <a:ea typeface="Lato" charset="0"/>
                <a:cs typeface="Lato" charset="0"/>
              </a:rPr>
              <a:t>Microservice A</a:t>
            </a:r>
            <a:endParaRPr kumimoji="0" lang="en-US" sz="105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Lato" charset="0"/>
              <a:ea typeface="Lato" charset="0"/>
              <a:cs typeface="Lato" charset="0"/>
            </a:endParaRPr>
          </a:p>
        </p:txBody>
      </p:sp>
      <p:sp>
        <p:nvSpPr>
          <p:cNvPr id="106" name="Rectangle 105"/>
          <p:cNvSpPr/>
          <p:nvPr/>
        </p:nvSpPr>
        <p:spPr bwMode="auto">
          <a:xfrm>
            <a:off x="6196316" y="5109615"/>
            <a:ext cx="1509668" cy="199650"/>
          </a:xfrm>
          <a:prstGeom prst="rect">
            <a:avLst/>
          </a:prstGeom>
          <a:solidFill>
            <a:srgbClr val="EECCCC"/>
          </a:solidFill>
          <a:ln w="9525" cap="flat" cmpd="sng" algn="ctr">
            <a:solidFill>
              <a:schemeClr val="bg2">
                <a:lumMod val="40000"/>
                <a:lumOff val="60000"/>
              </a:schemeClr>
            </a:solidFill>
            <a:prstDash val="solid"/>
            <a:round/>
            <a:headEnd type="none" w="lg" len="lg"/>
            <a:tailEnd type="none" w="lg" len="lg"/>
          </a:ln>
          <a:effectLst/>
        </p:spPr>
        <p:txBody>
          <a:bodyPr vert="horz" wrap="none" lIns="91440" tIns="91440" rIns="91440" bIns="91440" numCol="1" rtlCol="0" anchor="ctr" anchorCtr="0" compatLnSpc="1">
            <a:prstTxWarp prst="textNoShape">
              <a:avLst/>
            </a:prstTxWarp>
          </a:bodyPr>
          <a:lstStyle/>
          <a:p>
            <a:r>
              <a:rPr lang="en-US" sz="1050" b="0" dirty="0" smtClean="0">
                <a:latin typeface="Lato" charset="0"/>
                <a:ea typeface="Lato" charset="0"/>
                <a:cs typeface="Lato" charset="0"/>
              </a:rPr>
              <a:t>Microservice B</a:t>
            </a:r>
            <a:endParaRPr kumimoji="0" lang="en-US" sz="105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Lato" charset="0"/>
              <a:ea typeface="Lato" charset="0"/>
              <a:cs typeface="Lato" charset="0"/>
            </a:endParaRPr>
          </a:p>
        </p:txBody>
      </p:sp>
      <p:sp>
        <p:nvSpPr>
          <p:cNvPr id="107" name="Rectangle 106"/>
          <p:cNvSpPr/>
          <p:nvPr/>
        </p:nvSpPr>
        <p:spPr bwMode="auto">
          <a:xfrm>
            <a:off x="6215077" y="5424828"/>
            <a:ext cx="1509668" cy="220848"/>
          </a:xfrm>
          <a:prstGeom prst="rect">
            <a:avLst/>
          </a:prstGeom>
          <a:solidFill>
            <a:srgbClr val="EECCCC"/>
          </a:solidFill>
          <a:ln w="9525" cap="flat" cmpd="sng" algn="ctr">
            <a:solidFill>
              <a:schemeClr val="bg2">
                <a:lumMod val="40000"/>
                <a:lumOff val="60000"/>
              </a:schemeClr>
            </a:solidFill>
            <a:prstDash val="solid"/>
            <a:round/>
            <a:headEnd type="none" w="lg" len="lg"/>
            <a:tailEnd type="none" w="lg" len="lg"/>
          </a:ln>
          <a:effectLst/>
        </p:spPr>
        <p:txBody>
          <a:bodyPr vert="horz" wrap="none" lIns="91440" tIns="91440" rIns="91440" bIns="91440" numCol="1" rtlCol="0" anchor="ctr" anchorCtr="0" compatLnSpc="1">
            <a:prstTxWarp prst="textNoShape">
              <a:avLst/>
            </a:prstTxWarp>
          </a:bodyPr>
          <a:lstStyle/>
          <a:p>
            <a:r>
              <a:rPr lang="en-US" sz="1050" b="0" dirty="0" smtClean="0">
                <a:latin typeface="Lato" charset="0"/>
                <a:ea typeface="Lato" charset="0"/>
                <a:cs typeface="Lato" charset="0"/>
              </a:rPr>
              <a:t>Microservice C</a:t>
            </a:r>
            <a:endParaRPr kumimoji="0" lang="en-US" sz="105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Lato" charset="0"/>
              <a:ea typeface="Lato" charset="0"/>
              <a:cs typeface="Lato" charset="0"/>
            </a:endParaRPr>
          </a:p>
        </p:txBody>
      </p:sp>
      <p:sp>
        <p:nvSpPr>
          <p:cNvPr id="108" name="Rectangle 107"/>
          <p:cNvSpPr/>
          <p:nvPr/>
        </p:nvSpPr>
        <p:spPr bwMode="auto">
          <a:xfrm>
            <a:off x="6207644" y="5761239"/>
            <a:ext cx="1509668" cy="218533"/>
          </a:xfrm>
          <a:prstGeom prst="rect">
            <a:avLst/>
          </a:prstGeom>
          <a:solidFill>
            <a:srgbClr val="EECCCC"/>
          </a:solidFill>
          <a:ln w="9525" cap="flat" cmpd="sng" algn="ctr">
            <a:solidFill>
              <a:schemeClr val="bg2">
                <a:lumMod val="40000"/>
                <a:lumOff val="60000"/>
              </a:schemeClr>
            </a:solidFill>
            <a:prstDash val="solid"/>
            <a:round/>
            <a:headEnd type="none" w="lg" len="lg"/>
            <a:tailEnd type="none" w="lg" len="lg"/>
          </a:ln>
          <a:effectLst/>
        </p:spPr>
        <p:txBody>
          <a:bodyPr vert="horz" wrap="none" lIns="91440" tIns="91440" rIns="91440" bIns="91440" numCol="1" rtlCol="0" anchor="ctr" anchorCtr="0" compatLnSpc="1">
            <a:prstTxWarp prst="textNoShape">
              <a:avLst/>
            </a:prstTxWarp>
          </a:bodyPr>
          <a:lstStyle/>
          <a:p>
            <a:r>
              <a:rPr lang="en-US" sz="1050" b="0" dirty="0" smtClean="0">
                <a:latin typeface="Lato" charset="0"/>
                <a:ea typeface="Lato" charset="0"/>
                <a:cs typeface="Lato" charset="0"/>
              </a:rPr>
              <a:t>Microservice D</a:t>
            </a:r>
            <a:endParaRPr kumimoji="0" lang="en-US" sz="105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Lato" charset="0"/>
              <a:ea typeface="Lato" charset="0"/>
              <a:cs typeface="Lato" charset="0"/>
            </a:endParaRPr>
          </a:p>
        </p:txBody>
      </p:sp>
      <p:sp>
        <p:nvSpPr>
          <p:cNvPr id="109" name="Arc 108"/>
          <p:cNvSpPr/>
          <p:nvPr/>
        </p:nvSpPr>
        <p:spPr bwMode="auto">
          <a:xfrm rot="20698985" flipV="1">
            <a:off x="1488225" y="5356288"/>
            <a:ext cx="6001910" cy="650441"/>
          </a:xfrm>
          <a:prstGeom prst="arc">
            <a:avLst>
              <a:gd name="adj1" fmla="val 17800781"/>
              <a:gd name="adj2" fmla="val 21055022"/>
            </a:avLst>
          </a:prstGeom>
          <a:noFill/>
          <a:ln w="9525" cap="flat" cmpd="sng" algn="ctr">
            <a:solidFill>
              <a:schemeClr val="bg2"/>
            </a:solidFill>
            <a:prstDash val="solid"/>
            <a:round/>
            <a:headEnd type="none" w="lg" len="lg"/>
            <a:tailEnd type="none" w="lg" len="lg"/>
          </a:ln>
          <a:effectLst/>
        </p:spPr>
        <p:txBody>
          <a:bodyPr vert="horz" wrap="none" lIns="91440" tIns="91440" rIns="91440" bIns="9144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cs typeface="Arial" charset="0"/>
            </a:endParaRPr>
          </a:p>
        </p:txBody>
      </p:sp>
      <p:sp>
        <p:nvSpPr>
          <p:cNvPr id="110" name="Arc 109"/>
          <p:cNvSpPr/>
          <p:nvPr/>
        </p:nvSpPr>
        <p:spPr bwMode="auto">
          <a:xfrm flipV="1">
            <a:off x="1627657" y="5322963"/>
            <a:ext cx="5723045" cy="686194"/>
          </a:xfrm>
          <a:prstGeom prst="arc">
            <a:avLst>
              <a:gd name="adj1" fmla="val 17800781"/>
              <a:gd name="adj2" fmla="val 21055022"/>
            </a:avLst>
          </a:prstGeom>
          <a:noFill/>
          <a:ln w="9525" cap="flat" cmpd="sng" algn="ctr">
            <a:solidFill>
              <a:schemeClr val="bg2"/>
            </a:solidFill>
            <a:prstDash val="solid"/>
            <a:round/>
            <a:headEnd type="none" w="lg" len="lg"/>
            <a:tailEnd type="none" w="lg" len="lg"/>
          </a:ln>
          <a:effectLst/>
        </p:spPr>
        <p:txBody>
          <a:bodyPr vert="horz" wrap="none" lIns="91440" tIns="91440" rIns="91440" bIns="9144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cs typeface="Arial" charset="0"/>
            </a:endParaRPr>
          </a:p>
        </p:txBody>
      </p:sp>
      <p:sp>
        <p:nvSpPr>
          <p:cNvPr id="111" name="TextBox 110"/>
          <p:cNvSpPr txBox="1"/>
          <p:nvPr/>
        </p:nvSpPr>
        <p:spPr>
          <a:xfrm rot="19913103">
            <a:off x="4733828" y="5507544"/>
            <a:ext cx="511680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800" b="0" dirty="0" smtClean="0">
                <a:latin typeface="Lato" charset="0"/>
                <a:ea typeface="Lato" charset="0"/>
                <a:cs typeface="Lato" charset="0"/>
              </a:rPr>
              <a:t>Publish</a:t>
            </a:r>
            <a:endParaRPr lang="en-US" sz="800" b="0" dirty="0">
              <a:latin typeface="Lato" charset="0"/>
              <a:ea typeface="Lato" charset="0"/>
              <a:cs typeface="Lato" charset="0"/>
            </a:endParaRPr>
          </a:p>
        </p:txBody>
      </p:sp>
      <p:sp>
        <p:nvSpPr>
          <p:cNvPr id="112" name="Rounded Rectangle 111"/>
          <p:cNvSpPr/>
          <p:nvPr/>
        </p:nvSpPr>
        <p:spPr bwMode="auto">
          <a:xfrm>
            <a:off x="6106274" y="4658609"/>
            <a:ext cx="339966" cy="126344"/>
          </a:xfrm>
          <a:prstGeom prst="roundRect">
            <a:avLst/>
          </a:prstGeom>
          <a:noFill/>
          <a:ln w="9525" cap="flat" cmpd="sng" algn="ctr">
            <a:solidFill>
              <a:schemeClr val="bg2"/>
            </a:solidFill>
            <a:prstDash val="solid"/>
            <a:round/>
            <a:headEnd type="none" w="lg" len="lg"/>
            <a:tailEnd type="none" w="lg" len="lg"/>
          </a:ln>
          <a:effectLst/>
        </p:spPr>
        <p:txBody>
          <a:bodyPr vert="horz" wrap="none" lIns="91440" tIns="91440" rIns="91440" bIns="9144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5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Lato" charset="0"/>
                <a:ea typeface="Lato" charset="0"/>
                <a:cs typeface="Lato" charset="0"/>
              </a:rPr>
              <a:t>Rest API</a:t>
            </a:r>
          </a:p>
        </p:txBody>
      </p:sp>
      <p:sp>
        <p:nvSpPr>
          <p:cNvPr id="113" name="Rounded Rectangle 112"/>
          <p:cNvSpPr/>
          <p:nvPr/>
        </p:nvSpPr>
        <p:spPr bwMode="auto">
          <a:xfrm>
            <a:off x="6104355" y="5013822"/>
            <a:ext cx="339966" cy="126344"/>
          </a:xfrm>
          <a:prstGeom prst="roundRect">
            <a:avLst/>
          </a:prstGeom>
          <a:noFill/>
          <a:ln w="9525" cap="flat" cmpd="sng" algn="ctr">
            <a:solidFill>
              <a:schemeClr val="bg2"/>
            </a:solidFill>
            <a:prstDash val="solid"/>
            <a:round/>
            <a:headEnd type="none" w="lg" len="lg"/>
            <a:tailEnd type="none" w="lg" len="lg"/>
          </a:ln>
          <a:effectLst/>
        </p:spPr>
        <p:txBody>
          <a:bodyPr vert="horz" wrap="none" lIns="91440" tIns="91440" rIns="91440" bIns="9144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5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Lato" charset="0"/>
                <a:ea typeface="Lato" charset="0"/>
                <a:cs typeface="Lato" charset="0"/>
              </a:rPr>
              <a:t>Rest API</a:t>
            </a:r>
          </a:p>
        </p:txBody>
      </p:sp>
      <p:sp>
        <p:nvSpPr>
          <p:cNvPr id="114" name="Rounded Rectangle 113"/>
          <p:cNvSpPr/>
          <p:nvPr/>
        </p:nvSpPr>
        <p:spPr bwMode="auto">
          <a:xfrm>
            <a:off x="6104355" y="5323414"/>
            <a:ext cx="339966" cy="126344"/>
          </a:xfrm>
          <a:prstGeom prst="roundRect">
            <a:avLst/>
          </a:prstGeom>
          <a:noFill/>
          <a:ln w="9525" cap="flat" cmpd="sng" algn="ctr">
            <a:solidFill>
              <a:schemeClr val="bg2"/>
            </a:solidFill>
            <a:prstDash val="solid"/>
            <a:round/>
            <a:headEnd type="none" w="lg" len="lg"/>
            <a:tailEnd type="none" w="lg" len="lg"/>
          </a:ln>
          <a:effectLst/>
        </p:spPr>
        <p:txBody>
          <a:bodyPr vert="horz" wrap="none" lIns="91440" tIns="91440" rIns="91440" bIns="9144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5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Lato" charset="0"/>
                <a:ea typeface="Lato" charset="0"/>
                <a:cs typeface="Lato" charset="0"/>
              </a:rPr>
              <a:t>Rest API</a:t>
            </a:r>
          </a:p>
        </p:txBody>
      </p:sp>
      <p:sp>
        <p:nvSpPr>
          <p:cNvPr id="115" name="Rounded Rectangle 114"/>
          <p:cNvSpPr/>
          <p:nvPr/>
        </p:nvSpPr>
        <p:spPr bwMode="auto">
          <a:xfrm>
            <a:off x="6104355" y="5664361"/>
            <a:ext cx="339966" cy="126344"/>
          </a:xfrm>
          <a:prstGeom prst="roundRect">
            <a:avLst/>
          </a:prstGeom>
          <a:noFill/>
          <a:ln w="9525" cap="flat" cmpd="sng" algn="ctr">
            <a:solidFill>
              <a:schemeClr val="bg2"/>
            </a:solidFill>
            <a:prstDash val="solid"/>
            <a:round/>
            <a:headEnd type="none" w="lg" len="lg"/>
            <a:tailEnd type="none" w="lg" len="lg"/>
          </a:ln>
          <a:effectLst/>
        </p:spPr>
        <p:txBody>
          <a:bodyPr vert="horz" wrap="none" lIns="91440" tIns="91440" rIns="91440" bIns="9144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5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Lato" charset="0"/>
                <a:ea typeface="Lato" charset="0"/>
                <a:cs typeface="Lato" charset="0"/>
              </a:rPr>
              <a:t>Rest API</a:t>
            </a:r>
          </a:p>
        </p:txBody>
      </p:sp>
      <p:sp>
        <p:nvSpPr>
          <p:cNvPr id="116" name="Rectangle 115"/>
          <p:cNvSpPr/>
          <p:nvPr/>
        </p:nvSpPr>
        <p:spPr bwMode="auto">
          <a:xfrm>
            <a:off x="746223" y="4721915"/>
            <a:ext cx="1520440" cy="267114"/>
          </a:xfrm>
          <a:prstGeom prst="rect">
            <a:avLst/>
          </a:prstGeom>
          <a:solidFill>
            <a:srgbClr val="EECCCC"/>
          </a:solidFill>
          <a:ln w="9525" cap="flat" cmpd="sng" algn="ctr">
            <a:solidFill>
              <a:srgbClr val="EECCCC"/>
            </a:solidFill>
            <a:prstDash val="solid"/>
            <a:round/>
            <a:headEnd type="none" w="lg" len="lg"/>
            <a:tailEnd type="none" w="lg" len="lg"/>
          </a:ln>
          <a:effectLst/>
        </p:spPr>
        <p:txBody>
          <a:bodyPr vert="horz" wrap="none" lIns="91440" tIns="91440" rIns="91440" bIns="91440" numCol="1" rtlCol="0" anchor="ctr" anchorCtr="0" compatLnSpc="1">
            <a:prstTxWarp prst="textNoShape">
              <a:avLst/>
            </a:prstTxWarp>
          </a:bodyPr>
          <a:lstStyle/>
          <a:p>
            <a:r>
              <a:rPr lang="en-US" sz="1050" b="0" smtClean="0">
                <a:latin typeface="Lato" charset="0"/>
                <a:ea typeface="Lato" charset="0"/>
                <a:cs typeface="Lato" charset="0"/>
              </a:rPr>
              <a:t>API Gateway or Client</a:t>
            </a:r>
            <a:endParaRPr kumimoji="0" lang="en-US" sz="105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Lato" charset="0"/>
              <a:ea typeface="Lato" charset="0"/>
              <a:cs typeface="Lato" charset="0"/>
            </a:endParaRPr>
          </a:p>
        </p:txBody>
      </p:sp>
      <p:sp>
        <p:nvSpPr>
          <p:cNvPr id="117" name="Right Arrow 116"/>
          <p:cNvSpPr/>
          <p:nvPr/>
        </p:nvSpPr>
        <p:spPr bwMode="auto">
          <a:xfrm>
            <a:off x="2324491" y="4793634"/>
            <a:ext cx="200051" cy="153352"/>
          </a:xfrm>
          <a:prstGeom prst="rightArrow">
            <a:avLst/>
          </a:prstGeom>
          <a:noFill/>
          <a:ln w="4445" cap="flat" cmpd="sng" algn="ctr">
            <a:solidFill>
              <a:schemeClr val="bg2"/>
            </a:solidFill>
            <a:prstDash val="solid"/>
            <a:round/>
            <a:headEnd type="none" w="lg" len="lg"/>
            <a:tailEnd type="none" w="lg" len="lg"/>
          </a:ln>
          <a:effectLst/>
        </p:spPr>
        <p:txBody>
          <a:bodyPr vert="horz" wrap="none" lIns="91440" tIns="91440" rIns="91440" bIns="9144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6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Lato" charset="0"/>
              <a:ea typeface="Lato" charset="0"/>
              <a:cs typeface="Lato" charset="0"/>
            </a:endParaRPr>
          </a:p>
        </p:txBody>
      </p:sp>
      <p:sp>
        <p:nvSpPr>
          <p:cNvPr id="118" name="Arc 117"/>
          <p:cNvSpPr/>
          <p:nvPr/>
        </p:nvSpPr>
        <p:spPr bwMode="auto">
          <a:xfrm rot="9245792" flipV="1">
            <a:off x="4391764" y="4864024"/>
            <a:ext cx="3696438" cy="269684"/>
          </a:xfrm>
          <a:prstGeom prst="arc">
            <a:avLst/>
          </a:prstGeom>
          <a:noFill/>
          <a:ln w="9525" cap="flat" cmpd="sng" algn="ctr">
            <a:solidFill>
              <a:schemeClr val="bg2"/>
            </a:solidFill>
            <a:prstDash val="solid"/>
            <a:round/>
            <a:headEnd type="none" w="lg" len="lg"/>
            <a:tailEnd type="none" w="lg" len="lg"/>
          </a:ln>
          <a:effectLst/>
        </p:spPr>
        <p:txBody>
          <a:bodyPr vert="horz" wrap="none" lIns="91440" tIns="91440" rIns="91440" bIns="9144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cs typeface="Arial" charset="0"/>
            </a:endParaRPr>
          </a:p>
        </p:txBody>
      </p:sp>
      <p:sp>
        <p:nvSpPr>
          <p:cNvPr id="119" name="Arc 118"/>
          <p:cNvSpPr/>
          <p:nvPr/>
        </p:nvSpPr>
        <p:spPr bwMode="auto">
          <a:xfrm rot="9426500" flipV="1">
            <a:off x="3514075" y="5104581"/>
            <a:ext cx="5755371" cy="702296"/>
          </a:xfrm>
          <a:prstGeom prst="arc">
            <a:avLst>
              <a:gd name="adj1" fmla="val 17800781"/>
              <a:gd name="adj2" fmla="val 21055022"/>
            </a:avLst>
          </a:prstGeom>
          <a:noFill/>
          <a:ln w="9525" cap="flat" cmpd="sng" algn="ctr">
            <a:solidFill>
              <a:schemeClr val="bg2"/>
            </a:solidFill>
            <a:prstDash val="solid"/>
            <a:round/>
            <a:headEnd type="none" w="lg" len="lg"/>
            <a:tailEnd type="none" w="lg" len="lg"/>
          </a:ln>
          <a:effectLst/>
        </p:spPr>
        <p:txBody>
          <a:bodyPr vert="horz" wrap="none" lIns="91440" tIns="91440" rIns="91440" bIns="9144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106067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ervice Discovery </a:t>
            </a:r>
            <a:r>
              <a:rPr lang="mr-IN" dirty="0" smtClean="0"/>
              <a:t>–</a:t>
            </a:r>
            <a:r>
              <a:rPr lang="en-US" dirty="0" smtClean="0"/>
              <a:t> Product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970ACE7-7972-4389-A70A-097F415613C7}" type="slidenum">
              <a:rPr lang="en-US" smtClean="0"/>
              <a:pPr/>
              <a:t>18</a:t>
            </a:fld>
            <a:endParaRPr lang="en-US" dirty="0"/>
          </a:p>
        </p:txBody>
      </p:sp>
      <p:sp>
        <p:nvSpPr>
          <p:cNvPr id="5" name="Rectangle 4"/>
          <p:cNvSpPr/>
          <p:nvPr/>
        </p:nvSpPr>
        <p:spPr>
          <a:xfrm>
            <a:off x="674342" y="2012880"/>
            <a:ext cx="3759113" cy="32253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 algn="l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Font typeface="+mj-lt"/>
              <a:buAutoNum type="arabicPeriod"/>
            </a:pPr>
            <a:r>
              <a:rPr lang="en" sz="1050" b="0" kern="0" dirty="0">
                <a:solidFill>
                  <a:srgbClr val="000000"/>
                </a:solidFill>
                <a:latin typeface="Lato" charset="0"/>
                <a:ea typeface="Lato" charset="0"/>
                <a:cs typeface="Lato" charset="0"/>
              </a:rPr>
              <a:t>Distributed key, value(KV) store based on data directories</a:t>
            </a:r>
          </a:p>
          <a:p>
            <a:pPr marL="342900" indent="-342900" algn="l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Font typeface="+mj-lt"/>
              <a:buAutoNum type="arabicPeriod"/>
            </a:pPr>
            <a:r>
              <a:rPr lang="en" sz="1050" b="0" kern="0" dirty="0">
                <a:solidFill>
                  <a:srgbClr val="000000"/>
                </a:solidFill>
                <a:latin typeface="Lato" charset="0"/>
                <a:ea typeface="Lato" charset="0"/>
                <a:cs typeface="Lato" charset="0"/>
              </a:rPr>
              <a:t>Provides comprehensive service health checking using both in-built solutions as well as user provided custom solutions.</a:t>
            </a:r>
          </a:p>
          <a:p>
            <a:pPr marL="342900" indent="-342900" algn="l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Font typeface="+mj-lt"/>
              <a:buAutoNum type="arabicPeriod"/>
            </a:pPr>
            <a:r>
              <a:rPr lang="en" sz="1050" b="0" kern="0" dirty="0">
                <a:solidFill>
                  <a:srgbClr val="000000"/>
                </a:solidFill>
                <a:latin typeface="Lato" charset="0"/>
                <a:ea typeface="Lato" charset="0"/>
                <a:cs typeface="Lato" charset="0"/>
              </a:rPr>
              <a:t>Provides REST based HTTP API for interaction.</a:t>
            </a:r>
          </a:p>
          <a:p>
            <a:pPr marL="342900" indent="-342900" algn="l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Font typeface="+mj-lt"/>
              <a:buAutoNum type="arabicPeriod"/>
            </a:pPr>
            <a:r>
              <a:rPr lang="en" sz="1050" b="0" kern="0" dirty="0">
                <a:solidFill>
                  <a:srgbClr val="000000"/>
                </a:solidFill>
                <a:latin typeface="Lato" charset="0"/>
                <a:ea typeface="Lato" charset="0"/>
                <a:cs typeface="Lato" charset="0"/>
              </a:rPr>
              <a:t>Security: TLS and ACLs</a:t>
            </a:r>
          </a:p>
          <a:p>
            <a:pPr marL="342900" indent="-342900" algn="l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Font typeface="+mj-lt"/>
              <a:buAutoNum type="arabicPeriod"/>
            </a:pPr>
            <a:r>
              <a:rPr lang="en" sz="1050" b="0" kern="0" dirty="0">
                <a:solidFill>
                  <a:srgbClr val="000000"/>
                </a:solidFill>
                <a:latin typeface="Lato" charset="0"/>
                <a:ea typeface="Lato" charset="0"/>
                <a:cs typeface="Lato" charset="0"/>
              </a:rPr>
              <a:t>Service database can be queried using DNS.</a:t>
            </a:r>
          </a:p>
          <a:p>
            <a:pPr marL="342900" indent="-342900" algn="l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Font typeface="+mj-lt"/>
              <a:buAutoNum type="arabicPeriod"/>
            </a:pPr>
            <a:r>
              <a:rPr lang="en" sz="1050" b="0" kern="0" dirty="0">
                <a:solidFill>
                  <a:srgbClr val="000000"/>
                </a:solidFill>
                <a:latin typeface="Lato" charset="0"/>
                <a:ea typeface="Lato" charset="0"/>
                <a:cs typeface="Lato" charset="0"/>
              </a:rPr>
              <a:t>Does dynamic load balancing</a:t>
            </a:r>
            <a:r>
              <a:rPr lang="en" sz="1050" b="0" kern="0" dirty="0" smtClean="0">
                <a:solidFill>
                  <a:srgbClr val="000000"/>
                </a:solidFill>
                <a:latin typeface="Lato" charset="0"/>
                <a:ea typeface="Lato" charset="0"/>
                <a:cs typeface="Lato" charset="0"/>
              </a:rPr>
              <a:t>.</a:t>
            </a:r>
            <a:endParaRPr lang="en-US" sz="1050" b="0" kern="0" dirty="0" smtClean="0">
              <a:solidFill>
                <a:srgbClr val="000000"/>
              </a:solidFill>
              <a:latin typeface="Lato" charset="0"/>
              <a:ea typeface="Lato" charset="0"/>
              <a:cs typeface="Lato" charset="0"/>
            </a:endParaRPr>
          </a:p>
          <a:p>
            <a:pPr marL="342900" indent="-342900" algn="l">
              <a:spcBef>
                <a:spcPts val="0"/>
              </a:spcBef>
              <a:spcAft>
                <a:spcPts val="1000"/>
              </a:spcAft>
              <a:buFont typeface="+mj-lt"/>
              <a:buAutoNum type="arabicPeriod"/>
            </a:pPr>
            <a:r>
              <a:rPr lang="en-US" sz="1050" b="0" kern="0" dirty="0">
                <a:solidFill>
                  <a:srgbClr val="000000"/>
                </a:solidFill>
                <a:latin typeface="Lato" charset="0"/>
                <a:ea typeface="Lato" charset="0"/>
                <a:cs typeface="Lato" charset="0"/>
              </a:rPr>
              <a:t>Integrates well with Docker.</a:t>
            </a:r>
            <a:endParaRPr lang="en" sz="1050" b="0" kern="0" dirty="0">
              <a:solidFill>
                <a:srgbClr val="000000"/>
              </a:solidFill>
              <a:latin typeface="Lato" charset="0"/>
              <a:ea typeface="Lato" charset="0"/>
              <a:cs typeface="Lato" charset="0"/>
            </a:endParaRPr>
          </a:p>
          <a:p>
            <a:pPr marL="342900" indent="-342900" algn="l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Font typeface="+mj-lt"/>
              <a:buAutoNum type="arabicPeriod"/>
            </a:pPr>
            <a:r>
              <a:rPr lang="en" sz="1050" b="0" kern="0" dirty="0">
                <a:solidFill>
                  <a:srgbClr val="000000"/>
                </a:solidFill>
                <a:latin typeface="Lato" charset="0"/>
                <a:ea typeface="Lato" charset="0"/>
                <a:cs typeface="Lato" charset="0"/>
              </a:rPr>
              <a:t>Supports single data center and can be scaled to support multiple data centers.</a:t>
            </a:r>
          </a:p>
          <a:p>
            <a:pPr marL="342900" indent="-342900" algn="l">
              <a:lnSpc>
                <a:spcPct val="115000"/>
              </a:lnSpc>
              <a:spcBef>
                <a:spcPts val="0"/>
              </a:spcBef>
              <a:spcAft>
                <a:spcPts val="1600"/>
              </a:spcAft>
              <a:buFont typeface="+mj-lt"/>
              <a:buAutoNum type="arabicPeriod"/>
            </a:pPr>
            <a:endParaRPr lang="en" sz="1050" b="0" kern="0" dirty="0">
              <a:solidFill>
                <a:srgbClr val="000000"/>
              </a:solidFill>
              <a:latin typeface="Lato" charset="0"/>
              <a:ea typeface="Lato" charset="0"/>
              <a:cs typeface="Lato" charset="0"/>
            </a:endParaRPr>
          </a:p>
        </p:txBody>
      </p:sp>
      <p:sp>
        <p:nvSpPr>
          <p:cNvPr id="6" name="Rectangle 5"/>
          <p:cNvSpPr/>
          <p:nvPr/>
        </p:nvSpPr>
        <p:spPr bwMode="auto">
          <a:xfrm>
            <a:off x="674341" y="1475339"/>
            <a:ext cx="1376131" cy="267114"/>
          </a:xfrm>
          <a:prstGeom prst="rect">
            <a:avLst/>
          </a:prstGeom>
          <a:solidFill>
            <a:srgbClr val="EECCCC"/>
          </a:solidFill>
          <a:ln w="9525" cap="flat" cmpd="sng" algn="ctr">
            <a:solidFill>
              <a:srgbClr val="EECCCC"/>
            </a:solidFill>
            <a:prstDash val="solid"/>
            <a:round/>
            <a:headEnd type="none" w="lg" len="lg"/>
            <a:tailEnd type="none" w="lg" len="lg"/>
          </a:ln>
          <a:effectLst/>
        </p:spPr>
        <p:txBody>
          <a:bodyPr vert="horz" wrap="none" lIns="91440" tIns="91440" rIns="91440" bIns="91440" numCol="1" rtlCol="0" anchor="ctr" anchorCtr="0" compatLnSpc="1">
            <a:prstTxWarp prst="textNoShape">
              <a:avLst/>
            </a:prstTxWarp>
          </a:bodyPr>
          <a:lstStyle/>
          <a:p>
            <a:pPr algn="l"/>
            <a:r>
              <a:rPr lang="en-US" sz="1100" dirty="0" smtClean="0">
                <a:latin typeface="Lato" charset="0"/>
                <a:ea typeface="Lato" charset="0"/>
                <a:cs typeface="Lato" charset="0"/>
              </a:rPr>
              <a:t>Consul - Hashicorp</a:t>
            </a:r>
            <a:endParaRPr kumimoji="0" lang="en-US" sz="110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Lato" charset="0"/>
              <a:ea typeface="Lato" charset="0"/>
              <a:cs typeface="Lato" charset="0"/>
            </a:endParaRPr>
          </a:p>
        </p:txBody>
      </p:sp>
      <p:sp>
        <p:nvSpPr>
          <p:cNvPr id="8" name="Rectangle 7"/>
          <p:cNvSpPr/>
          <p:nvPr/>
        </p:nvSpPr>
        <p:spPr bwMode="auto">
          <a:xfrm>
            <a:off x="4899978" y="1475339"/>
            <a:ext cx="1376131" cy="267114"/>
          </a:xfrm>
          <a:prstGeom prst="rect">
            <a:avLst/>
          </a:prstGeom>
          <a:solidFill>
            <a:srgbClr val="EECCCC"/>
          </a:solidFill>
          <a:ln w="9525" cap="flat" cmpd="sng" algn="ctr">
            <a:solidFill>
              <a:srgbClr val="EECCCC"/>
            </a:solidFill>
            <a:prstDash val="solid"/>
            <a:round/>
            <a:headEnd type="none" w="lg" len="lg"/>
            <a:tailEnd type="none" w="lg" len="lg"/>
          </a:ln>
          <a:effectLst/>
        </p:spPr>
        <p:txBody>
          <a:bodyPr vert="horz" wrap="none" lIns="91440" tIns="91440" rIns="91440" bIns="91440" numCol="1" rtlCol="0" anchor="ctr" anchorCtr="0" compatLnSpc="1">
            <a:prstTxWarp prst="textNoShape">
              <a:avLst/>
            </a:prstTxWarp>
          </a:bodyPr>
          <a:lstStyle/>
          <a:p>
            <a:pPr algn="l"/>
            <a:r>
              <a:rPr lang="en-US" sz="1100" dirty="0" smtClean="0">
                <a:latin typeface="Lato" charset="0"/>
                <a:ea typeface="Lato" charset="0"/>
                <a:cs typeface="Lato" charset="0"/>
              </a:rPr>
              <a:t>Kubernetes- Google</a:t>
            </a:r>
            <a:endParaRPr kumimoji="0" lang="en-US" sz="110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Lato" charset="0"/>
              <a:ea typeface="Lato" charset="0"/>
              <a:cs typeface="Lato" charset="0"/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4899978" y="2012879"/>
            <a:ext cx="4701222" cy="304698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28600" indent="-228600" algn="l">
              <a:spcAft>
                <a:spcPts val="1000"/>
              </a:spcAft>
              <a:buFont typeface="+mj-lt"/>
              <a:buAutoNum type="arabicPeriod"/>
            </a:pPr>
            <a:r>
              <a:rPr lang="en-US" sz="1050" b="0" dirty="0">
                <a:latin typeface="Lato" charset="0"/>
                <a:ea typeface="Lato" charset="0"/>
                <a:cs typeface="Lato" charset="0"/>
              </a:rPr>
              <a:t>For internal service discovery, Kubernetes provides two options: </a:t>
            </a:r>
            <a:endParaRPr lang="en-US" sz="1050" b="0" dirty="0" smtClean="0">
              <a:latin typeface="Lato" charset="0"/>
              <a:ea typeface="Lato" charset="0"/>
              <a:cs typeface="Lato" charset="0"/>
            </a:endParaRPr>
          </a:p>
          <a:p>
            <a:pPr marL="685800" lvl="1" indent="-228600" algn="l">
              <a:spcAft>
                <a:spcPts val="1000"/>
              </a:spcAft>
              <a:buFont typeface="+mj-lt"/>
              <a:buAutoNum type="alphaLcParenR"/>
            </a:pPr>
            <a:r>
              <a:rPr lang="en-US" sz="1050" dirty="0" smtClean="0">
                <a:latin typeface="Lato" charset="0"/>
                <a:ea typeface="Lato" charset="0"/>
                <a:cs typeface="Lato" charset="0"/>
              </a:rPr>
              <a:t>Environment variable</a:t>
            </a:r>
            <a:endParaRPr lang="en-US" sz="1050" b="0" dirty="0">
              <a:latin typeface="Lato" charset="0"/>
              <a:ea typeface="Lato" charset="0"/>
              <a:cs typeface="Lato" charset="0"/>
            </a:endParaRPr>
          </a:p>
          <a:p>
            <a:pPr marL="685800" lvl="1" indent="-228600" algn="l">
              <a:spcAft>
                <a:spcPts val="1000"/>
              </a:spcAft>
              <a:buFont typeface="+mj-lt"/>
              <a:buAutoNum type="alphaLcParenR"/>
            </a:pPr>
            <a:r>
              <a:rPr lang="en-US" sz="1050" dirty="0" smtClean="0">
                <a:latin typeface="Lato" charset="0"/>
                <a:ea typeface="Lato" charset="0"/>
                <a:cs typeface="Lato" charset="0"/>
              </a:rPr>
              <a:t>DNS</a:t>
            </a:r>
            <a:endParaRPr lang="en-US" sz="1050" b="0" dirty="0">
              <a:latin typeface="Lato" charset="0"/>
              <a:ea typeface="Lato" charset="0"/>
              <a:cs typeface="Lato" charset="0"/>
            </a:endParaRPr>
          </a:p>
          <a:p>
            <a:pPr marL="228600" indent="-228600" algn="l">
              <a:spcAft>
                <a:spcPts val="1000"/>
              </a:spcAft>
              <a:buFont typeface="+mj-lt"/>
              <a:buAutoNum type="arabicPeriod"/>
            </a:pPr>
            <a:r>
              <a:rPr lang="en-US" sz="1050" b="0" dirty="0">
                <a:latin typeface="Lato" charset="0"/>
                <a:ea typeface="Lato" charset="0"/>
                <a:cs typeface="Lato" charset="0"/>
              </a:rPr>
              <a:t>For external service discovery, Kubernetes provides two options: </a:t>
            </a:r>
          </a:p>
          <a:p>
            <a:pPr marL="685800" lvl="1" indent="-228600" algn="l">
              <a:spcAft>
                <a:spcPts val="1000"/>
              </a:spcAft>
              <a:buFont typeface="+mj-lt"/>
              <a:buAutoNum type="alphaLcParenR"/>
            </a:pPr>
            <a:r>
              <a:rPr lang="en-US" sz="1050" dirty="0" smtClean="0">
                <a:latin typeface="Lato" charset="0"/>
                <a:ea typeface="Lato" charset="0"/>
                <a:cs typeface="Lato" charset="0"/>
              </a:rPr>
              <a:t>NodePort</a:t>
            </a:r>
            <a:endParaRPr lang="en-US" sz="1050" b="0" dirty="0">
              <a:latin typeface="Lato" charset="0"/>
              <a:ea typeface="Lato" charset="0"/>
              <a:cs typeface="Lato" charset="0"/>
            </a:endParaRPr>
          </a:p>
          <a:p>
            <a:pPr marL="685800" lvl="1" indent="-228600" algn="l">
              <a:spcAft>
                <a:spcPts val="1000"/>
              </a:spcAft>
              <a:buFont typeface="+mj-lt"/>
              <a:buAutoNum type="alphaLcParenR"/>
            </a:pPr>
            <a:r>
              <a:rPr lang="en-US" sz="1050" dirty="0" smtClean="0">
                <a:latin typeface="Lato" charset="0"/>
                <a:ea typeface="Lato" charset="0"/>
                <a:cs typeface="Lato" charset="0"/>
              </a:rPr>
              <a:t>Load balancer</a:t>
            </a:r>
            <a:endParaRPr lang="en-US" sz="1050" b="0" dirty="0">
              <a:latin typeface="Lato" charset="0"/>
              <a:ea typeface="Lato" charset="0"/>
              <a:cs typeface="Lato" charset="0"/>
            </a:endParaRPr>
          </a:p>
          <a:p>
            <a:pPr marL="228600" indent="-228600" algn="l">
              <a:spcAft>
                <a:spcPts val="1000"/>
              </a:spcAft>
              <a:buFont typeface="+mj-lt"/>
              <a:buAutoNum type="arabicPeriod"/>
            </a:pPr>
            <a:r>
              <a:rPr lang="en-US" sz="1050" b="0" dirty="0">
                <a:latin typeface="Lato" charset="0"/>
                <a:ea typeface="Lato" charset="0"/>
                <a:cs typeface="Lato" charset="0"/>
              </a:rPr>
              <a:t>Kubelet can implement a health check to check if Container is healthy.</a:t>
            </a:r>
          </a:p>
          <a:p>
            <a:pPr marL="228600" indent="-228600" algn="l">
              <a:spcAft>
                <a:spcPts val="1000"/>
              </a:spcAft>
              <a:buFont typeface="+mj-lt"/>
              <a:buAutoNum type="arabicPeriod"/>
            </a:pPr>
            <a:r>
              <a:rPr lang="en-US" sz="1050" b="0" dirty="0">
                <a:latin typeface="Lato" charset="0"/>
                <a:ea typeface="Lato" charset="0"/>
                <a:cs typeface="Lato" charset="0"/>
              </a:rPr>
              <a:t>Kubelet will kill the Container if it is not healthy. Replication controller would take care of maintaining endpoint count.</a:t>
            </a:r>
          </a:p>
          <a:p>
            <a:pPr marL="228600" indent="-228600" algn="l">
              <a:spcAft>
                <a:spcPts val="1000"/>
              </a:spcAft>
              <a:buFont typeface="+mj-lt"/>
              <a:buAutoNum type="arabicPeriod"/>
            </a:pPr>
            <a:r>
              <a:rPr lang="en-US" sz="1050" b="0" dirty="0">
                <a:latin typeface="Lato" charset="0"/>
                <a:ea typeface="Lato" charset="0"/>
                <a:cs typeface="Lato" charset="0"/>
              </a:rPr>
              <a:t>Health check is defined in Pod manifest.</a:t>
            </a:r>
          </a:p>
          <a:p>
            <a:pPr lvl="1" algn="l"/>
            <a:endParaRPr lang="en-US" sz="1200" b="0" dirty="0" smtClean="0">
              <a:latin typeface="Lato" charset="0"/>
              <a:ea typeface="Lato" charset="0"/>
              <a:cs typeface="Lato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17251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ervice Observability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970ACE7-7972-4389-A70A-097F415613C7}" type="slidenum">
              <a:rPr lang="en-US" smtClean="0"/>
              <a:pPr/>
              <a:t>19</a:t>
            </a:fld>
            <a:endParaRPr lang="en-US" dirty="0"/>
          </a:p>
        </p:txBody>
      </p:sp>
      <p:sp>
        <p:nvSpPr>
          <p:cNvPr id="5" name="TextBox 4"/>
          <p:cNvSpPr txBox="1"/>
          <p:nvPr/>
        </p:nvSpPr>
        <p:spPr>
          <a:xfrm>
            <a:off x="871538" y="1818375"/>
            <a:ext cx="3324949" cy="1092607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txBody>
          <a:bodyPr wrap="none" rtlCol="0">
            <a:spAutoFit/>
          </a:bodyPr>
          <a:lstStyle/>
          <a:p>
            <a:pPr marL="171450" indent="-171450" algn="l">
              <a:spcAft>
                <a:spcPts val="300"/>
              </a:spcAft>
              <a:buFont typeface="Arial" charset="0"/>
              <a:buChar char="•"/>
            </a:pPr>
            <a:r>
              <a:rPr lang="en-US" sz="1100" b="0" dirty="0" smtClean="0">
                <a:latin typeface="Lato" charset="0"/>
                <a:ea typeface="Lato" charset="0"/>
                <a:cs typeface="Lato" charset="0"/>
              </a:rPr>
              <a:t>Extremely important in Distributed Architecture</a:t>
            </a:r>
          </a:p>
          <a:p>
            <a:pPr marL="171450" indent="-171450" algn="l">
              <a:spcAft>
                <a:spcPts val="300"/>
              </a:spcAft>
              <a:buFont typeface="Arial" charset="0"/>
              <a:buChar char="•"/>
            </a:pPr>
            <a:r>
              <a:rPr lang="en-US" sz="1100" b="0" dirty="0" smtClean="0">
                <a:latin typeface="Lato" charset="0"/>
                <a:ea typeface="Lato" charset="0"/>
                <a:cs typeface="Lato" charset="0"/>
              </a:rPr>
              <a:t>Fine grained visibility is required</a:t>
            </a:r>
          </a:p>
          <a:p>
            <a:pPr marL="171450" indent="-171450" algn="l">
              <a:spcAft>
                <a:spcPts val="300"/>
              </a:spcAft>
              <a:buFont typeface="Arial" charset="0"/>
              <a:buChar char="•"/>
            </a:pPr>
            <a:r>
              <a:rPr lang="en-US" sz="1100" b="0" dirty="0" smtClean="0">
                <a:latin typeface="Lato" charset="0"/>
                <a:ea typeface="Lato" charset="0"/>
                <a:cs typeface="Lato" charset="0"/>
              </a:rPr>
              <a:t>Lots of technologies to choose from</a:t>
            </a:r>
          </a:p>
          <a:p>
            <a:pPr marL="171450" indent="-171450" algn="l">
              <a:spcAft>
                <a:spcPts val="300"/>
              </a:spcAft>
              <a:buFont typeface="Arial" charset="0"/>
              <a:buChar char="•"/>
            </a:pPr>
            <a:r>
              <a:rPr lang="en-US" sz="1100" b="0" dirty="0" smtClean="0">
                <a:latin typeface="Lato" charset="0"/>
                <a:ea typeface="Lato" charset="0"/>
                <a:cs typeface="Lato" charset="0"/>
              </a:rPr>
              <a:t>Visualization is important</a:t>
            </a:r>
          </a:p>
          <a:p>
            <a:pPr marL="171450" indent="-171450" algn="l">
              <a:spcAft>
                <a:spcPts val="300"/>
              </a:spcAft>
              <a:buFont typeface="Arial" charset="0"/>
              <a:buChar char="•"/>
            </a:pPr>
            <a:r>
              <a:rPr lang="en-US" sz="1100" b="0" dirty="0" smtClean="0">
                <a:latin typeface="Lato" charset="0"/>
                <a:ea typeface="Lato" charset="0"/>
                <a:cs typeface="Lato" charset="0"/>
              </a:rPr>
              <a:t>Automated alerting and alarms also important</a:t>
            </a:r>
            <a:endParaRPr lang="en-US" sz="1100" b="0" dirty="0">
              <a:latin typeface="Lato" charset="0"/>
              <a:ea typeface="Lato" charset="0"/>
              <a:cs typeface="Lato" charset="0"/>
            </a:endParaRPr>
          </a:p>
        </p:txBody>
      </p:sp>
      <p:sp>
        <p:nvSpPr>
          <p:cNvPr id="6" name="Right Arrow 5"/>
          <p:cNvSpPr/>
          <p:nvPr/>
        </p:nvSpPr>
        <p:spPr bwMode="auto">
          <a:xfrm>
            <a:off x="4671597" y="2130881"/>
            <a:ext cx="993580" cy="621840"/>
          </a:xfrm>
          <a:prstGeom prst="rightArrow">
            <a:avLst/>
          </a:prstGeom>
          <a:noFill/>
          <a:ln w="4445" cap="flat" cmpd="sng" algn="ctr">
            <a:solidFill>
              <a:schemeClr val="bg2"/>
            </a:solidFill>
            <a:prstDash val="solid"/>
            <a:round/>
            <a:headEnd type="none" w="lg" len="lg"/>
            <a:tailEnd type="none" w="lg" len="lg"/>
          </a:ln>
          <a:effectLst/>
        </p:spPr>
        <p:txBody>
          <a:bodyPr vert="horz" wrap="none" lIns="91440" tIns="91440" rIns="91440" bIns="9144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6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Lato" charset="0"/>
              <a:ea typeface="Lato" charset="0"/>
              <a:cs typeface="Lato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6378453" y="1714501"/>
            <a:ext cx="2510624" cy="1300356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txBody>
          <a:bodyPr wrap="none" rtlCol="0">
            <a:spAutoFit/>
          </a:bodyPr>
          <a:lstStyle/>
          <a:p>
            <a:pPr marL="171450" indent="-171450" algn="l">
              <a:spcAft>
                <a:spcPts val="300"/>
              </a:spcAft>
              <a:buFont typeface="Arial" charset="0"/>
              <a:buChar char="•"/>
            </a:pPr>
            <a:r>
              <a:rPr lang="en-US" sz="1100" b="0" dirty="0" smtClean="0">
                <a:latin typeface="Lato" charset="0"/>
                <a:ea typeface="Lato" charset="0"/>
                <a:cs typeface="Lato" charset="0"/>
              </a:rPr>
              <a:t>Request Latency</a:t>
            </a:r>
          </a:p>
          <a:p>
            <a:pPr marL="171450" indent="-171450" algn="l">
              <a:spcAft>
                <a:spcPts val="300"/>
              </a:spcAft>
              <a:buFont typeface="Arial" charset="0"/>
              <a:buChar char="•"/>
            </a:pPr>
            <a:r>
              <a:rPr lang="en-US" sz="1100" b="0" dirty="0" smtClean="0">
                <a:latin typeface="Lato" charset="0"/>
                <a:ea typeface="Lato" charset="0"/>
                <a:cs typeface="Lato" charset="0"/>
              </a:rPr>
              <a:t>JVM &amp; OS Metrics</a:t>
            </a:r>
          </a:p>
          <a:p>
            <a:pPr marL="628650" lvl="1" indent="-171450" algn="l">
              <a:spcAft>
                <a:spcPts val="300"/>
              </a:spcAft>
              <a:buFont typeface="Arial" charset="0"/>
              <a:buChar char="•"/>
            </a:pPr>
            <a:r>
              <a:rPr lang="en-US" sz="1100" b="0" dirty="0" smtClean="0">
                <a:latin typeface="Lato" charset="0"/>
                <a:ea typeface="Lato" charset="0"/>
                <a:cs typeface="Lato" charset="0"/>
              </a:rPr>
              <a:t>Heap/memory usage</a:t>
            </a:r>
          </a:p>
          <a:p>
            <a:pPr marL="628650" lvl="1" indent="-171450" algn="l">
              <a:spcAft>
                <a:spcPts val="300"/>
              </a:spcAft>
              <a:buFont typeface="Arial" charset="0"/>
              <a:buChar char="•"/>
            </a:pPr>
            <a:r>
              <a:rPr lang="en-US" sz="1100" b="0" dirty="0" smtClean="0">
                <a:latin typeface="Lato" charset="0"/>
                <a:ea typeface="Lato" charset="0"/>
                <a:cs typeface="Lato" charset="0"/>
              </a:rPr>
              <a:t>Garbage Collection Metrics</a:t>
            </a:r>
          </a:p>
          <a:p>
            <a:pPr marL="171450" indent="-171450" algn="l">
              <a:spcAft>
                <a:spcPts val="300"/>
              </a:spcAft>
              <a:buFont typeface="Arial" charset="0"/>
              <a:buChar char="•"/>
            </a:pPr>
            <a:r>
              <a:rPr lang="en-US" sz="1100" b="0" dirty="0" smtClean="0">
                <a:latin typeface="Lato" charset="0"/>
                <a:ea typeface="Lato" charset="0"/>
                <a:cs typeface="Lato" charset="0"/>
              </a:rPr>
              <a:t>Database query timings</a:t>
            </a:r>
          </a:p>
          <a:p>
            <a:pPr marL="171450" indent="-171450" algn="l">
              <a:spcAft>
                <a:spcPts val="300"/>
              </a:spcAft>
              <a:buFont typeface="Arial" charset="0"/>
              <a:buChar char="•"/>
            </a:pPr>
            <a:r>
              <a:rPr lang="en-US" sz="1100" b="0" dirty="0" smtClean="0">
                <a:latin typeface="Lato" charset="0"/>
                <a:ea typeface="Lato" charset="0"/>
                <a:cs typeface="Lato" charset="0"/>
              </a:rPr>
              <a:t>Service Call timings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4628442" y="2349468"/>
            <a:ext cx="934871" cy="1846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600" b="0" dirty="0" smtClean="0"/>
              <a:t>Information to Monitor</a:t>
            </a:r>
            <a:endParaRPr lang="en-US" sz="600" b="0" dirty="0"/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76060" y="3331792"/>
            <a:ext cx="4749336" cy="2147155"/>
          </a:xfrm>
          <a:prstGeom prst="rect">
            <a:avLst/>
          </a:prstGeom>
          <a:ln>
            <a:solidFill>
              <a:schemeClr val="bg2"/>
            </a:solidFill>
          </a:ln>
        </p:spPr>
      </p:pic>
    </p:spTree>
    <p:extLst>
      <p:ext uri="{BB962C8B-B14F-4D97-AF65-F5344CB8AC3E}">
        <p14:creationId xmlns:p14="http://schemas.microsoft.com/office/powerpoint/2010/main" val="114542273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genda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71538" y="1285876"/>
            <a:ext cx="8491537" cy="4911724"/>
          </a:xfrm>
        </p:spPr>
        <p:txBody>
          <a:bodyPr/>
          <a:lstStyle/>
          <a:p>
            <a:r>
              <a:rPr lang="en-US" dirty="0" smtClean="0">
                <a:latin typeface="Arial" charset="0"/>
                <a:ea typeface="Arial" charset="0"/>
                <a:cs typeface="Arial" charset="0"/>
              </a:rPr>
              <a:t>Current State Architecture </a:t>
            </a:r>
            <a:r>
              <a:rPr lang="mr-IN" dirty="0" smtClean="0">
                <a:latin typeface="Arial" charset="0"/>
                <a:ea typeface="Arial" charset="0"/>
                <a:cs typeface="Arial" charset="0"/>
              </a:rPr>
              <a:t>–</a:t>
            </a:r>
            <a:r>
              <a:rPr lang="en-US" dirty="0" smtClean="0">
                <a:latin typeface="Arial" charset="0"/>
                <a:ea typeface="Arial" charset="0"/>
                <a:cs typeface="Arial" charset="0"/>
              </a:rPr>
              <a:t> Specialty</a:t>
            </a:r>
          </a:p>
          <a:p>
            <a:r>
              <a:rPr lang="en-US" dirty="0" smtClean="0">
                <a:latin typeface="Arial" charset="0"/>
                <a:ea typeface="Arial" charset="0"/>
                <a:cs typeface="Arial" charset="0"/>
              </a:rPr>
              <a:t>Microservices Representative Eco-System</a:t>
            </a:r>
          </a:p>
          <a:p>
            <a:r>
              <a:rPr lang="en-US" dirty="0" smtClean="0">
                <a:latin typeface="Arial" charset="0"/>
                <a:ea typeface="Arial" charset="0"/>
                <a:cs typeface="Arial" charset="0"/>
              </a:rPr>
              <a:t>Elements of Microservices Architecture</a:t>
            </a:r>
          </a:p>
          <a:p>
            <a:pPr lvl="1"/>
            <a:r>
              <a:rPr lang="en-US" dirty="0" smtClean="0">
                <a:latin typeface="Arial" charset="0"/>
                <a:ea typeface="Arial" charset="0"/>
                <a:cs typeface="Arial" charset="0"/>
              </a:rPr>
              <a:t>API Management</a:t>
            </a:r>
          </a:p>
          <a:p>
            <a:pPr lvl="2"/>
            <a:r>
              <a:rPr lang="en-US" dirty="0" smtClean="0">
                <a:latin typeface="Arial" charset="0"/>
                <a:ea typeface="Arial" charset="0"/>
                <a:cs typeface="Arial" charset="0"/>
              </a:rPr>
              <a:t>API Gateway Pattern</a:t>
            </a:r>
          </a:p>
          <a:p>
            <a:pPr lvl="2"/>
            <a:r>
              <a:rPr lang="en-US" dirty="0">
                <a:latin typeface="Arial" charset="0"/>
                <a:ea typeface="Arial" charset="0"/>
                <a:cs typeface="Arial" charset="0"/>
              </a:rPr>
              <a:t>API </a:t>
            </a:r>
            <a:r>
              <a:rPr lang="en-US" dirty="0" smtClean="0">
                <a:latin typeface="Arial" charset="0"/>
                <a:ea typeface="Arial" charset="0"/>
                <a:cs typeface="Arial" charset="0"/>
              </a:rPr>
              <a:t>Management - Security</a:t>
            </a:r>
          </a:p>
          <a:p>
            <a:pPr lvl="2"/>
            <a:r>
              <a:rPr lang="en-US" dirty="0" smtClean="0">
                <a:latin typeface="Arial" charset="0"/>
                <a:ea typeface="Arial" charset="0"/>
                <a:cs typeface="Arial" charset="0"/>
              </a:rPr>
              <a:t>API Management - Analytics</a:t>
            </a:r>
          </a:p>
          <a:p>
            <a:pPr lvl="1"/>
            <a:r>
              <a:rPr lang="en-US" dirty="0" smtClean="0">
                <a:latin typeface="Arial" charset="0"/>
                <a:ea typeface="Arial" charset="0"/>
                <a:cs typeface="Arial" charset="0"/>
              </a:rPr>
              <a:t>Client Side - API Management Logical View</a:t>
            </a:r>
          </a:p>
          <a:p>
            <a:pPr lvl="1"/>
            <a:r>
              <a:rPr lang="en-US" dirty="0" smtClean="0">
                <a:latin typeface="Arial" charset="0"/>
                <a:ea typeface="Arial" charset="0"/>
                <a:cs typeface="Arial" charset="0"/>
              </a:rPr>
              <a:t>Client Side - API Management Products</a:t>
            </a:r>
          </a:p>
          <a:p>
            <a:pPr lvl="1"/>
            <a:r>
              <a:rPr lang="en-US" dirty="0" smtClean="0">
                <a:latin typeface="Arial" charset="0"/>
                <a:ea typeface="Arial" charset="0"/>
                <a:cs typeface="Arial" charset="0"/>
              </a:rPr>
              <a:t>Service Side - Service Discovery Products</a:t>
            </a:r>
          </a:p>
          <a:p>
            <a:pPr lvl="2"/>
            <a:r>
              <a:rPr lang="en-US" dirty="0">
                <a:latin typeface="Arial" charset="0"/>
                <a:ea typeface="Arial" charset="0"/>
                <a:cs typeface="Arial" charset="0"/>
              </a:rPr>
              <a:t>Service Discovery </a:t>
            </a:r>
            <a:r>
              <a:rPr lang="en-US" dirty="0" smtClean="0">
                <a:latin typeface="Arial" charset="0"/>
                <a:ea typeface="Arial" charset="0"/>
                <a:cs typeface="Arial" charset="0"/>
              </a:rPr>
              <a:t>Pattern</a:t>
            </a:r>
          </a:p>
          <a:p>
            <a:pPr lvl="2"/>
            <a:r>
              <a:rPr lang="en-US" dirty="0" smtClean="0">
                <a:latin typeface="Arial" charset="0"/>
                <a:ea typeface="Arial" charset="0"/>
                <a:cs typeface="Arial" charset="0"/>
              </a:rPr>
              <a:t>Monitoring &amp; Logging</a:t>
            </a:r>
            <a:endParaRPr lang="en-US" dirty="0">
              <a:latin typeface="Arial" charset="0"/>
              <a:ea typeface="Arial" charset="0"/>
              <a:cs typeface="Arial" charset="0"/>
            </a:endParaRPr>
          </a:p>
          <a:p>
            <a:pPr lvl="2"/>
            <a:r>
              <a:rPr lang="en-US" dirty="0">
                <a:latin typeface="Arial" charset="0"/>
                <a:ea typeface="Arial" charset="0"/>
                <a:cs typeface="Arial" charset="0"/>
              </a:rPr>
              <a:t>Circuit Breaker Pattern</a:t>
            </a:r>
          </a:p>
          <a:p>
            <a:endParaRPr lang="en-US" dirty="0"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151D609-1948-4661-8BC6-AB1E16B109F4}" type="slidenum">
              <a:rPr lang="en-US" smtClean="0"/>
              <a:pPr/>
              <a:t>2</a:t>
            </a:fld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ervice Observability - Products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970ACE7-7972-4389-A70A-097F415613C7}" type="slidenum">
              <a:rPr lang="en-US" smtClean="0"/>
              <a:pPr/>
              <a:t>20</a:t>
            </a:fld>
            <a:endParaRPr lang="en-US" dirty="0"/>
          </a:p>
        </p:txBody>
      </p:sp>
      <p:sp>
        <p:nvSpPr>
          <p:cNvPr id="5" name="TextBox 4"/>
          <p:cNvSpPr txBox="1"/>
          <p:nvPr/>
        </p:nvSpPr>
        <p:spPr>
          <a:xfrm>
            <a:off x="1718475" y="1512278"/>
            <a:ext cx="1483098" cy="190821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b="0" u="sng" dirty="0" smtClean="0">
                <a:latin typeface="Lato" charset="0"/>
                <a:ea typeface="Lato" charset="0"/>
                <a:cs typeface="Lato" charset="0"/>
              </a:rPr>
              <a:t>Monitoring</a:t>
            </a:r>
          </a:p>
          <a:p>
            <a:pPr algn="l"/>
            <a:endParaRPr lang="en-US" b="0" dirty="0" smtClean="0">
              <a:latin typeface="Lato" charset="0"/>
              <a:ea typeface="Lato" charset="0"/>
              <a:cs typeface="Lato" charset="0"/>
            </a:endParaRPr>
          </a:p>
          <a:p>
            <a:pPr marL="342900" indent="-342900" algn="l">
              <a:spcAft>
                <a:spcPts val="600"/>
              </a:spcAft>
              <a:buAutoNum type="arabicPeriod"/>
            </a:pPr>
            <a:r>
              <a:rPr lang="en-US" b="0" dirty="0" smtClean="0">
                <a:latin typeface="Lato" charset="0"/>
                <a:ea typeface="Lato" charset="0"/>
                <a:cs typeface="Lato" charset="0"/>
              </a:rPr>
              <a:t>Graphite</a:t>
            </a:r>
          </a:p>
          <a:p>
            <a:pPr marL="342900" indent="-342900" algn="l">
              <a:spcAft>
                <a:spcPts val="600"/>
              </a:spcAft>
              <a:buAutoNum type="arabicPeriod"/>
            </a:pPr>
            <a:r>
              <a:rPr lang="en-US" b="0" dirty="0" smtClean="0">
                <a:latin typeface="Lato" charset="0"/>
                <a:ea typeface="Lato" charset="0"/>
                <a:cs typeface="Lato" charset="0"/>
              </a:rPr>
              <a:t>OpenTSDB</a:t>
            </a:r>
          </a:p>
          <a:p>
            <a:pPr marL="342900" indent="-342900" algn="l">
              <a:spcAft>
                <a:spcPts val="600"/>
              </a:spcAft>
              <a:buAutoNum type="arabicPeriod"/>
            </a:pPr>
            <a:r>
              <a:rPr lang="en-US" b="0" dirty="0" smtClean="0">
                <a:latin typeface="Lato" charset="0"/>
                <a:ea typeface="Lato" charset="0"/>
                <a:cs typeface="Lato" charset="0"/>
              </a:rPr>
              <a:t>InfluxDB</a:t>
            </a:r>
          </a:p>
          <a:p>
            <a:pPr marL="342900" indent="-342900" algn="l">
              <a:spcAft>
                <a:spcPts val="600"/>
              </a:spcAft>
              <a:buAutoNum type="arabicPeriod"/>
            </a:pPr>
            <a:r>
              <a:rPr lang="en-US" b="0" dirty="0" smtClean="0">
                <a:latin typeface="Lato" charset="0"/>
                <a:ea typeface="Lato" charset="0"/>
                <a:cs typeface="Lato" charset="0"/>
              </a:rPr>
              <a:t>Prometheus</a:t>
            </a:r>
          </a:p>
          <a:p>
            <a:pPr marL="342900" indent="-342900" algn="l">
              <a:spcAft>
                <a:spcPts val="600"/>
              </a:spcAft>
              <a:buAutoNum type="arabicPeriod"/>
            </a:pPr>
            <a:r>
              <a:rPr lang="en-US" b="0" dirty="0" err="1" smtClean="0">
                <a:latin typeface="Lato" charset="0"/>
                <a:ea typeface="Lato" charset="0"/>
                <a:cs typeface="Lato" charset="0"/>
              </a:rPr>
              <a:t>SpringBoot</a:t>
            </a:r>
            <a:r>
              <a:rPr lang="en-US" b="0" dirty="0" smtClean="0">
                <a:latin typeface="Lato" charset="0"/>
                <a:ea typeface="Lato" charset="0"/>
                <a:cs typeface="Lato" charset="0"/>
              </a:rPr>
              <a:t> </a:t>
            </a:r>
            <a:endParaRPr lang="en-US" b="0" dirty="0">
              <a:latin typeface="Lato" charset="0"/>
              <a:ea typeface="Lato" charset="0"/>
              <a:cs typeface="Lato" charset="0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5095875" y="1512278"/>
            <a:ext cx="3642344" cy="278537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b="0" u="sng" dirty="0" smtClean="0">
                <a:latin typeface="Lato" charset="0"/>
                <a:ea typeface="Lato" charset="0"/>
                <a:cs typeface="Lato" charset="0"/>
              </a:rPr>
              <a:t>Logging</a:t>
            </a:r>
          </a:p>
          <a:p>
            <a:pPr algn="l"/>
            <a:endParaRPr lang="en-US" b="0" dirty="0" smtClean="0">
              <a:latin typeface="Lato" charset="0"/>
              <a:ea typeface="Lato" charset="0"/>
              <a:cs typeface="Lato" charset="0"/>
            </a:endParaRPr>
          </a:p>
          <a:p>
            <a:pPr marL="342900" indent="-342900" algn="l">
              <a:spcAft>
                <a:spcPts val="600"/>
              </a:spcAft>
              <a:buFont typeface="Arial" charset="0"/>
              <a:buChar char="•"/>
            </a:pPr>
            <a:r>
              <a:rPr lang="en-US" b="0" dirty="0" smtClean="0">
                <a:latin typeface="Lato" charset="0"/>
                <a:ea typeface="Lato" charset="0"/>
                <a:cs typeface="Lato" charset="0"/>
              </a:rPr>
              <a:t>Hosted</a:t>
            </a:r>
          </a:p>
          <a:p>
            <a:pPr marL="800100" lvl="1" indent="-342900" algn="l">
              <a:spcAft>
                <a:spcPts val="600"/>
              </a:spcAft>
              <a:buFont typeface="Arial" charset="0"/>
              <a:buChar char="•"/>
            </a:pPr>
            <a:r>
              <a:rPr lang="en-US" b="0" dirty="0" smtClean="0">
                <a:latin typeface="Lato" charset="0"/>
                <a:ea typeface="Lato" charset="0"/>
                <a:cs typeface="Lato" charset="0"/>
              </a:rPr>
              <a:t>Logentries</a:t>
            </a:r>
          </a:p>
          <a:p>
            <a:pPr marL="800100" lvl="1" indent="-342900" algn="l">
              <a:spcAft>
                <a:spcPts val="600"/>
              </a:spcAft>
              <a:buFont typeface="Arial" charset="0"/>
              <a:buChar char="•"/>
            </a:pPr>
            <a:r>
              <a:rPr lang="en-US" b="0" dirty="0">
                <a:latin typeface="Lato" charset="0"/>
                <a:ea typeface="Lato" charset="0"/>
                <a:cs typeface="Lato" charset="0"/>
              </a:rPr>
              <a:t>L</a:t>
            </a:r>
            <a:r>
              <a:rPr lang="en-US" b="0" dirty="0" smtClean="0">
                <a:latin typeface="Lato" charset="0"/>
                <a:ea typeface="Lato" charset="0"/>
                <a:cs typeface="Lato" charset="0"/>
              </a:rPr>
              <a:t>oggly</a:t>
            </a:r>
          </a:p>
          <a:p>
            <a:pPr marL="342900" indent="-342900" algn="l">
              <a:spcAft>
                <a:spcPts val="600"/>
              </a:spcAft>
              <a:buFont typeface="Arial" charset="0"/>
              <a:buChar char="•"/>
            </a:pPr>
            <a:r>
              <a:rPr lang="en-US" b="0" dirty="0" smtClean="0">
                <a:latin typeface="Lato" charset="0"/>
                <a:ea typeface="Lato" charset="0"/>
                <a:cs typeface="Lato" charset="0"/>
              </a:rPr>
              <a:t>Home grown</a:t>
            </a:r>
          </a:p>
          <a:p>
            <a:pPr marL="800100" lvl="1" indent="-342900" algn="l">
              <a:spcAft>
                <a:spcPts val="600"/>
              </a:spcAft>
              <a:buFont typeface="Arial" charset="0"/>
              <a:buChar char="•"/>
            </a:pPr>
            <a:r>
              <a:rPr lang="en-US" b="0" dirty="0" smtClean="0">
                <a:latin typeface="Lato" charset="0"/>
                <a:ea typeface="Lato" charset="0"/>
                <a:cs typeface="Lato" charset="0"/>
              </a:rPr>
              <a:t>Send logs to Database or Hadoop</a:t>
            </a:r>
          </a:p>
          <a:p>
            <a:pPr marL="342900" indent="-342900" algn="l">
              <a:spcAft>
                <a:spcPts val="600"/>
              </a:spcAft>
              <a:buFont typeface="Arial" charset="0"/>
              <a:buChar char="•"/>
            </a:pPr>
            <a:r>
              <a:rPr lang="en-US" b="0" dirty="0" smtClean="0">
                <a:latin typeface="Lato" charset="0"/>
                <a:ea typeface="Lato" charset="0"/>
                <a:cs typeface="Lato" charset="0"/>
              </a:rPr>
              <a:t>On Prem</a:t>
            </a:r>
          </a:p>
          <a:p>
            <a:pPr marL="800100" lvl="1" indent="-342900" algn="l">
              <a:spcAft>
                <a:spcPts val="600"/>
              </a:spcAft>
              <a:buFont typeface="Arial" charset="0"/>
              <a:buChar char="•"/>
            </a:pPr>
            <a:r>
              <a:rPr lang="en-US" b="0" dirty="0" smtClean="0">
                <a:latin typeface="Lato" charset="0"/>
                <a:ea typeface="Lato" charset="0"/>
                <a:cs typeface="Lato" charset="0"/>
              </a:rPr>
              <a:t>Splunk</a:t>
            </a:r>
          </a:p>
          <a:p>
            <a:pPr marL="800100" lvl="1" indent="-342900" algn="l">
              <a:spcAft>
                <a:spcPts val="600"/>
              </a:spcAft>
              <a:buFont typeface="Arial" charset="0"/>
              <a:buChar char="•"/>
            </a:pPr>
            <a:r>
              <a:rPr lang="en-US" b="0" dirty="0" smtClean="0">
                <a:latin typeface="Lato" charset="0"/>
                <a:ea typeface="Lato" charset="0"/>
                <a:cs typeface="Lato" charset="0"/>
              </a:rPr>
              <a:t>ELK Stack</a:t>
            </a:r>
            <a:endParaRPr lang="en-US" b="0" dirty="0">
              <a:latin typeface="Lato" charset="0"/>
              <a:ea typeface="Lato" charset="0"/>
              <a:cs typeface="Lato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1718475" y="5561156"/>
            <a:ext cx="262924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mtClean="0"/>
              <a:t>Recommended : </a:t>
            </a:r>
            <a:r>
              <a:rPr lang="en-US" b="0">
                <a:latin typeface="Lato" charset="0"/>
                <a:ea typeface="Lato" charset="0"/>
                <a:cs typeface="Lato" charset="0"/>
              </a:rPr>
              <a:t>Prometheus</a:t>
            </a:r>
            <a:r>
              <a:rPr lang="en-US" smtClean="0"/>
              <a:t> </a:t>
            </a:r>
            <a:endParaRPr lang="en-US"/>
          </a:p>
        </p:txBody>
      </p:sp>
      <p:sp>
        <p:nvSpPr>
          <p:cNvPr id="8" name="TextBox 7"/>
          <p:cNvSpPr txBox="1"/>
          <p:nvPr/>
        </p:nvSpPr>
        <p:spPr>
          <a:xfrm>
            <a:off x="5499832" y="5561156"/>
            <a:ext cx="241764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lvl="1"/>
            <a:r>
              <a:rPr lang="en-US" dirty="0" smtClean="0"/>
              <a:t>Recommended : </a:t>
            </a:r>
            <a:r>
              <a:rPr lang="en-US" b="0" dirty="0">
                <a:latin typeface="Lato" charset="0"/>
                <a:ea typeface="Lato" charset="0"/>
                <a:cs typeface="Lato" charset="0"/>
              </a:rPr>
              <a:t>ELK </a:t>
            </a:r>
            <a:r>
              <a:rPr lang="en-US" b="0" dirty="0" smtClean="0">
                <a:latin typeface="Lato" charset="0"/>
                <a:ea typeface="Lato" charset="0"/>
                <a:cs typeface="Lato" charset="0"/>
              </a:rPr>
              <a:t>Stack</a:t>
            </a:r>
            <a:endParaRPr lang="en-US" b="0" dirty="0">
              <a:latin typeface="Lato" charset="0"/>
              <a:ea typeface="Lato" charset="0"/>
              <a:cs typeface="Lato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08961519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ircuit Breaker pattern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970ACE7-7972-4389-A70A-097F415613C7}" type="slidenum">
              <a:rPr lang="en-US" smtClean="0"/>
              <a:pPr/>
              <a:t>21</a:t>
            </a:fld>
            <a:endParaRPr lang="en-US" dirty="0"/>
          </a:p>
        </p:txBody>
      </p:sp>
      <p:sp>
        <p:nvSpPr>
          <p:cNvPr id="6" name="Rounded Rectangle 5"/>
          <p:cNvSpPr/>
          <p:nvPr/>
        </p:nvSpPr>
        <p:spPr bwMode="auto">
          <a:xfrm>
            <a:off x="871538" y="3534606"/>
            <a:ext cx="1181686" cy="815926"/>
          </a:xfrm>
          <a:prstGeom prst="roundRect">
            <a:avLst/>
          </a:prstGeom>
          <a:noFill/>
          <a:ln w="9525" cap="flat" cmpd="sng" algn="ctr">
            <a:solidFill>
              <a:schemeClr val="bg2">
                <a:lumMod val="75000"/>
              </a:schemeClr>
            </a:solidFill>
            <a:prstDash val="solid"/>
            <a:round/>
            <a:headEnd type="none" w="lg" len="lg"/>
            <a:tailEnd type="none" w="lg" len="lg"/>
          </a:ln>
          <a:effectLst/>
        </p:spPr>
        <p:txBody>
          <a:bodyPr vert="horz" wrap="none" lIns="91440" tIns="91440" rIns="91440" bIns="9144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05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Lato" charset="0"/>
                <a:ea typeface="Lato" charset="0"/>
                <a:cs typeface="Lato" charset="0"/>
              </a:rPr>
              <a:t>Client</a:t>
            </a:r>
          </a:p>
        </p:txBody>
      </p:sp>
      <p:cxnSp>
        <p:nvCxnSpPr>
          <p:cNvPr id="7" name="Straight Arrow Connector 6"/>
          <p:cNvCxnSpPr>
            <a:stCxn id="10" idx="3"/>
          </p:cNvCxnSpPr>
          <p:nvPr/>
        </p:nvCxnSpPr>
        <p:spPr bwMode="auto">
          <a:xfrm>
            <a:off x="2053224" y="3942569"/>
            <a:ext cx="562707" cy="0"/>
          </a:xfrm>
          <a:prstGeom prst="straightConnector1">
            <a:avLst/>
          </a:prstGeom>
          <a:solidFill>
            <a:schemeClr val="accent1"/>
          </a:solidFill>
          <a:ln w="28575" cap="flat" cmpd="sng" algn="ctr">
            <a:solidFill>
              <a:srgbClr val="00B050"/>
            </a:solidFill>
            <a:prstDash val="solid"/>
            <a:round/>
            <a:headEnd type="none" w="lg" len="lg"/>
            <a:tailEnd type="triangle"/>
          </a:ln>
          <a:effectLst/>
        </p:spPr>
      </p:cxnSp>
      <p:sp>
        <p:nvSpPr>
          <p:cNvPr id="8" name="Rounded Rectangle 7"/>
          <p:cNvSpPr/>
          <p:nvPr/>
        </p:nvSpPr>
        <p:spPr bwMode="auto">
          <a:xfrm>
            <a:off x="2644067" y="3534606"/>
            <a:ext cx="1181686" cy="815926"/>
          </a:xfrm>
          <a:prstGeom prst="roundRect">
            <a:avLst/>
          </a:prstGeom>
          <a:noFill/>
          <a:ln w="9525" cap="flat" cmpd="sng" algn="ctr">
            <a:solidFill>
              <a:schemeClr val="bg2">
                <a:lumMod val="75000"/>
              </a:schemeClr>
            </a:solidFill>
            <a:prstDash val="solid"/>
            <a:round/>
            <a:headEnd type="none" w="lg" len="lg"/>
            <a:tailEnd type="none" w="lg" len="lg"/>
          </a:ln>
          <a:effectLst/>
        </p:spPr>
        <p:txBody>
          <a:bodyPr vert="horz" wrap="none" lIns="91440" tIns="91440" rIns="91440" bIns="9144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05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Lato" charset="0"/>
                <a:ea typeface="Lato" charset="0"/>
                <a:cs typeface="Lato" charset="0"/>
              </a:rPr>
              <a:t>API </a:t>
            </a:r>
          </a:p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05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Lato" charset="0"/>
                <a:ea typeface="Lato" charset="0"/>
                <a:cs typeface="Lato" charset="0"/>
              </a:rPr>
              <a:t>Gateway</a:t>
            </a:r>
          </a:p>
        </p:txBody>
      </p:sp>
      <p:sp>
        <p:nvSpPr>
          <p:cNvPr id="9" name="Rounded Rectangle 8"/>
          <p:cNvSpPr/>
          <p:nvPr/>
        </p:nvSpPr>
        <p:spPr bwMode="auto">
          <a:xfrm>
            <a:off x="4349628" y="2449046"/>
            <a:ext cx="1181686" cy="815926"/>
          </a:xfrm>
          <a:prstGeom prst="roundRect">
            <a:avLst/>
          </a:prstGeom>
          <a:noFill/>
          <a:ln w="9525" cap="flat" cmpd="sng" algn="ctr">
            <a:solidFill>
              <a:schemeClr val="bg2">
                <a:lumMod val="75000"/>
              </a:schemeClr>
            </a:solidFill>
            <a:prstDash val="solid"/>
            <a:round/>
            <a:headEnd type="none" w="lg" len="lg"/>
            <a:tailEnd type="none" w="lg" len="lg"/>
          </a:ln>
          <a:effectLst/>
        </p:spPr>
        <p:txBody>
          <a:bodyPr vert="horz" wrap="none" lIns="91440" tIns="91440" rIns="91440" bIns="9144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05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Lato" charset="0"/>
                <a:ea typeface="Lato" charset="0"/>
                <a:cs typeface="Lato" charset="0"/>
              </a:rPr>
              <a:t>LB</a:t>
            </a:r>
          </a:p>
        </p:txBody>
      </p:sp>
      <p:sp>
        <p:nvSpPr>
          <p:cNvPr id="10" name="Rounded Rectangle 9"/>
          <p:cNvSpPr/>
          <p:nvPr/>
        </p:nvSpPr>
        <p:spPr bwMode="auto">
          <a:xfrm>
            <a:off x="4371059" y="3535653"/>
            <a:ext cx="1181686" cy="815926"/>
          </a:xfrm>
          <a:prstGeom prst="roundRect">
            <a:avLst/>
          </a:prstGeom>
          <a:noFill/>
          <a:ln w="9525" cap="flat" cmpd="sng" algn="ctr">
            <a:solidFill>
              <a:schemeClr val="bg2">
                <a:lumMod val="75000"/>
              </a:schemeClr>
            </a:solidFill>
            <a:prstDash val="solid"/>
            <a:round/>
            <a:headEnd type="none" w="lg" len="lg"/>
            <a:tailEnd type="none" w="lg" len="lg"/>
          </a:ln>
          <a:effectLst/>
        </p:spPr>
        <p:txBody>
          <a:bodyPr vert="horz" wrap="none" lIns="91440" tIns="91440" rIns="91440" bIns="9144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05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Lato" charset="0"/>
                <a:ea typeface="Lato" charset="0"/>
                <a:cs typeface="Lato" charset="0"/>
              </a:rPr>
              <a:t>LB</a:t>
            </a:r>
          </a:p>
        </p:txBody>
      </p:sp>
      <p:sp>
        <p:nvSpPr>
          <p:cNvPr id="11" name="Rounded Rectangle 10"/>
          <p:cNvSpPr/>
          <p:nvPr/>
        </p:nvSpPr>
        <p:spPr bwMode="auto">
          <a:xfrm>
            <a:off x="4371059" y="4622259"/>
            <a:ext cx="1181686" cy="815926"/>
          </a:xfrm>
          <a:prstGeom prst="roundRect">
            <a:avLst/>
          </a:prstGeom>
          <a:noFill/>
          <a:ln w="9525" cap="flat" cmpd="sng" algn="ctr">
            <a:solidFill>
              <a:schemeClr val="bg2">
                <a:lumMod val="75000"/>
              </a:schemeClr>
            </a:solidFill>
            <a:prstDash val="solid"/>
            <a:round/>
            <a:headEnd type="none" w="lg" len="lg"/>
            <a:tailEnd type="none" w="lg" len="lg"/>
          </a:ln>
          <a:effectLst/>
        </p:spPr>
        <p:txBody>
          <a:bodyPr vert="horz" wrap="none" lIns="91440" tIns="91440" rIns="91440" bIns="9144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05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Lato" charset="0"/>
                <a:ea typeface="Lato" charset="0"/>
                <a:cs typeface="Lato" charset="0"/>
              </a:rPr>
              <a:t>LB</a:t>
            </a:r>
          </a:p>
        </p:txBody>
      </p:sp>
      <p:sp>
        <p:nvSpPr>
          <p:cNvPr id="12" name="Rounded Rectangle 11"/>
          <p:cNvSpPr/>
          <p:nvPr/>
        </p:nvSpPr>
        <p:spPr bwMode="auto">
          <a:xfrm>
            <a:off x="6187806" y="2449046"/>
            <a:ext cx="1181686" cy="815926"/>
          </a:xfrm>
          <a:prstGeom prst="roundRect">
            <a:avLst/>
          </a:prstGeom>
          <a:noFill/>
          <a:ln w="9525" cap="flat" cmpd="sng" algn="ctr">
            <a:solidFill>
              <a:schemeClr val="bg2">
                <a:lumMod val="75000"/>
              </a:schemeClr>
            </a:solidFill>
            <a:prstDash val="solid"/>
            <a:round/>
            <a:headEnd type="none" w="lg" len="lg"/>
            <a:tailEnd type="none" w="lg" len="lg"/>
          </a:ln>
          <a:effectLst/>
        </p:spPr>
        <p:txBody>
          <a:bodyPr vert="horz" wrap="none" lIns="91440" tIns="91440" rIns="91440" bIns="9144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05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Lato" charset="0"/>
                <a:ea typeface="Lato" charset="0"/>
                <a:cs typeface="Lato" charset="0"/>
              </a:rPr>
              <a:t>Service A</a:t>
            </a:r>
          </a:p>
        </p:txBody>
      </p:sp>
      <p:sp>
        <p:nvSpPr>
          <p:cNvPr id="13" name="Rounded Rectangle 12"/>
          <p:cNvSpPr/>
          <p:nvPr/>
        </p:nvSpPr>
        <p:spPr bwMode="auto">
          <a:xfrm>
            <a:off x="6187806" y="3548674"/>
            <a:ext cx="1181686" cy="815926"/>
          </a:xfrm>
          <a:prstGeom prst="roundRect">
            <a:avLst/>
          </a:prstGeom>
          <a:noFill/>
          <a:ln w="9525" cap="flat" cmpd="sng" algn="ctr">
            <a:solidFill>
              <a:schemeClr val="bg2">
                <a:lumMod val="75000"/>
              </a:schemeClr>
            </a:solidFill>
            <a:prstDash val="solid"/>
            <a:round/>
            <a:headEnd type="none" w="lg" len="lg"/>
            <a:tailEnd type="none" w="lg" len="lg"/>
          </a:ln>
          <a:effectLst/>
        </p:spPr>
        <p:txBody>
          <a:bodyPr vert="horz" wrap="none" lIns="91440" tIns="91440" rIns="91440" bIns="9144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05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Lato" charset="0"/>
                <a:ea typeface="Lato" charset="0"/>
                <a:cs typeface="Lato" charset="0"/>
              </a:rPr>
              <a:t>Service B</a:t>
            </a:r>
            <a:endParaRPr kumimoji="0" lang="en-US" sz="105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Lato" charset="0"/>
              <a:ea typeface="Lato" charset="0"/>
              <a:cs typeface="Lato" charset="0"/>
            </a:endParaRPr>
          </a:p>
        </p:txBody>
      </p:sp>
      <p:sp>
        <p:nvSpPr>
          <p:cNvPr id="14" name="Rounded Rectangle 13"/>
          <p:cNvSpPr/>
          <p:nvPr/>
        </p:nvSpPr>
        <p:spPr bwMode="auto">
          <a:xfrm>
            <a:off x="6187806" y="4622259"/>
            <a:ext cx="1181686" cy="815926"/>
          </a:xfrm>
          <a:prstGeom prst="roundRect">
            <a:avLst/>
          </a:prstGeom>
          <a:noFill/>
          <a:ln w="9525" cap="flat" cmpd="sng" algn="ctr">
            <a:solidFill>
              <a:schemeClr val="bg2">
                <a:lumMod val="75000"/>
              </a:schemeClr>
            </a:solidFill>
            <a:prstDash val="solid"/>
            <a:round/>
            <a:headEnd type="none" w="lg" len="lg"/>
            <a:tailEnd type="none" w="lg" len="lg"/>
          </a:ln>
          <a:effectLst/>
        </p:spPr>
        <p:txBody>
          <a:bodyPr vert="horz" wrap="none" lIns="91440" tIns="91440" rIns="91440" bIns="9144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05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Lato" charset="0"/>
                <a:ea typeface="Lato" charset="0"/>
                <a:cs typeface="Lato" charset="0"/>
              </a:rPr>
              <a:t>Service C</a:t>
            </a:r>
          </a:p>
        </p:txBody>
      </p:sp>
      <p:cxnSp>
        <p:nvCxnSpPr>
          <p:cNvPr id="15" name="Straight Arrow Connector 15"/>
          <p:cNvCxnSpPr>
            <a:stCxn id="13" idx="3"/>
            <a:endCxn id="14" idx="1"/>
          </p:cNvCxnSpPr>
          <p:nvPr/>
        </p:nvCxnSpPr>
        <p:spPr bwMode="auto">
          <a:xfrm flipV="1">
            <a:off x="3825753" y="2857009"/>
            <a:ext cx="523875" cy="1085560"/>
          </a:xfrm>
          <a:prstGeom prst="bentConnector3">
            <a:avLst>
              <a:gd name="adj1" fmla="val 50000"/>
            </a:avLst>
          </a:prstGeom>
          <a:solidFill>
            <a:schemeClr val="accent1"/>
          </a:solidFill>
          <a:ln w="28575" cap="flat" cmpd="sng" algn="ctr">
            <a:solidFill>
              <a:srgbClr val="00B050"/>
            </a:solidFill>
            <a:prstDash val="solid"/>
            <a:round/>
            <a:headEnd type="none" w="lg" len="lg"/>
            <a:tailEnd type="triangle"/>
          </a:ln>
          <a:effectLst/>
        </p:spPr>
      </p:cxnSp>
      <p:cxnSp>
        <p:nvCxnSpPr>
          <p:cNvPr id="16" name="Straight Arrow Connector 15"/>
          <p:cNvCxnSpPr>
            <a:stCxn id="13" idx="3"/>
            <a:endCxn id="15" idx="1"/>
          </p:cNvCxnSpPr>
          <p:nvPr/>
        </p:nvCxnSpPr>
        <p:spPr bwMode="auto">
          <a:xfrm>
            <a:off x="3825753" y="3942569"/>
            <a:ext cx="545306" cy="1047"/>
          </a:xfrm>
          <a:prstGeom prst="bentConnector3">
            <a:avLst>
              <a:gd name="adj1" fmla="val 50000"/>
            </a:avLst>
          </a:prstGeom>
          <a:solidFill>
            <a:schemeClr val="accent1"/>
          </a:solidFill>
          <a:ln w="28575" cap="flat" cmpd="sng" algn="ctr">
            <a:solidFill>
              <a:srgbClr val="00B050"/>
            </a:solidFill>
            <a:prstDash val="solid"/>
            <a:round/>
            <a:headEnd type="none" w="lg" len="lg"/>
            <a:tailEnd type="triangle"/>
          </a:ln>
          <a:effectLst/>
        </p:spPr>
      </p:cxnSp>
      <p:cxnSp>
        <p:nvCxnSpPr>
          <p:cNvPr id="17" name="Straight Arrow Connector 15"/>
          <p:cNvCxnSpPr>
            <a:stCxn id="13" idx="3"/>
            <a:endCxn id="16" idx="1"/>
          </p:cNvCxnSpPr>
          <p:nvPr/>
        </p:nvCxnSpPr>
        <p:spPr bwMode="auto">
          <a:xfrm>
            <a:off x="3825753" y="3942569"/>
            <a:ext cx="545306" cy="1087653"/>
          </a:xfrm>
          <a:prstGeom prst="bentConnector3">
            <a:avLst>
              <a:gd name="adj1" fmla="val 47420"/>
            </a:avLst>
          </a:prstGeom>
          <a:solidFill>
            <a:schemeClr val="accent1"/>
          </a:solidFill>
          <a:ln w="28575" cap="flat" cmpd="sng" algn="ctr">
            <a:solidFill>
              <a:srgbClr val="CC0000"/>
            </a:solidFill>
            <a:prstDash val="solid"/>
            <a:round/>
            <a:headEnd type="none" w="lg" len="lg"/>
            <a:tailEnd type="triangle"/>
          </a:ln>
          <a:effectLst/>
        </p:spPr>
      </p:cxnSp>
      <p:cxnSp>
        <p:nvCxnSpPr>
          <p:cNvPr id="18" name="Straight Arrow Connector 17"/>
          <p:cNvCxnSpPr>
            <a:stCxn id="14" idx="3"/>
            <a:endCxn id="17" idx="1"/>
          </p:cNvCxnSpPr>
          <p:nvPr/>
        </p:nvCxnSpPr>
        <p:spPr bwMode="auto">
          <a:xfrm>
            <a:off x="5531314" y="2857009"/>
            <a:ext cx="656492" cy="0"/>
          </a:xfrm>
          <a:prstGeom prst="straightConnector1">
            <a:avLst/>
          </a:prstGeom>
          <a:solidFill>
            <a:schemeClr val="accent1"/>
          </a:solidFill>
          <a:ln w="28575" cap="flat" cmpd="sng" algn="ctr">
            <a:solidFill>
              <a:srgbClr val="00B050"/>
            </a:solidFill>
            <a:prstDash val="solid"/>
            <a:round/>
            <a:headEnd type="none" w="lg" len="lg"/>
            <a:tailEnd type="triangle"/>
          </a:ln>
          <a:effectLst/>
        </p:spPr>
      </p:cxnSp>
      <p:cxnSp>
        <p:nvCxnSpPr>
          <p:cNvPr id="19" name="Straight Arrow Connector 18"/>
          <p:cNvCxnSpPr>
            <a:stCxn id="15" idx="3"/>
          </p:cNvCxnSpPr>
          <p:nvPr/>
        </p:nvCxnSpPr>
        <p:spPr bwMode="auto">
          <a:xfrm flipV="1">
            <a:off x="5552745" y="3942569"/>
            <a:ext cx="656492" cy="1047"/>
          </a:xfrm>
          <a:prstGeom prst="straightConnector1">
            <a:avLst/>
          </a:prstGeom>
          <a:solidFill>
            <a:schemeClr val="accent1"/>
          </a:solidFill>
          <a:ln w="28575" cap="flat" cmpd="sng" algn="ctr">
            <a:solidFill>
              <a:srgbClr val="00B050"/>
            </a:solidFill>
            <a:prstDash val="solid"/>
            <a:round/>
            <a:headEnd type="none" w="lg" len="lg"/>
            <a:tailEnd type="triangle"/>
          </a:ln>
          <a:effectLst/>
        </p:spPr>
      </p:cxnSp>
      <p:sp>
        <p:nvSpPr>
          <p:cNvPr id="21" name="Rounded Rectangle 20"/>
          <p:cNvSpPr/>
          <p:nvPr/>
        </p:nvSpPr>
        <p:spPr bwMode="auto">
          <a:xfrm>
            <a:off x="7774800" y="2418563"/>
            <a:ext cx="1181686" cy="815926"/>
          </a:xfrm>
          <a:prstGeom prst="roundRect">
            <a:avLst/>
          </a:prstGeom>
          <a:noFill/>
          <a:ln w="9525" cap="flat" cmpd="sng" algn="ctr">
            <a:solidFill>
              <a:schemeClr val="bg2">
                <a:lumMod val="75000"/>
              </a:schemeClr>
            </a:solidFill>
            <a:prstDash val="solid"/>
            <a:round/>
            <a:headEnd type="none" w="lg" len="lg"/>
            <a:tailEnd type="none" w="lg" len="lg"/>
          </a:ln>
          <a:effectLst/>
        </p:spPr>
        <p:txBody>
          <a:bodyPr vert="horz" wrap="none" lIns="91440" tIns="91440" rIns="91440" bIns="9144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05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Lato" charset="0"/>
                <a:ea typeface="Lato" charset="0"/>
                <a:cs typeface="Lato" charset="0"/>
              </a:rPr>
              <a:t>DB Schema</a:t>
            </a:r>
          </a:p>
        </p:txBody>
      </p:sp>
      <p:sp>
        <p:nvSpPr>
          <p:cNvPr id="22" name="Rounded Rectangle 21"/>
          <p:cNvSpPr/>
          <p:nvPr/>
        </p:nvSpPr>
        <p:spPr bwMode="auto">
          <a:xfrm>
            <a:off x="7774800" y="3530181"/>
            <a:ext cx="1181686" cy="815926"/>
          </a:xfrm>
          <a:prstGeom prst="roundRect">
            <a:avLst/>
          </a:prstGeom>
          <a:noFill/>
          <a:ln w="9525" cap="flat" cmpd="sng" algn="ctr">
            <a:solidFill>
              <a:schemeClr val="bg2">
                <a:lumMod val="75000"/>
              </a:schemeClr>
            </a:solidFill>
            <a:prstDash val="solid"/>
            <a:round/>
            <a:headEnd type="none" w="lg" len="lg"/>
            <a:tailEnd type="none" w="lg" len="lg"/>
          </a:ln>
          <a:effectLst/>
        </p:spPr>
        <p:txBody>
          <a:bodyPr vert="horz" wrap="none" lIns="91440" tIns="91440" rIns="91440" bIns="9144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05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Lato" charset="0"/>
                <a:ea typeface="Lato" charset="0"/>
                <a:cs typeface="Lato" charset="0"/>
              </a:rPr>
              <a:t>DB Schema</a:t>
            </a:r>
          </a:p>
        </p:txBody>
      </p:sp>
      <p:sp>
        <p:nvSpPr>
          <p:cNvPr id="23" name="Rounded Rectangle 22"/>
          <p:cNvSpPr/>
          <p:nvPr/>
        </p:nvSpPr>
        <p:spPr bwMode="auto">
          <a:xfrm>
            <a:off x="7774800" y="4641799"/>
            <a:ext cx="1181686" cy="815926"/>
          </a:xfrm>
          <a:prstGeom prst="roundRect">
            <a:avLst/>
          </a:prstGeom>
          <a:noFill/>
          <a:ln w="9525" cap="flat" cmpd="sng" algn="ctr">
            <a:solidFill>
              <a:schemeClr val="bg2">
                <a:lumMod val="75000"/>
              </a:schemeClr>
            </a:solidFill>
            <a:prstDash val="solid"/>
            <a:round/>
            <a:headEnd type="none" w="lg" len="lg"/>
            <a:tailEnd type="none" w="lg" len="lg"/>
          </a:ln>
          <a:effectLst/>
        </p:spPr>
        <p:txBody>
          <a:bodyPr vert="horz" wrap="none" lIns="91440" tIns="91440" rIns="91440" bIns="9144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05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Lato" charset="0"/>
                <a:ea typeface="Lato" charset="0"/>
                <a:cs typeface="Lato" charset="0"/>
              </a:rPr>
              <a:t>DB Schema</a:t>
            </a:r>
          </a:p>
        </p:txBody>
      </p:sp>
      <p:cxnSp>
        <p:nvCxnSpPr>
          <p:cNvPr id="24" name="Straight Arrow Connector 23"/>
          <p:cNvCxnSpPr>
            <a:stCxn id="17" idx="3"/>
          </p:cNvCxnSpPr>
          <p:nvPr/>
        </p:nvCxnSpPr>
        <p:spPr bwMode="auto">
          <a:xfrm>
            <a:off x="7369492" y="2857009"/>
            <a:ext cx="405308" cy="0"/>
          </a:xfrm>
          <a:prstGeom prst="straightConnector1">
            <a:avLst/>
          </a:prstGeom>
          <a:solidFill>
            <a:schemeClr val="accent1"/>
          </a:solidFill>
          <a:ln w="28575" cap="flat" cmpd="sng" algn="ctr">
            <a:solidFill>
              <a:srgbClr val="00B050"/>
            </a:solidFill>
            <a:prstDash val="solid"/>
            <a:round/>
            <a:headEnd type="none" w="lg" len="lg"/>
            <a:tailEnd type="triangle"/>
          </a:ln>
          <a:effectLst/>
        </p:spPr>
      </p:cxnSp>
      <p:cxnSp>
        <p:nvCxnSpPr>
          <p:cNvPr id="25" name="Straight Arrow Connector 24"/>
          <p:cNvCxnSpPr/>
          <p:nvPr/>
        </p:nvCxnSpPr>
        <p:spPr bwMode="auto">
          <a:xfrm>
            <a:off x="7369492" y="3942569"/>
            <a:ext cx="405308" cy="0"/>
          </a:xfrm>
          <a:prstGeom prst="straightConnector1">
            <a:avLst/>
          </a:prstGeom>
          <a:solidFill>
            <a:schemeClr val="accent1"/>
          </a:solidFill>
          <a:ln w="28575" cap="flat" cmpd="sng" algn="ctr">
            <a:solidFill>
              <a:srgbClr val="00B050"/>
            </a:solidFill>
            <a:prstDash val="solid"/>
            <a:round/>
            <a:headEnd type="none" w="lg" len="lg"/>
            <a:tailEnd type="triangle"/>
          </a:ln>
          <a:effectLst/>
        </p:spPr>
      </p:cxnSp>
      <p:cxnSp>
        <p:nvCxnSpPr>
          <p:cNvPr id="26" name="Straight Arrow Connector 25"/>
          <p:cNvCxnSpPr/>
          <p:nvPr/>
        </p:nvCxnSpPr>
        <p:spPr bwMode="auto">
          <a:xfrm>
            <a:off x="7369492" y="5025530"/>
            <a:ext cx="405308" cy="0"/>
          </a:xfrm>
          <a:prstGeom prst="straightConnector1">
            <a:avLst/>
          </a:prstGeom>
          <a:solidFill>
            <a:schemeClr val="accent1"/>
          </a:solidFill>
          <a:ln w="28575" cap="flat" cmpd="sng" algn="ctr">
            <a:solidFill>
              <a:srgbClr val="00B050"/>
            </a:solidFill>
            <a:prstDash val="solid"/>
            <a:round/>
            <a:headEnd type="none" w="lg" len="lg"/>
            <a:tailEnd type="triangle"/>
          </a:ln>
          <a:effectLst/>
        </p:spPr>
      </p:cxnSp>
      <p:cxnSp>
        <p:nvCxnSpPr>
          <p:cNvPr id="34" name="Straight Connector 33"/>
          <p:cNvCxnSpPr/>
          <p:nvPr/>
        </p:nvCxnSpPr>
        <p:spPr bwMode="auto">
          <a:xfrm flipV="1">
            <a:off x="5538676" y="4845265"/>
            <a:ext cx="388190" cy="221570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rgbClr val="CC0000"/>
            </a:solidFill>
            <a:prstDash val="solid"/>
            <a:round/>
            <a:headEnd type="none" w="lg" len="lg"/>
            <a:tailEnd type="none" w="lg" len="lg"/>
          </a:ln>
          <a:effectLst/>
        </p:spPr>
      </p:cxnSp>
      <p:sp>
        <p:nvSpPr>
          <p:cNvPr id="35" name="TextBox 34"/>
          <p:cNvSpPr txBox="1"/>
          <p:nvPr/>
        </p:nvSpPr>
        <p:spPr>
          <a:xfrm>
            <a:off x="636048" y="1520448"/>
            <a:ext cx="878930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1200" b="0" dirty="0">
                <a:latin typeface="Lato" charset="0"/>
                <a:ea typeface="Lato" charset="0"/>
                <a:cs typeface="Lato" charset="0"/>
              </a:rPr>
              <a:t>API gateway </a:t>
            </a:r>
            <a:r>
              <a:rPr lang="en-US" sz="1200" b="0" dirty="0" smtClean="0">
                <a:latin typeface="Lato" charset="0"/>
                <a:ea typeface="Lato" charset="0"/>
                <a:cs typeface="Lato" charset="0"/>
              </a:rPr>
              <a:t>implement circuit </a:t>
            </a:r>
            <a:r>
              <a:rPr lang="en-US" sz="1200" b="0" dirty="0">
                <a:latin typeface="Lato" charset="0"/>
                <a:ea typeface="Lato" charset="0"/>
                <a:cs typeface="Lato" charset="0"/>
              </a:rPr>
              <a:t>breakers, which means that after a specific threshold, the API gateway will stop sending data to the component that’s failing</a:t>
            </a:r>
            <a:r>
              <a:rPr lang="en-US" sz="1200" b="0" dirty="0" smtClean="0">
                <a:latin typeface="Lato" charset="0"/>
                <a:ea typeface="Lato" charset="0"/>
                <a:cs typeface="Lato" charset="0"/>
              </a:rPr>
              <a:t>. </a:t>
            </a:r>
            <a:r>
              <a:rPr lang="en-US" sz="1200" b="0" dirty="0">
                <a:latin typeface="Lato" charset="0"/>
                <a:ea typeface="Lato" charset="0"/>
                <a:cs typeface="Lato" charset="0"/>
              </a:rPr>
              <a:t>Circuit breakers simply close the circuit so no more requests are allowed to go to that component</a:t>
            </a:r>
            <a:endParaRPr lang="en-US" sz="1200" dirty="0">
              <a:latin typeface="Lato" charset="0"/>
              <a:ea typeface="Lato" charset="0"/>
              <a:cs typeface="Lato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502248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669583"/>
            <a:ext cx="8448675" cy="1718734"/>
          </a:xfrm>
        </p:spPr>
        <p:txBody>
          <a:bodyPr/>
          <a:lstStyle/>
          <a:p>
            <a:pPr algn="ctr"/>
            <a:r>
              <a:rPr lang="en-GB" sz="7200" dirty="0" smtClean="0"/>
              <a:t/>
            </a:r>
            <a:br>
              <a:rPr lang="en-GB" sz="7200" dirty="0" smtClean="0"/>
            </a:br>
            <a:r>
              <a:rPr lang="en-GB" sz="7200" dirty="0"/>
              <a:t/>
            </a:r>
            <a:br>
              <a:rPr lang="en-GB" sz="7200" dirty="0"/>
            </a:br>
            <a:r>
              <a:rPr lang="en-GB" sz="7200" dirty="0" smtClean="0"/>
              <a:t/>
            </a:r>
            <a:br>
              <a:rPr lang="en-GB" sz="7200" dirty="0" smtClean="0"/>
            </a:br>
            <a:r>
              <a:rPr lang="en-GB" sz="7200" dirty="0" smtClean="0"/>
              <a:t>Thank You!</a:t>
            </a:r>
            <a:endParaRPr lang="en-US" sz="72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71538" y="1528950"/>
            <a:ext cx="8491537" cy="4802402"/>
          </a:xfrm>
        </p:spPr>
        <p:txBody>
          <a:bodyPr/>
          <a:lstStyle/>
          <a:p>
            <a:endParaRPr lang="en-US" altLang="en-US" sz="2000" dirty="0" err="1" smtClean="0">
              <a:ea typeface="MS PGothic" panose="020B0600070205080204" pitchFamily="34" charset="-128"/>
              <a:cs typeface="Times New Roman" panose="02020603050405020304" pitchFamily="18" charset="0"/>
            </a:endParaRPr>
          </a:p>
          <a:p>
            <a:pPr marL="0" indent="0">
              <a:buNone/>
            </a:pPr>
            <a:endParaRPr lang="en-US" sz="1800" b="1" dirty="0">
              <a:ea typeface="MS PGothic" panose="020B0600070205080204" pitchFamily="34" charset="-128"/>
              <a:cs typeface="Times New Roman" panose="02020603050405020304" pitchFamily="18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151D609-1948-4661-8BC6-AB1E16B109F4}" type="slidenum">
              <a:rPr lang="en-US" smtClean="0"/>
              <a:pPr/>
              <a:t>2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87786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en-US" dirty="0"/>
              <a:t>Specialty Reference </a:t>
            </a:r>
            <a:r>
              <a:rPr lang="en-US" altLang="en-US" dirty="0" smtClean="0"/>
              <a:t>Architecture </a:t>
            </a:r>
            <a:r>
              <a:rPr lang="mr-IN" altLang="en-US" dirty="0" smtClean="0"/>
              <a:t>–</a:t>
            </a:r>
            <a:r>
              <a:rPr lang="en-US" altLang="en-US" dirty="0" smtClean="0"/>
              <a:t> Phase 1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151D609-1948-4661-8BC6-AB1E16B109F4}" type="slidenum">
              <a:rPr lang="en-US" smtClean="0"/>
              <a:pPr/>
              <a:t>3</a:t>
            </a:fld>
            <a:endParaRPr lang="en-US" dirty="0"/>
          </a:p>
        </p:txBody>
      </p:sp>
      <p:pic>
        <p:nvPicPr>
          <p:cNvPr id="62" name="Picture 6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88958" y="1359773"/>
            <a:ext cx="7326135" cy="50648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740934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" name="AutoShape 521"/>
          <p:cNvSpPr>
            <a:spLocks noChangeArrowheads="1"/>
          </p:cNvSpPr>
          <p:nvPr/>
        </p:nvSpPr>
        <p:spPr bwMode="auto">
          <a:xfrm>
            <a:off x="5565695" y="4834176"/>
            <a:ext cx="801351" cy="501313"/>
          </a:xfrm>
          <a:prstGeom prst="roundRect">
            <a:avLst>
              <a:gd name="adj" fmla="val 39102"/>
            </a:avLst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algn="ctr">
              <a:defRPr/>
            </a:pPr>
            <a:endParaRPr lang="en-US" altLang="en-US" sz="709" dirty="0">
              <a:latin typeface="Century Gothic" panose="020B0502020202020204" pitchFamily="34" charset="0"/>
              <a:cs typeface="Arial" panose="020B0604020202020204" pitchFamily="34" charset="0"/>
            </a:endParaRPr>
          </a:p>
          <a:p>
            <a:pPr algn="ctr">
              <a:defRPr/>
            </a:pPr>
            <a:endParaRPr lang="en-US" altLang="en-US" sz="709" dirty="0"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sp>
        <p:nvSpPr>
          <p:cNvPr id="596" name="Rectangle 595"/>
          <p:cNvSpPr/>
          <p:nvPr/>
        </p:nvSpPr>
        <p:spPr>
          <a:xfrm>
            <a:off x="3672959" y="4666655"/>
            <a:ext cx="3225403" cy="751344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103" dirty="0"/>
          </a:p>
        </p:txBody>
      </p:sp>
      <p:sp>
        <p:nvSpPr>
          <p:cNvPr id="2" name="AutoShape 2"/>
          <p:cNvSpPr>
            <a:spLocks noChangeArrowheads="1"/>
          </p:cNvSpPr>
          <p:nvPr/>
        </p:nvSpPr>
        <p:spPr bwMode="auto">
          <a:xfrm>
            <a:off x="6975873" y="1931313"/>
            <a:ext cx="1158895" cy="2851607"/>
          </a:xfrm>
          <a:prstGeom prst="roundRect">
            <a:avLst>
              <a:gd name="adj" fmla="val 16667"/>
            </a:avLst>
          </a:prstGeom>
          <a:solidFill>
            <a:schemeClr val="tx1">
              <a:lumMod val="65000"/>
              <a:lumOff val="35000"/>
            </a:schemeClr>
          </a:solidFill>
          <a:ln w="9525">
            <a:noFill/>
            <a:round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en-US" sz="1103" dirty="0"/>
          </a:p>
        </p:txBody>
      </p:sp>
      <p:sp>
        <p:nvSpPr>
          <p:cNvPr id="3" name="AutoShape 3"/>
          <p:cNvSpPr>
            <a:spLocks noChangeArrowheads="1"/>
          </p:cNvSpPr>
          <p:nvPr/>
        </p:nvSpPr>
        <p:spPr bwMode="auto">
          <a:xfrm>
            <a:off x="4163838" y="1960546"/>
            <a:ext cx="2671669" cy="2611096"/>
          </a:xfrm>
          <a:prstGeom prst="roundRect">
            <a:avLst>
              <a:gd name="adj" fmla="val 16667"/>
            </a:avLst>
          </a:prstGeom>
          <a:solidFill>
            <a:schemeClr val="bg1"/>
          </a:solidFill>
          <a:ln w="9525">
            <a:solidFill>
              <a:schemeClr val="bg2"/>
            </a:solidFill>
            <a:round/>
            <a:headEnd/>
            <a:tailEnd/>
          </a:ln>
          <a:effectLst/>
        </p:spPr>
        <p:txBody>
          <a:bodyPr wrap="none" tIns="0"/>
          <a:lstStyle/>
          <a:p>
            <a:pPr algn="ctr">
              <a:defRPr/>
            </a:pPr>
            <a:endParaRPr lang="en-US" altLang="en-US" sz="827" dirty="0"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AutoShape 4"/>
          <p:cNvSpPr>
            <a:spLocks noChangeArrowheads="1"/>
          </p:cNvSpPr>
          <p:nvPr/>
        </p:nvSpPr>
        <p:spPr bwMode="auto">
          <a:xfrm>
            <a:off x="2782849" y="2421375"/>
            <a:ext cx="1152644" cy="1997750"/>
          </a:xfrm>
          <a:prstGeom prst="roundRect">
            <a:avLst>
              <a:gd name="adj" fmla="val 16667"/>
            </a:avLst>
          </a:prstGeom>
          <a:solidFill>
            <a:schemeClr val="tx1">
              <a:lumMod val="65000"/>
              <a:lumOff val="35000"/>
            </a:schemeClr>
          </a:solidFill>
          <a:ln w="9525">
            <a:noFill/>
            <a:round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en-US" sz="1103" dirty="0"/>
          </a:p>
        </p:txBody>
      </p:sp>
      <p:sp>
        <p:nvSpPr>
          <p:cNvPr id="5" name="AutoShape 5"/>
          <p:cNvSpPr>
            <a:spLocks noChangeArrowheads="1"/>
          </p:cNvSpPr>
          <p:nvPr/>
        </p:nvSpPr>
        <p:spPr bwMode="auto">
          <a:xfrm>
            <a:off x="1531443" y="1846302"/>
            <a:ext cx="1082635" cy="3071634"/>
          </a:xfrm>
          <a:prstGeom prst="roundRect">
            <a:avLst>
              <a:gd name="adj" fmla="val 16667"/>
            </a:avLst>
          </a:prstGeom>
          <a:solidFill>
            <a:schemeClr val="bg2">
              <a:lumMod val="50000"/>
            </a:schemeClr>
          </a:solidFill>
          <a:ln w="9525">
            <a:solidFill>
              <a:srgbClr val="FFFFCC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en-US" sz="1103" dirty="0"/>
          </a:p>
        </p:txBody>
      </p:sp>
      <p:sp>
        <p:nvSpPr>
          <p:cNvPr id="498" name="AutoShape 498"/>
          <p:cNvSpPr>
            <a:spLocks noChangeArrowheads="1"/>
          </p:cNvSpPr>
          <p:nvPr/>
        </p:nvSpPr>
        <p:spPr bwMode="auto">
          <a:xfrm>
            <a:off x="1623953" y="2442627"/>
            <a:ext cx="540068" cy="405051"/>
          </a:xfrm>
          <a:prstGeom prst="roundRect">
            <a:avLst>
              <a:gd name="adj" fmla="val 16667"/>
            </a:avLst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  <a:round/>
            <a:headEnd/>
            <a:tailEnd/>
          </a:ln>
          <a:effectLst>
            <a:outerShdw dist="53882" dir="2700000" algn="ctr" rotWithShape="0">
              <a:schemeClr val="bg2">
                <a:alpha val="50000"/>
              </a:schemeClr>
            </a:outerShdw>
          </a:effectLst>
        </p:spPr>
        <p:txBody>
          <a:bodyPr wrap="none" anchor="ctr"/>
          <a:lstStyle/>
          <a:p>
            <a:pPr algn="ctr">
              <a:defRPr/>
            </a:pPr>
            <a:r>
              <a:rPr lang="en-US" altLang="en-US" sz="621" dirty="0">
                <a:cs typeface="Arial" panose="020B0604020202020204" pitchFamily="34" charset="0"/>
              </a:rPr>
              <a:t>Self-Service</a:t>
            </a:r>
          </a:p>
          <a:p>
            <a:pPr algn="ctr">
              <a:defRPr/>
            </a:pPr>
            <a:r>
              <a:rPr lang="en-US" altLang="en-US" sz="621" dirty="0">
                <a:cs typeface="Arial" panose="020B0604020202020204" pitchFamily="34" charset="0"/>
              </a:rPr>
              <a:t>Workplace</a:t>
            </a:r>
          </a:p>
        </p:txBody>
      </p:sp>
      <p:sp>
        <p:nvSpPr>
          <p:cNvPr id="499" name="AutoShape 499"/>
          <p:cNvSpPr>
            <a:spLocks noChangeArrowheads="1"/>
          </p:cNvSpPr>
          <p:nvPr/>
        </p:nvSpPr>
        <p:spPr bwMode="auto">
          <a:xfrm>
            <a:off x="1616452" y="1970068"/>
            <a:ext cx="540068" cy="405051"/>
          </a:xfrm>
          <a:prstGeom prst="roundRect">
            <a:avLst>
              <a:gd name="adj" fmla="val 16667"/>
            </a:avLst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  <a:round/>
            <a:headEnd/>
            <a:tailEnd/>
          </a:ln>
          <a:effectLst>
            <a:outerShdw dist="53882" dir="2700000" algn="ctr" rotWithShape="0">
              <a:schemeClr val="bg2">
                <a:alpha val="50000"/>
              </a:schemeClr>
            </a:outerShdw>
          </a:effectLst>
        </p:spPr>
        <p:txBody>
          <a:bodyPr wrap="none" anchor="ctr"/>
          <a:lstStyle/>
          <a:p>
            <a:pPr algn="ctr">
              <a:defRPr/>
            </a:pPr>
            <a:r>
              <a:rPr lang="en-US" altLang="en-US" sz="621" dirty="0">
                <a:cs typeface="Arial" panose="020B0604020202020204" pitchFamily="34" charset="0"/>
              </a:rPr>
              <a:t>Contact</a:t>
            </a:r>
          </a:p>
          <a:p>
            <a:pPr algn="ctr">
              <a:defRPr/>
            </a:pPr>
            <a:r>
              <a:rPr lang="en-US" altLang="en-US" sz="621" dirty="0">
                <a:cs typeface="Arial" panose="020B0604020202020204" pitchFamily="34" charset="0"/>
              </a:rPr>
              <a:t>Center</a:t>
            </a:r>
          </a:p>
        </p:txBody>
      </p:sp>
      <p:sp>
        <p:nvSpPr>
          <p:cNvPr id="500" name="AutoShape 500"/>
          <p:cNvSpPr>
            <a:spLocks noChangeArrowheads="1"/>
          </p:cNvSpPr>
          <p:nvPr/>
        </p:nvSpPr>
        <p:spPr bwMode="auto">
          <a:xfrm>
            <a:off x="1616452" y="2921438"/>
            <a:ext cx="540068" cy="403801"/>
          </a:xfrm>
          <a:prstGeom prst="roundRect">
            <a:avLst>
              <a:gd name="adj" fmla="val 16667"/>
            </a:avLst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  <a:round/>
            <a:headEnd/>
            <a:tailEnd/>
          </a:ln>
          <a:effectLst>
            <a:outerShdw dist="53882" dir="2700000" algn="ctr" rotWithShape="0">
              <a:schemeClr val="bg2">
                <a:alpha val="50000"/>
              </a:schemeClr>
            </a:outerShdw>
          </a:effectLst>
        </p:spPr>
        <p:txBody>
          <a:bodyPr wrap="none" anchor="ctr"/>
          <a:lstStyle/>
          <a:p>
            <a:pPr algn="ctr">
              <a:defRPr/>
            </a:pPr>
            <a:r>
              <a:rPr lang="en-US" altLang="en-US" sz="621" dirty="0">
                <a:cs typeface="Arial" panose="020B0604020202020204" pitchFamily="34" charset="0"/>
              </a:rPr>
              <a:t>Retail Specialty</a:t>
            </a:r>
          </a:p>
          <a:p>
            <a:pPr algn="ctr">
              <a:defRPr/>
            </a:pPr>
            <a:r>
              <a:rPr lang="en-US" altLang="en-US" sz="621" dirty="0">
                <a:cs typeface="Arial" panose="020B0604020202020204" pitchFamily="34" charset="0"/>
              </a:rPr>
              <a:t>Pharmacy</a:t>
            </a:r>
          </a:p>
        </p:txBody>
      </p:sp>
      <p:sp>
        <p:nvSpPr>
          <p:cNvPr id="501" name="AutoShape 501"/>
          <p:cNvSpPr>
            <a:spLocks noChangeArrowheads="1"/>
          </p:cNvSpPr>
          <p:nvPr/>
        </p:nvSpPr>
        <p:spPr bwMode="auto">
          <a:xfrm>
            <a:off x="1625203" y="3392746"/>
            <a:ext cx="540068" cy="405051"/>
          </a:xfrm>
          <a:prstGeom prst="roundRect">
            <a:avLst>
              <a:gd name="adj" fmla="val 16667"/>
            </a:avLst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  <a:round/>
            <a:headEnd/>
            <a:tailEnd/>
          </a:ln>
          <a:effectLst>
            <a:outerShdw dist="53882" dir="2700000" algn="ctr" rotWithShape="0">
              <a:schemeClr val="bg2">
                <a:alpha val="50000"/>
              </a:schemeClr>
            </a:outerShdw>
          </a:effectLst>
        </p:spPr>
        <p:txBody>
          <a:bodyPr wrap="none" anchor="ctr"/>
          <a:lstStyle/>
          <a:p>
            <a:pPr algn="ctr">
              <a:defRPr/>
            </a:pPr>
            <a:r>
              <a:rPr lang="en-US" altLang="en-US" sz="621" dirty="0">
                <a:cs typeface="Arial" panose="020B0604020202020204" pitchFamily="34" charset="0"/>
              </a:rPr>
              <a:t>Nurse</a:t>
            </a:r>
          </a:p>
          <a:p>
            <a:pPr algn="ctr">
              <a:defRPr/>
            </a:pPr>
            <a:r>
              <a:rPr lang="en-US" altLang="en-US" sz="621" dirty="0">
                <a:cs typeface="Arial" panose="020B0604020202020204" pitchFamily="34" charset="0"/>
              </a:rPr>
              <a:t>Workplace</a:t>
            </a:r>
          </a:p>
        </p:txBody>
      </p:sp>
      <p:sp>
        <p:nvSpPr>
          <p:cNvPr id="502" name="AutoShape 502"/>
          <p:cNvSpPr>
            <a:spLocks noChangeArrowheads="1"/>
          </p:cNvSpPr>
          <p:nvPr/>
        </p:nvSpPr>
        <p:spPr bwMode="auto">
          <a:xfrm>
            <a:off x="1638956" y="4349116"/>
            <a:ext cx="822603" cy="453807"/>
          </a:xfrm>
          <a:prstGeom prst="roundRect">
            <a:avLst>
              <a:gd name="adj" fmla="val 16667"/>
            </a:avLst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  <a:round/>
            <a:headEnd/>
            <a:tailEnd/>
          </a:ln>
          <a:effectLst>
            <a:outerShdw dist="53882" dir="2700000" algn="ctr" rotWithShape="0">
              <a:schemeClr val="bg2">
                <a:alpha val="50000"/>
              </a:schemeClr>
            </a:outerShdw>
          </a:effectLst>
        </p:spPr>
        <p:txBody>
          <a:bodyPr wrap="none" anchor="ctr"/>
          <a:lstStyle/>
          <a:p>
            <a:pPr algn="ctr">
              <a:defRPr/>
            </a:pPr>
            <a:r>
              <a:rPr lang="en-US" altLang="en-US" sz="621" dirty="0">
                <a:cs typeface="Arial" panose="020B0604020202020204" pitchFamily="34" charset="0"/>
              </a:rPr>
              <a:t>Electronic Business</a:t>
            </a:r>
          </a:p>
          <a:p>
            <a:pPr algn="ctr">
              <a:defRPr/>
            </a:pPr>
            <a:r>
              <a:rPr lang="en-US" altLang="en-US" sz="621" dirty="0">
                <a:cs typeface="Arial" panose="020B0604020202020204" pitchFamily="34" charset="0"/>
              </a:rPr>
              <a:t>Gateway</a:t>
            </a:r>
          </a:p>
        </p:txBody>
      </p:sp>
      <p:sp>
        <p:nvSpPr>
          <p:cNvPr id="10257" name="Text Box 507"/>
          <p:cNvSpPr txBox="1">
            <a:spLocks noChangeArrowheads="1"/>
          </p:cNvSpPr>
          <p:nvPr/>
        </p:nvSpPr>
        <p:spPr bwMode="auto">
          <a:xfrm>
            <a:off x="1667600" y="1523762"/>
            <a:ext cx="829074" cy="2535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lnSpc>
                <a:spcPct val="95000"/>
              </a:lnSpc>
            </a:pPr>
            <a:r>
              <a:rPr lang="en-US" altLang="en-US" sz="1103">
                <a:latin typeface="Century Gothic" panose="020B0502020202020204" pitchFamily="34" charset="0"/>
                <a:cs typeface="Arial" panose="020B0604020202020204" pitchFamily="34" charset="0"/>
              </a:rPr>
              <a:t>Channels</a:t>
            </a:r>
          </a:p>
        </p:txBody>
      </p:sp>
      <p:sp>
        <p:nvSpPr>
          <p:cNvPr id="10258" name="Text Box 508"/>
          <p:cNvSpPr txBox="1">
            <a:spLocks noChangeArrowheads="1"/>
          </p:cNvSpPr>
          <p:nvPr/>
        </p:nvSpPr>
        <p:spPr bwMode="auto">
          <a:xfrm>
            <a:off x="7112942" y="1448753"/>
            <a:ext cx="843501" cy="41485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lnSpc>
                <a:spcPct val="95000"/>
              </a:lnSpc>
            </a:pPr>
            <a:r>
              <a:rPr lang="en-US" altLang="en-US" sz="1103">
                <a:latin typeface="Century Gothic" panose="020B0502020202020204" pitchFamily="34" charset="0"/>
                <a:cs typeface="Arial" panose="020B0604020202020204" pitchFamily="34" charset="0"/>
              </a:rPr>
              <a:t>Enterprise</a:t>
            </a:r>
          </a:p>
          <a:p>
            <a:pPr algn="ctr">
              <a:lnSpc>
                <a:spcPct val="95000"/>
              </a:lnSpc>
            </a:pPr>
            <a:r>
              <a:rPr lang="en-US" altLang="en-US" sz="1103">
                <a:latin typeface="Century Gothic" panose="020B0502020202020204" pitchFamily="34" charset="0"/>
                <a:cs typeface="Arial" panose="020B0604020202020204" pitchFamily="34" charset="0"/>
              </a:rPr>
              <a:t>Systems</a:t>
            </a:r>
          </a:p>
        </p:txBody>
      </p:sp>
      <p:sp>
        <p:nvSpPr>
          <p:cNvPr id="510" name="AutoShape 511"/>
          <p:cNvSpPr>
            <a:spLocks noChangeArrowheads="1"/>
          </p:cNvSpPr>
          <p:nvPr/>
        </p:nvSpPr>
        <p:spPr bwMode="auto">
          <a:xfrm>
            <a:off x="1626453" y="3866555"/>
            <a:ext cx="540068" cy="405051"/>
          </a:xfrm>
          <a:prstGeom prst="roundRect">
            <a:avLst>
              <a:gd name="adj" fmla="val 16667"/>
            </a:avLst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  <a:round/>
            <a:headEnd/>
            <a:tailEnd/>
          </a:ln>
          <a:effectLst>
            <a:outerShdw dist="53882" dir="2700000" algn="ctr" rotWithShape="0">
              <a:schemeClr val="bg2">
                <a:alpha val="50000"/>
              </a:schemeClr>
            </a:outerShdw>
          </a:effectLst>
        </p:spPr>
        <p:txBody>
          <a:bodyPr wrap="none" anchor="ctr"/>
          <a:lstStyle/>
          <a:p>
            <a:pPr algn="ctr">
              <a:defRPr/>
            </a:pPr>
            <a:r>
              <a:rPr lang="en-US" altLang="en-US" sz="621" dirty="0">
                <a:cs typeface="Arial" panose="020B0604020202020204" pitchFamily="34" charset="0"/>
              </a:rPr>
              <a:t>Partner</a:t>
            </a:r>
          </a:p>
          <a:p>
            <a:pPr algn="ctr">
              <a:defRPr/>
            </a:pPr>
            <a:r>
              <a:rPr lang="en-US" altLang="en-US" sz="621" dirty="0">
                <a:cs typeface="Arial" panose="020B0604020202020204" pitchFamily="34" charset="0"/>
              </a:rPr>
              <a:t>Workplace</a:t>
            </a:r>
          </a:p>
        </p:txBody>
      </p:sp>
      <p:grpSp>
        <p:nvGrpSpPr>
          <p:cNvPr id="10260" name="Group 512"/>
          <p:cNvGrpSpPr>
            <a:grpSpLocks/>
          </p:cNvGrpSpPr>
          <p:nvPr/>
        </p:nvGrpSpPr>
        <p:grpSpPr bwMode="auto">
          <a:xfrm>
            <a:off x="6980873" y="3764043"/>
            <a:ext cx="553820" cy="347543"/>
            <a:chOff x="3792" y="816"/>
            <a:chExt cx="672" cy="403"/>
          </a:xfrm>
        </p:grpSpPr>
        <p:sp>
          <p:nvSpPr>
            <p:cNvPr id="512" name="AutoShape 513"/>
            <p:cNvSpPr>
              <a:spLocks noChangeArrowheads="1"/>
            </p:cNvSpPr>
            <p:nvPr/>
          </p:nvSpPr>
          <p:spPr bwMode="auto">
            <a:xfrm>
              <a:off x="3792" y="816"/>
              <a:ext cx="508" cy="315"/>
            </a:xfrm>
            <a:prstGeom prst="can">
              <a:avLst>
                <a:gd name="adj" fmla="val 25000"/>
              </a:avLst>
            </a:prstGeom>
            <a:solidFill>
              <a:schemeClr val="accent5">
                <a:lumMod val="60000"/>
                <a:lumOff val="40000"/>
              </a:schemeClr>
            </a:solidFill>
            <a:ln w="9525">
              <a:solidFill>
                <a:srgbClr val="000000"/>
              </a:solidFill>
              <a:round/>
              <a:headEnd/>
              <a:tailEnd/>
            </a:ln>
            <a:effectLst>
              <a:outerShdw dist="63500" dir="3187806" algn="ctr" rotWithShape="0">
                <a:srgbClr val="808080">
                  <a:alpha val="50000"/>
                </a:srgbClr>
              </a:outerShdw>
            </a:effectLst>
          </p:spPr>
          <p:txBody>
            <a:bodyPr tIns="54007" anchor="ctr" anchorCtr="1"/>
            <a:lstStyle/>
            <a:p>
              <a:pPr algn="ctr">
                <a:defRPr/>
              </a:pPr>
              <a:endParaRPr lang="en-US" altLang="en-US" sz="472" dirty="0">
                <a:cs typeface="Arial" panose="020B0604020202020204" pitchFamily="34" charset="0"/>
              </a:endParaRPr>
            </a:p>
          </p:txBody>
        </p:sp>
        <p:sp>
          <p:nvSpPr>
            <p:cNvPr id="513" name="AutoShape 514"/>
            <p:cNvSpPr>
              <a:spLocks noChangeArrowheads="1"/>
            </p:cNvSpPr>
            <p:nvPr/>
          </p:nvSpPr>
          <p:spPr bwMode="auto">
            <a:xfrm>
              <a:off x="3956" y="904"/>
              <a:ext cx="508" cy="315"/>
            </a:xfrm>
            <a:prstGeom prst="can">
              <a:avLst>
                <a:gd name="adj" fmla="val 25000"/>
              </a:avLst>
            </a:prstGeom>
            <a:solidFill>
              <a:schemeClr val="accent5">
                <a:lumMod val="60000"/>
                <a:lumOff val="40000"/>
              </a:schemeClr>
            </a:solidFill>
            <a:ln w="9525">
              <a:solidFill>
                <a:srgbClr val="000000"/>
              </a:solidFill>
              <a:round/>
              <a:headEnd/>
              <a:tailEnd/>
            </a:ln>
            <a:effectLst>
              <a:outerShdw dist="63500" dir="3187806" algn="ctr" rotWithShape="0">
                <a:srgbClr val="808080">
                  <a:alpha val="50000"/>
                </a:srgbClr>
              </a:outerShdw>
            </a:effectLst>
          </p:spPr>
          <p:txBody>
            <a:bodyPr tIns="54007" anchor="ctr" anchorCtr="1"/>
            <a:lstStyle/>
            <a:p>
              <a:pPr algn="ctr">
                <a:defRPr/>
              </a:pPr>
              <a:r>
                <a:rPr lang="en-US" altLang="en-US" sz="827" dirty="0">
                  <a:cs typeface="Arial" panose="020B0604020202020204" pitchFamily="34" charset="0"/>
                </a:rPr>
                <a:t>Sparcs</a:t>
              </a:r>
            </a:p>
          </p:txBody>
        </p:sp>
      </p:grpSp>
      <p:sp>
        <p:nvSpPr>
          <p:cNvPr id="10261" name="AutoShape 515"/>
          <p:cNvSpPr>
            <a:spLocks noChangeArrowheads="1"/>
          </p:cNvSpPr>
          <p:nvPr/>
        </p:nvSpPr>
        <p:spPr bwMode="auto">
          <a:xfrm>
            <a:off x="7600951" y="4926687"/>
            <a:ext cx="483811" cy="496312"/>
          </a:xfrm>
          <a:prstGeom prst="roundRect">
            <a:avLst>
              <a:gd name="adj" fmla="val 16667"/>
            </a:avLst>
          </a:prstGeom>
          <a:solidFill>
            <a:schemeClr val="bg2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endParaRPr lang="en-US" altLang="en-US" sz="1103"/>
          </a:p>
        </p:txBody>
      </p:sp>
      <p:grpSp>
        <p:nvGrpSpPr>
          <p:cNvPr id="10262" name="Group 516"/>
          <p:cNvGrpSpPr>
            <a:grpSpLocks/>
          </p:cNvGrpSpPr>
          <p:nvPr/>
        </p:nvGrpSpPr>
        <p:grpSpPr bwMode="auto">
          <a:xfrm>
            <a:off x="7632206" y="5001697"/>
            <a:ext cx="402550" cy="195024"/>
            <a:chOff x="387" y="3648"/>
            <a:chExt cx="429" cy="208"/>
          </a:xfrm>
        </p:grpSpPr>
        <p:pic>
          <p:nvPicPr>
            <p:cNvPr id="10337" name="Picture 517" descr="BD18219_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08" y="3648"/>
              <a:ext cx="208" cy="20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0338" name="Picture 518" descr="BD18215_"/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87" y="3696"/>
              <a:ext cx="189" cy="1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0339" name="Line 519"/>
            <p:cNvSpPr>
              <a:spLocks noChangeShapeType="1"/>
            </p:cNvSpPr>
            <p:nvPr/>
          </p:nvSpPr>
          <p:spPr bwMode="auto">
            <a:xfrm>
              <a:off x="528" y="3744"/>
              <a:ext cx="80" cy="0"/>
            </a:xfrm>
            <a:prstGeom prst="line">
              <a:avLst/>
            </a:prstGeom>
            <a:noFill/>
            <a:ln w="1587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99190" dir="19211666" algn="ctr" rotWithShape="0">
                      <a:schemeClr val="bg2">
                        <a:alpha val="50000"/>
                      </a:scheme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103"/>
            </a:p>
          </p:txBody>
        </p:sp>
      </p:grpSp>
      <p:sp>
        <p:nvSpPr>
          <p:cNvPr id="10263" name="Rectangle 520"/>
          <p:cNvSpPr>
            <a:spLocks noChangeArrowheads="1"/>
          </p:cNvSpPr>
          <p:nvPr/>
        </p:nvSpPr>
        <p:spPr bwMode="auto">
          <a:xfrm>
            <a:off x="7637960" y="5209222"/>
            <a:ext cx="424796" cy="1452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/>
            <a:r>
              <a:rPr lang="en-US" altLang="en-US" sz="472">
                <a:solidFill>
                  <a:srgbClr val="000000"/>
                </a:solidFill>
                <a:cs typeface="Arial" panose="020B0604020202020204" pitchFamily="34" charset="0"/>
              </a:rPr>
              <a:t>Vendor / Partner</a:t>
            </a:r>
          </a:p>
          <a:p>
            <a:pPr algn="ctr"/>
            <a:r>
              <a:rPr lang="en-US" altLang="en-US" sz="472">
                <a:solidFill>
                  <a:srgbClr val="000000"/>
                </a:solidFill>
                <a:cs typeface="Arial" panose="020B0604020202020204" pitchFamily="34" charset="0"/>
              </a:rPr>
              <a:t>Systems</a:t>
            </a:r>
          </a:p>
        </p:txBody>
      </p:sp>
      <p:sp>
        <p:nvSpPr>
          <p:cNvPr id="10264" name="AutoShape 521"/>
          <p:cNvSpPr>
            <a:spLocks noChangeArrowheads="1"/>
          </p:cNvSpPr>
          <p:nvPr/>
        </p:nvSpPr>
        <p:spPr bwMode="auto">
          <a:xfrm>
            <a:off x="3727967" y="4829175"/>
            <a:ext cx="1292662" cy="500063"/>
          </a:xfrm>
          <a:prstGeom prst="roundRect">
            <a:avLst>
              <a:gd name="adj" fmla="val 39102"/>
            </a:avLst>
          </a:prstGeom>
          <a:solidFill>
            <a:srgbClr val="C00000"/>
          </a:solidFill>
          <a:ln w="9525">
            <a:solidFill>
              <a:srgbClr val="C00000"/>
            </a:solidFill>
            <a:round/>
            <a:headEnd/>
            <a:tailEnd/>
          </a:ln>
        </p:spPr>
        <p:txBody>
          <a:bodyPr wrap="none" anchor="ctr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/>
            <a:endParaRPr lang="en-US" altLang="en-US" sz="709">
              <a:latin typeface="Century Gothic" panose="020B0502020202020204" pitchFamily="34" charset="0"/>
              <a:cs typeface="Arial" panose="020B0604020202020204" pitchFamily="34" charset="0"/>
            </a:endParaRPr>
          </a:p>
          <a:p>
            <a:pPr algn="ctr"/>
            <a:endParaRPr lang="en-US" altLang="en-US" sz="709"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sp>
        <p:nvSpPr>
          <p:cNvPr id="529" name="AutoShape 530"/>
          <p:cNvSpPr>
            <a:spLocks noChangeArrowheads="1"/>
          </p:cNvSpPr>
          <p:nvPr/>
        </p:nvSpPr>
        <p:spPr bwMode="auto">
          <a:xfrm rot="16200000">
            <a:off x="2421529" y="2948915"/>
            <a:ext cx="1847779" cy="952619"/>
          </a:xfrm>
          <a:prstGeom prst="roundRect">
            <a:avLst>
              <a:gd name="adj" fmla="val 16667"/>
            </a:avLst>
          </a:prstGeom>
          <a:solidFill>
            <a:schemeClr val="bg1">
              <a:lumMod val="95000"/>
            </a:schemeClr>
          </a:solidFill>
          <a:ln w="25400">
            <a:solidFill>
              <a:srgbClr val="C00000"/>
            </a:solidFill>
            <a:prstDash val="solid"/>
            <a:round/>
            <a:headEnd/>
            <a:tailEnd/>
          </a:ln>
          <a:effectLst>
            <a:outerShdw dist="53882" dir="2700000" algn="ctr" rotWithShape="0">
              <a:schemeClr val="bg2">
                <a:alpha val="50000"/>
              </a:schemeClr>
            </a:outerShdw>
          </a:effectLst>
        </p:spPr>
        <p:txBody>
          <a:bodyPr vert="vert" wrap="none" anchor="t"/>
          <a:lstStyle/>
          <a:p>
            <a:pPr algn="ctr">
              <a:defRPr/>
            </a:pPr>
            <a:r>
              <a:rPr lang="en-US" altLang="en-US" sz="900" dirty="0">
                <a:solidFill>
                  <a:schemeClr val="tx1">
                    <a:lumMod val="50000"/>
                    <a:lumOff val="50000"/>
                  </a:schemeClr>
                </a:solidFill>
                <a:cs typeface="Arial" panose="020B0604020202020204" pitchFamily="34" charset="0"/>
              </a:rPr>
              <a:t>API</a:t>
            </a:r>
          </a:p>
          <a:p>
            <a:pPr algn="ctr">
              <a:defRPr/>
            </a:pPr>
            <a:r>
              <a:rPr lang="en-US" altLang="en-US" sz="900" dirty="0">
                <a:solidFill>
                  <a:schemeClr val="tx1">
                    <a:lumMod val="50000"/>
                    <a:lumOff val="50000"/>
                  </a:schemeClr>
                </a:solidFill>
                <a:cs typeface="Arial" panose="020B0604020202020204" pitchFamily="34" charset="0"/>
              </a:rPr>
              <a:t>GATEWAY</a:t>
            </a:r>
          </a:p>
        </p:txBody>
      </p:sp>
      <p:sp>
        <p:nvSpPr>
          <p:cNvPr id="10266" name="Text Box 541"/>
          <p:cNvSpPr txBox="1">
            <a:spLocks noChangeArrowheads="1"/>
          </p:cNvSpPr>
          <p:nvPr/>
        </p:nvSpPr>
        <p:spPr bwMode="auto">
          <a:xfrm>
            <a:off x="5218787" y="1512518"/>
            <a:ext cx="747320" cy="2535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lnSpc>
                <a:spcPct val="95000"/>
              </a:lnSpc>
            </a:pPr>
            <a:r>
              <a:rPr lang="en-US" altLang="en-US" sz="1103">
                <a:latin typeface="Century Gothic" panose="020B0502020202020204" pitchFamily="34" charset="0"/>
                <a:cs typeface="Arial" panose="020B0604020202020204" pitchFamily="34" charset="0"/>
              </a:rPr>
              <a:t>Services</a:t>
            </a:r>
          </a:p>
        </p:txBody>
      </p:sp>
      <p:grpSp>
        <p:nvGrpSpPr>
          <p:cNvPr id="10282" name="Group 561"/>
          <p:cNvGrpSpPr>
            <a:grpSpLocks/>
          </p:cNvGrpSpPr>
          <p:nvPr/>
        </p:nvGrpSpPr>
        <p:grpSpPr bwMode="auto">
          <a:xfrm>
            <a:off x="7553444" y="3681533"/>
            <a:ext cx="531317" cy="367546"/>
            <a:chOff x="3825" y="783"/>
            <a:chExt cx="644" cy="469"/>
          </a:xfrm>
        </p:grpSpPr>
        <p:sp>
          <p:nvSpPr>
            <p:cNvPr id="561" name="AutoShape 562"/>
            <p:cNvSpPr>
              <a:spLocks noChangeArrowheads="1"/>
            </p:cNvSpPr>
            <p:nvPr/>
          </p:nvSpPr>
          <p:spPr bwMode="auto">
            <a:xfrm>
              <a:off x="3825" y="783"/>
              <a:ext cx="508" cy="314"/>
            </a:xfrm>
            <a:prstGeom prst="can">
              <a:avLst>
                <a:gd name="adj" fmla="val 25000"/>
              </a:avLst>
            </a:prstGeom>
            <a:solidFill>
              <a:schemeClr val="accent3">
                <a:lumMod val="75000"/>
              </a:schemeClr>
            </a:solidFill>
            <a:ln w="9525">
              <a:solidFill>
                <a:schemeClr val="accent3">
                  <a:lumMod val="75000"/>
                </a:schemeClr>
              </a:solidFill>
              <a:round/>
              <a:headEnd/>
              <a:tailEnd/>
            </a:ln>
            <a:effectLst>
              <a:outerShdw dist="63500" dir="3187806" algn="ctr" rotWithShape="0">
                <a:srgbClr val="808080">
                  <a:alpha val="50000"/>
                </a:srgbClr>
              </a:outerShdw>
            </a:effectLst>
          </p:spPr>
          <p:txBody>
            <a:bodyPr lIns="0" tIns="54007" rIns="0" anchor="ctr" anchorCtr="1"/>
            <a:lstStyle/>
            <a:p>
              <a:pPr algn="ctr">
                <a:defRPr/>
              </a:pPr>
              <a:endParaRPr lang="en-US" altLang="en-US" sz="472" dirty="0">
                <a:cs typeface="Arial" panose="020B0604020202020204" pitchFamily="34" charset="0"/>
              </a:endParaRPr>
            </a:p>
          </p:txBody>
        </p:sp>
        <p:sp>
          <p:nvSpPr>
            <p:cNvPr id="562" name="AutoShape 563"/>
            <p:cNvSpPr>
              <a:spLocks noChangeArrowheads="1"/>
            </p:cNvSpPr>
            <p:nvPr/>
          </p:nvSpPr>
          <p:spPr bwMode="auto">
            <a:xfrm>
              <a:off x="3961" y="938"/>
              <a:ext cx="508" cy="314"/>
            </a:xfrm>
            <a:prstGeom prst="can">
              <a:avLst>
                <a:gd name="adj" fmla="val 25000"/>
              </a:avLst>
            </a:prstGeom>
            <a:solidFill>
              <a:schemeClr val="tx1">
                <a:lumMod val="50000"/>
                <a:lumOff val="50000"/>
              </a:schemeClr>
            </a:solidFill>
            <a:ln w="9525">
              <a:solidFill>
                <a:schemeClr val="accent3">
                  <a:lumMod val="75000"/>
                </a:schemeClr>
              </a:solidFill>
              <a:round/>
              <a:headEnd/>
              <a:tailEnd/>
            </a:ln>
            <a:effectLst>
              <a:outerShdw dist="63500" dir="3187806" algn="ctr" rotWithShape="0">
                <a:srgbClr val="808080">
                  <a:alpha val="50000"/>
                </a:srgbClr>
              </a:outerShdw>
            </a:effectLst>
          </p:spPr>
          <p:txBody>
            <a:bodyPr lIns="0" tIns="54007" rIns="0" anchor="ctr" anchorCtr="1"/>
            <a:lstStyle/>
            <a:p>
              <a:pPr algn="ctr">
                <a:defRPr/>
              </a:pPr>
              <a:r>
                <a:rPr lang="en-US" altLang="en-US" sz="827" dirty="0">
                  <a:cs typeface="Arial" panose="020B0604020202020204" pitchFamily="34" charset="0"/>
                </a:rPr>
                <a:t>HBS Data</a:t>
              </a:r>
            </a:p>
          </p:txBody>
        </p:sp>
      </p:grpSp>
      <p:sp>
        <p:nvSpPr>
          <p:cNvPr id="10283" name="Rectangle 564"/>
          <p:cNvSpPr>
            <a:spLocks noChangeArrowheads="1"/>
          </p:cNvSpPr>
          <p:nvPr/>
        </p:nvSpPr>
        <p:spPr bwMode="auto">
          <a:xfrm>
            <a:off x="7048381" y="2601398"/>
            <a:ext cx="965121" cy="1012627"/>
          </a:xfrm>
          <a:prstGeom prst="rect">
            <a:avLst/>
          </a:prstGeom>
          <a:solidFill>
            <a:srgbClr val="C00000"/>
          </a:solidFill>
          <a:ln w="9525">
            <a:solidFill>
              <a:schemeClr val="tx1"/>
            </a:solidFill>
            <a:miter lim="800000"/>
            <a:headEnd/>
            <a:tailEnd/>
          </a:ln>
          <a:effectLst>
            <a:outerShdw dist="63500" dir="2212194" algn="ctr" rotWithShape="0">
              <a:schemeClr val="bg2">
                <a:alpha val="50000"/>
              </a:schemeClr>
            </a:outerShdw>
          </a:effectLst>
        </p:spPr>
        <p:txBody>
          <a:bodyPr wrap="none" anchor="ctr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endParaRPr lang="en-US" altLang="en-US" sz="1103"/>
          </a:p>
        </p:txBody>
      </p:sp>
      <p:sp>
        <p:nvSpPr>
          <p:cNvPr id="564" name="Rectangle 565"/>
          <p:cNvSpPr>
            <a:spLocks noChangeArrowheads="1"/>
          </p:cNvSpPr>
          <p:nvPr/>
        </p:nvSpPr>
        <p:spPr bwMode="auto">
          <a:xfrm>
            <a:off x="7537194" y="2743914"/>
            <a:ext cx="411301" cy="221278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/>
        </p:spPr>
        <p:txBody>
          <a:bodyPr wrap="none" anchor="ctr"/>
          <a:lstStyle/>
          <a:p>
            <a:pPr algn="ctr">
              <a:defRPr/>
            </a:pPr>
            <a:r>
              <a:rPr lang="en-US" altLang="en-US" sz="591" dirty="0">
                <a:cs typeface="Arial" panose="020B0604020202020204" pitchFamily="34" charset="0"/>
              </a:rPr>
              <a:t>Drug</a:t>
            </a:r>
          </a:p>
        </p:txBody>
      </p:sp>
      <p:sp>
        <p:nvSpPr>
          <p:cNvPr id="565" name="Rectangle 566"/>
          <p:cNvSpPr>
            <a:spLocks noChangeArrowheads="1"/>
          </p:cNvSpPr>
          <p:nvPr/>
        </p:nvSpPr>
        <p:spPr bwMode="auto">
          <a:xfrm>
            <a:off x="7093386" y="2740166"/>
            <a:ext cx="405051" cy="221277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/>
        </p:spPr>
        <p:txBody>
          <a:bodyPr wrap="none" anchor="ctr"/>
          <a:lstStyle/>
          <a:p>
            <a:pPr algn="ctr">
              <a:defRPr/>
            </a:pPr>
            <a:r>
              <a:rPr lang="en-US" altLang="en-US" sz="591" dirty="0">
                <a:cs typeface="Arial" panose="020B0604020202020204" pitchFamily="34" charset="0"/>
              </a:rPr>
              <a:t>Patient</a:t>
            </a:r>
          </a:p>
        </p:txBody>
      </p:sp>
      <p:sp>
        <p:nvSpPr>
          <p:cNvPr id="566" name="Rectangle 567"/>
          <p:cNvSpPr>
            <a:spLocks noChangeArrowheads="1"/>
          </p:cNvSpPr>
          <p:nvPr/>
        </p:nvSpPr>
        <p:spPr bwMode="auto">
          <a:xfrm>
            <a:off x="7537194" y="3010199"/>
            <a:ext cx="411301" cy="221277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/>
        </p:spPr>
        <p:txBody>
          <a:bodyPr wrap="none" anchor="ctr"/>
          <a:lstStyle/>
          <a:p>
            <a:pPr algn="ctr">
              <a:defRPr/>
            </a:pPr>
            <a:r>
              <a:rPr lang="en-US" altLang="en-US" sz="591" dirty="0">
                <a:cs typeface="Arial" panose="020B0604020202020204" pitchFamily="34" charset="0"/>
              </a:rPr>
              <a:t>Supplies</a:t>
            </a:r>
          </a:p>
        </p:txBody>
      </p:sp>
      <p:sp>
        <p:nvSpPr>
          <p:cNvPr id="567" name="Rectangle 568"/>
          <p:cNvSpPr>
            <a:spLocks noChangeArrowheads="1"/>
          </p:cNvSpPr>
          <p:nvPr/>
        </p:nvSpPr>
        <p:spPr bwMode="auto">
          <a:xfrm>
            <a:off x="7093386" y="3010199"/>
            <a:ext cx="405051" cy="221277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/>
        </p:spPr>
        <p:txBody>
          <a:bodyPr wrap="none" anchor="ctr"/>
          <a:lstStyle/>
          <a:p>
            <a:pPr algn="ctr">
              <a:defRPr/>
            </a:pPr>
            <a:r>
              <a:rPr lang="en-US" altLang="en-US" sz="591" dirty="0">
                <a:cs typeface="Arial" panose="020B0604020202020204" pitchFamily="34" charset="0"/>
              </a:rPr>
              <a:t>Billing</a:t>
            </a:r>
          </a:p>
        </p:txBody>
      </p:sp>
      <p:sp>
        <p:nvSpPr>
          <p:cNvPr id="568" name="Rectangle 569"/>
          <p:cNvSpPr>
            <a:spLocks noChangeArrowheads="1"/>
          </p:cNvSpPr>
          <p:nvPr/>
        </p:nvSpPr>
        <p:spPr bwMode="auto">
          <a:xfrm>
            <a:off x="7553444" y="3280233"/>
            <a:ext cx="411302" cy="221277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/>
        </p:spPr>
        <p:txBody>
          <a:bodyPr wrap="none" anchor="ctr"/>
          <a:lstStyle/>
          <a:p>
            <a:pPr algn="ctr">
              <a:defRPr/>
            </a:pPr>
            <a:r>
              <a:rPr lang="en-US" altLang="en-US" sz="591" dirty="0">
                <a:cs typeface="Arial" panose="020B0604020202020204" pitchFamily="34" charset="0"/>
              </a:rPr>
              <a:t>Claims</a:t>
            </a:r>
          </a:p>
        </p:txBody>
      </p:sp>
      <p:sp>
        <p:nvSpPr>
          <p:cNvPr id="569" name="Rectangle 570"/>
          <p:cNvSpPr>
            <a:spLocks noChangeArrowheads="1"/>
          </p:cNvSpPr>
          <p:nvPr/>
        </p:nvSpPr>
        <p:spPr bwMode="auto">
          <a:xfrm>
            <a:off x="7093386" y="3280233"/>
            <a:ext cx="405051" cy="221277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/>
        </p:spPr>
        <p:txBody>
          <a:bodyPr wrap="none" anchor="ctr"/>
          <a:lstStyle/>
          <a:p>
            <a:pPr algn="ctr">
              <a:defRPr/>
            </a:pPr>
            <a:r>
              <a:rPr lang="en-US" altLang="en-US" sz="591" dirty="0">
                <a:cs typeface="Arial" panose="020B0604020202020204" pitchFamily="34" charset="0"/>
              </a:rPr>
              <a:t>Provider</a:t>
            </a:r>
          </a:p>
        </p:txBody>
      </p:sp>
      <p:sp>
        <p:nvSpPr>
          <p:cNvPr id="570" name="AutoShape 571"/>
          <p:cNvSpPr>
            <a:spLocks noChangeArrowheads="1"/>
          </p:cNvSpPr>
          <p:nvPr/>
        </p:nvSpPr>
        <p:spPr bwMode="auto">
          <a:xfrm rot="18325691">
            <a:off x="7021503" y="2190720"/>
            <a:ext cx="440055" cy="166271"/>
          </a:xfrm>
          <a:prstGeom prst="roundRect">
            <a:avLst>
              <a:gd name="adj" fmla="val 50000"/>
            </a:avLst>
          </a:prstGeom>
          <a:solidFill>
            <a:srgbClr val="C3D0D5"/>
          </a:solidFill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>
              <a:defRPr/>
            </a:pPr>
            <a:r>
              <a:rPr lang="en-US" altLang="en-US" sz="591" dirty="0">
                <a:cs typeface="Arial" panose="020B0604020202020204" pitchFamily="34" charset="0"/>
              </a:rPr>
              <a:t>Package</a:t>
            </a:r>
          </a:p>
        </p:txBody>
      </p:sp>
      <p:sp>
        <p:nvSpPr>
          <p:cNvPr id="571" name="AutoShape 572"/>
          <p:cNvSpPr>
            <a:spLocks noChangeArrowheads="1"/>
          </p:cNvSpPr>
          <p:nvPr/>
        </p:nvSpPr>
        <p:spPr bwMode="auto">
          <a:xfrm rot="18325691">
            <a:off x="7297788" y="2190721"/>
            <a:ext cx="440055" cy="166270"/>
          </a:xfrm>
          <a:prstGeom prst="roundRect">
            <a:avLst>
              <a:gd name="adj" fmla="val 50000"/>
            </a:avLst>
          </a:prstGeom>
          <a:solidFill>
            <a:srgbClr val="C3D0D5"/>
          </a:solidFill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>
              <a:defRPr/>
            </a:pPr>
            <a:r>
              <a:rPr lang="en-US" altLang="en-US" sz="591" dirty="0">
                <a:cs typeface="Arial" panose="020B0604020202020204" pitchFamily="34" charset="0"/>
              </a:rPr>
              <a:t>Legacy</a:t>
            </a:r>
          </a:p>
        </p:txBody>
      </p:sp>
      <p:sp>
        <p:nvSpPr>
          <p:cNvPr id="572" name="AutoShape 573"/>
          <p:cNvSpPr>
            <a:spLocks noChangeArrowheads="1"/>
          </p:cNvSpPr>
          <p:nvPr/>
        </p:nvSpPr>
        <p:spPr bwMode="auto">
          <a:xfrm rot="18325691">
            <a:off x="7571573" y="2189472"/>
            <a:ext cx="442555" cy="168771"/>
          </a:xfrm>
          <a:prstGeom prst="roundRect">
            <a:avLst>
              <a:gd name="adj" fmla="val 50000"/>
            </a:avLst>
          </a:prstGeom>
          <a:solidFill>
            <a:srgbClr val="C3D0D5"/>
          </a:solidFill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>
              <a:defRPr/>
            </a:pPr>
            <a:r>
              <a:rPr lang="en-US" altLang="en-US" sz="591" dirty="0">
                <a:cs typeface="Arial" panose="020B0604020202020204" pitchFamily="34" charset="0"/>
              </a:rPr>
              <a:t>External</a:t>
            </a:r>
          </a:p>
        </p:txBody>
      </p:sp>
      <p:sp>
        <p:nvSpPr>
          <p:cNvPr id="573" name="Rectangle 572"/>
          <p:cNvSpPr/>
          <p:nvPr/>
        </p:nvSpPr>
        <p:spPr>
          <a:xfrm>
            <a:off x="2245281" y="2255104"/>
            <a:ext cx="225028" cy="838854"/>
          </a:xfrm>
          <a:prstGeom prst="rect">
            <a:avLst/>
          </a:prstGeom>
          <a:solidFill>
            <a:schemeClr val="bg2"/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anchor="ctr"/>
          <a:lstStyle/>
          <a:p>
            <a:pPr algn="ctr">
              <a:defRPr/>
            </a:pPr>
            <a:r>
              <a:rPr lang="en-US" sz="1103" dirty="0">
                <a:solidFill>
                  <a:schemeClr val="bg1"/>
                </a:solidFill>
              </a:rPr>
              <a:t>Web App</a:t>
            </a:r>
          </a:p>
        </p:txBody>
      </p:sp>
      <p:sp>
        <p:nvSpPr>
          <p:cNvPr id="575" name="Rectangle 574"/>
          <p:cNvSpPr/>
          <p:nvPr/>
        </p:nvSpPr>
        <p:spPr>
          <a:xfrm>
            <a:off x="2256532" y="3207723"/>
            <a:ext cx="205026" cy="69008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anchor="ctr"/>
          <a:lstStyle/>
          <a:p>
            <a:pPr algn="ctr">
              <a:defRPr/>
            </a:pPr>
            <a:r>
              <a:rPr lang="en-US" sz="1103" dirty="0">
                <a:solidFill>
                  <a:schemeClr val="bg1"/>
                </a:solidFill>
              </a:rPr>
              <a:t>Mobile</a:t>
            </a:r>
          </a:p>
        </p:txBody>
      </p:sp>
      <p:sp>
        <p:nvSpPr>
          <p:cNvPr id="597" name="Rectangle 596"/>
          <p:cNvSpPr/>
          <p:nvPr/>
        </p:nvSpPr>
        <p:spPr>
          <a:xfrm>
            <a:off x="3867985" y="4871680"/>
            <a:ext cx="1043881" cy="405051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103" dirty="0"/>
          </a:p>
        </p:txBody>
      </p:sp>
      <p:sp>
        <p:nvSpPr>
          <p:cNvPr id="599" name="Cylinder 598"/>
          <p:cNvSpPr/>
          <p:nvPr/>
        </p:nvSpPr>
        <p:spPr>
          <a:xfrm>
            <a:off x="3915489" y="4992946"/>
            <a:ext cx="125016" cy="195024"/>
          </a:xfrm>
          <a:prstGeom prst="can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sz="472" dirty="0"/>
              <a:t>Q1</a:t>
            </a:r>
          </a:p>
        </p:txBody>
      </p:sp>
      <p:sp>
        <p:nvSpPr>
          <p:cNvPr id="600" name="Hexagon 599"/>
          <p:cNvSpPr/>
          <p:nvPr/>
        </p:nvSpPr>
        <p:spPr>
          <a:xfrm>
            <a:off x="4153019" y="4995447"/>
            <a:ext cx="416302" cy="237530"/>
          </a:xfrm>
          <a:prstGeom prst="hexagon">
            <a:avLst/>
          </a:prstGeom>
          <a:solidFill>
            <a:schemeClr val="accent1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sz="354" dirty="0"/>
              <a:t>Message Listener </a:t>
            </a:r>
          </a:p>
        </p:txBody>
      </p:sp>
      <p:sp>
        <p:nvSpPr>
          <p:cNvPr id="602" name="Cylinder 601"/>
          <p:cNvSpPr/>
          <p:nvPr/>
        </p:nvSpPr>
        <p:spPr>
          <a:xfrm>
            <a:off x="4656832" y="5016699"/>
            <a:ext cx="125016" cy="195024"/>
          </a:xfrm>
          <a:prstGeom prst="can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sz="472" dirty="0"/>
              <a:t>Q2</a:t>
            </a:r>
          </a:p>
        </p:txBody>
      </p:sp>
      <p:cxnSp>
        <p:nvCxnSpPr>
          <p:cNvPr id="604" name="Straight Connector 603"/>
          <p:cNvCxnSpPr>
            <a:endCxn id="600" idx="1"/>
          </p:cNvCxnSpPr>
          <p:nvPr/>
        </p:nvCxnSpPr>
        <p:spPr>
          <a:xfrm>
            <a:off x="4040506" y="5114211"/>
            <a:ext cx="112514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6" name="Straight Connector 605"/>
          <p:cNvCxnSpPr>
            <a:endCxn id="602" idx="2"/>
          </p:cNvCxnSpPr>
          <p:nvPr/>
        </p:nvCxnSpPr>
        <p:spPr>
          <a:xfrm>
            <a:off x="4579324" y="5114211"/>
            <a:ext cx="7751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7" name="Rectangle 606"/>
          <p:cNvSpPr/>
          <p:nvPr/>
        </p:nvSpPr>
        <p:spPr>
          <a:xfrm>
            <a:off x="5180649" y="4890433"/>
            <a:ext cx="438805" cy="310039"/>
          </a:xfrm>
          <a:prstGeom prst="rect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103" dirty="0"/>
          </a:p>
        </p:txBody>
      </p:sp>
      <p:sp>
        <p:nvSpPr>
          <p:cNvPr id="608" name="Cylinder 607"/>
          <p:cNvSpPr/>
          <p:nvPr/>
        </p:nvSpPr>
        <p:spPr>
          <a:xfrm>
            <a:off x="5414427" y="4972945"/>
            <a:ext cx="73759" cy="141267"/>
          </a:xfrm>
          <a:prstGeom prst="can">
            <a:avLst/>
          </a:prstGeom>
          <a:solidFill>
            <a:schemeClr val="tx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103" dirty="0"/>
          </a:p>
        </p:txBody>
      </p:sp>
      <p:sp>
        <p:nvSpPr>
          <p:cNvPr id="610" name="Cylinder 609"/>
          <p:cNvSpPr/>
          <p:nvPr/>
        </p:nvSpPr>
        <p:spPr>
          <a:xfrm>
            <a:off x="5340668" y="4960443"/>
            <a:ext cx="73760" cy="141267"/>
          </a:xfrm>
          <a:prstGeom prst="can">
            <a:avLst/>
          </a:prstGeom>
          <a:solidFill>
            <a:schemeClr val="tx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103" dirty="0"/>
          </a:p>
        </p:txBody>
      </p:sp>
      <p:sp>
        <p:nvSpPr>
          <p:cNvPr id="611" name="Cylinder 610"/>
          <p:cNvSpPr/>
          <p:nvPr/>
        </p:nvSpPr>
        <p:spPr>
          <a:xfrm>
            <a:off x="5446931" y="4979194"/>
            <a:ext cx="75009" cy="140018"/>
          </a:xfrm>
          <a:prstGeom prst="can">
            <a:avLst/>
          </a:prstGeom>
          <a:solidFill>
            <a:schemeClr val="tx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103" dirty="0"/>
          </a:p>
        </p:txBody>
      </p:sp>
      <p:sp>
        <p:nvSpPr>
          <p:cNvPr id="10309" name="TextBox 612"/>
          <p:cNvSpPr txBox="1">
            <a:spLocks noChangeArrowheads="1"/>
          </p:cNvSpPr>
          <p:nvPr/>
        </p:nvSpPr>
        <p:spPr bwMode="auto">
          <a:xfrm>
            <a:off x="5039381" y="4655405"/>
            <a:ext cx="1011376" cy="23775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r>
              <a:rPr lang="en-US" altLang="en-US" sz="945">
                <a:solidFill>
                  <a:schemeClr val="bg1"/>
                </a:solidFill>
              </a:rPr>
              <a:t>Rules Engine</a:t>
            </a:r>
          </a:p>
        </p:txBody>
      </p:sp>
      <p:sp>
        <p:nvSpPr>
          <p:cNvPr id="612" name="Isosceles Triangle 611"/>
          <p:cNvSpPr/>
          <p:nvPr/>
        </p:nvSpPr>
        <p:spPr>
          <a:xfrm rot="10800000">
            <a:off x="5229405" y="4876681"/>
            <a:ext cx="406300" cy="371297"/>
          </a:xfrm>
          <a:prstGeom prst="triangle">
            <a:avLst/>
          </a:prstGeom>
          <a:solidFill>
            <a:schemeClr val="accent1">
              <a:alpha val="19000"/>
            </a:schemeClr>
          </a:solidFill>
          <a:ln>
            <a:solidFill>
              <a:schemeClr val="accent1">
                <a:lumMod val="50000"/>
                <a:alpha val="37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103" dirty="0"/>
          </a:p>
        </p:txBody>
      </p:sp>
      <p:sp>
        <p:nvSpPr>
          <p:cNvPr id="10311" name="TextBox 614"/>
          <p:cNvSpPr txBox="1">
            <a:spLocks noChangeArrowheads="1"/>
          </p:cNvSpPr>
          <p:nvPr/>
        </p:nvSpPr>
        <p:spPr bwMode="auto">
          <a:xfrm>
            <a:off x="3965497" y="4644153"/>
            <a:ext cx="1022628" cy="23775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r>
              <a:rPr lang="en-US" altLang="en-US" sz="945">
                <a:solidFill>
                  <a:schemeClr val="bg1"/>
                </a:solidFill>
              </a:rPr>
              <a:t>Message Queue</a:t>
            </a:r>
          </a:p>
        </p:txBody>
      </p:sp>
      <p:sp>
        <p:nvSpPr>
          <p:cNvPr id="10312" name="AutoShape 521"/>
          <p:cNvSpPr>
            <a:spLocks noChangeArrowheads="1"/>
          </p:cNvSpPr>
          <p:nvPr/>
        </p:nvSpPr>
        <p:spPr bwMode="auto">
          <a:xfrm>
            <a:off x="5936994" y="4822924"/>
            <a:ext cx="887611" cy="500063"/>
          </a:xfrm>
          <a:prstGeom prst="roundRect">
            <a:avLst>
              <a:gd name="adj" fmla="val 39102"/>
            </a:avLst>
          </a:prstGeom>
          <a:solidFill>
            <a:srgbClr val="C00000"/>
          </a:solidFill>
          <a:ln w="9525">
            <a:solidFill>
              <a:srgbClr val="C00000"/>
            </a:solidFill>
            <a:round/>
            <a:headEnd/>
            <a:tailEnd/>
          </a:ln>
        </p:spPr>
        <p:txBody>
          <a:bodyPr wrap="none" anchor="ctr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/>
            <a:endParaRPr lang="en-US" altLang="en-US" sz="709">
              <a:latin typeface="Century Gothic" panose="020B0502020202020204" pitchFamily="34" charset="0"/>
              <a:cs typeface="Arial" panose="020B0604020202020204" pitchFamily="34" charset="0"/>
            </a:endParaRPr>
          </a:p>
          <a:p>
            <a:pPr algn="ctr"/>
            <a:endParaRPr lang="en-US" altLang="en-US" sz="709"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sp>
        <p:nvSpPr>
          <p:cNvPr id="617" name="Cylinder 616"/>
          <p:cNvSpPr/>
          <p:nvPr/>
        </p:nvSpPr>
        <p:spPr>
          <a:xfrm>
            <a:off x="5499438" y="4985446"/>
            <a:ext cx="130016" cy="166270"/>
          </a:xfrm>
          <a:prstGeom prst="can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103" dirty="0"/>
          </a:p>
        </p:txBody>
      </p:sp>
      <p:grpSp>
        <p:nvGrpSpPr>
          <p:cNvPr id="10314" name="Group 516"/>
          <p:cNvGrpSpPr>
            <a:grpSpLocks/>
          </p:cNvGrpSpPr>
          <p:nvPr/>
        </p:nvGrpSpPr>
        <p:grpSpPr bwMode="auto">
          <a:xfrm>
            <a:off x="6177024" y="4875431"/>
            <a:ext cx="516314" cy="195024"/>
            <a:chOff x="387" y="3648"/>
            <a:chExt cx="429" cy="208"/>
          </a:xfrm>
        </p:grpSpPr>
        <p:pic>
          <p:nvPicPr>
            <p:cNvPr id="10332" name="Picture 517" descr="BD18219_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08" y="3648"/>
              <a:ext cx="208" cy="20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0333" name="Picture 518" descr="BD18215_"/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87" y="3696"/>
              <a:ext cx="189" cy="1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0334" name="Line 519"/>
            <p:cNvSpPr>
              <a:spLocks noChangeShapeType="1"/>
            </p:cNvSpPr>
            <p:nvPr/>
          </p:nvSpPr>
          <p:spPr bwMode="auto">
            <a:xfrm>
              <a:off x="528" y="3744"/>
              <a:ext cx="80" cy="0"/>
            </a:xfrm>
            <a:prstGeom prst="line">
              <a:avLst/>
            </a:prstGeom>
            <a:noFill/>
            <a:ln w="1587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99190" dir="19211666" algn="ctr" rotWithShape="0">
                      <a:schemeClr val="bg2">
                        <a:alpha val="50000"/>
                      </a:scheme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103"/>
            </a:p>
          </p:txBody>
        </p:sp>
      </p:grpSp>
      <p:sp>
        <p:nvSpPr>
          <p:cNvPr id="622" name="Cylinder 621"/>
          <p:cNvSpPr/>
          <p:nvPr/>
        </p:nvSpPr>
        <p:spPr>
          <a:xfrm>
            <a:off x="5206901" y="4954190"/>
            <a:ext cx="130016" cy="165021"/>
          </a:xfrm>
          <a:prstGeom prst="can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103" dirty="0"/>
          </a:p>
        </p:txBody>
      </p:sp>
      <p:sp>
        <p:nvSpPr>
          <p:cNvPr id="624" name="Cylinder 623"/>
          <p:cNvSpPr/>
          <p:nvPr/>
        </p:nvSpPr>
        <p:spPr>
          <a:xfrm>
            <a:off x="6140769" y="4905435"/>
            <a:ext cx="317540" cy="225028"/>
          </a:xfrm>
          <a:prstGeom prst="can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103" dirty="0"/>
          </a:p>
        </p:txBody>
      </p:sp>
      <p:sp>
        <p:nvSpPr>
          <p:cNvPr id="626" name="Rectangle 80"/>
          <p:cNvSpPr>
            <a:spLocks noChangeArrowheads="1"/>
          </p:cNvSpPr>
          <p:nvPr/>
        </p:nvSpPr>
        <p:spPr bwMode="auto">
          <a:xfrm>
            <a:off x="5990750" y="5012949"/>
            <a:ext cx="437555" cy="186273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>
            <a:solidFill>
              <a:srgbClr val="000000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en-US" sz="1103" dirty="0"/>
          </a:p>
        </p:txBody>
      </p:sp>
      <p:sp>
        <p:nvSpPr>
          <p:cNvPr id="627" name="Rectangle 128"/>
          <p:cNvSpPr>
            <a:spLocks noChangeArrowheads="1"/>
          </p:cNvSpPr>
          <p:nvPr/>
        </p:nvSpPr>
        <p:spPr bwMode="auto">
          <a:xfrm>
            <a:off x="5911990" y="5071706"/>
            <a:ext cx="176272" cy="43756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>
            <a:solidFill>
              <a:srgbClr val="000000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en-US" sz="1103" dirty="0"/>
          </a:p>
        </p:txBody>
      </p:sp>
      <p:sp>
        <p:nvSpPr>
          <p:cNvPr id="628" name="Rectangle 129"/>
          <p:cNvSpPr>
            <a:spLocks noChangeArrowheads="1"/>
          </p:cNvSpPr>
          <p:nvPr/>
        </p:nvSpPr>
        <p:spPr bwMode="auto">
          <a:xfrm>
            <a:off x="5918240" y="5131714"/>
            <a:ext cx="176272" cy="43756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>
            <a:solidFill>
              <a:srgbClr val="000000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en-US" sz="1103" dirty="0"/>
          </a:p>
        </p:txBody>
      </p:sp>
      <p:sp>
        <p:nvSpPr>
          <p:cNvPr id="10320" name="TextBox 628"/>
          <p:cNvSpPr txBox="1">
            <a:spLocks noChangeArrowheads="1"/>
          </p:cNvSpPr>
          <p:nvPr/>
        </p:nvSpPr>
        <p:spPr bwMode="auto">
          <a:xfrm>
            <a:off x="5928241" y="4654154"/>
            <a:ext cx="881361" cy="23775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r>
              <a:rPr lang="en-US" altLang="en-US" sz="945">
                <a:solidFill>
                  <a:schemeClr val="bg1"/>
                </a:solidFill>
              </a:rPr>
              <a:t>Batch Service</a:t>
            </a:r>
          </a:p>
        </p:txBody>
      </p:sp>
      <p:grpSp>
        <p:nvGrpSpPr>
          <p:cNvPr id="631" name="Group 512"/>
          <p:cNvGrpSpPr>
            <a:grpSpLocks/>
          </p:cNvGrpSpPr>
          <p:nvPr/>
        </p:nvGrpSpPr>
        <p:grpSpPr bwMode="auto">
          <a:xfrm>
            <a:off x="7253868" y="4080567"/>
            <a:ext cx="554132" cy="347284"/>
            <a:chOff x="3792" y="816"/>
            <a:chExt cx="672" cy="403"/>
          </a:xfrm>
          <a:solidFill>
            <a:srgbClr val="0070C0"/>
          </a:solidFill>
        </p:grpSpPr>
        <p:sp>
          <p:nvSpPr>
            <p:cNvPr id="632" name="AutoShape 513"/>
            <p:cNvSpPr>
              <a:spLocks noChangeArrowheads="1"/>
            </p:cNvSpPr>
            <p:nvPr/>
          </p:nvSpPr>
          <p:spPr bwMode="auto">
            <a:xfrm>
              <a:off x="3792" y="816"/>
              <a:ext cx="508" cy="315"/>
            </a:xfrm>
            <a:prstGeom prst="can">
              <a:avLst>
                <a:gd name="adj" fmla="val 25000"/>
              </a:avLst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  <a:effectLst>
              <a:outerShdw dist="63500" dir="3187806" algn="ctr" rotWithShape="0">
                <a:srgbClr val="808080">
                  <a:alpha val="50000"/>
                </a:srgbClr>
              </a:outerShdw>
            </a:effectLst>
          </p:spPr>
          <p:txBody>
            <a:bodyPr tIns="54007" anchor="ctr" anchorCtr="1"/>
            <a:lstStyle/>
            <a:p>
              <a:pPr algn="ctr">
                <a:defRPr/>
              </a:pPr>
              <a:endParaRPr lang="en-US" altLang="en-US" sz="472" dirty="0">
                <a:cs typeface="Arial" panose="020B0604020202020204" pitchFamily="34" charset="0"/>
              </a:endParaRPr>
            </a:p>
          </p:txBody>
        </p:sp>
        <p:sp>
          <p:nvSpPr>
            <p:cNvPr id="633" name="AutoShape 514"/>
            <p:cNvSpPr>
              <a:spLocks noChangeArrowheads="1"/>
            </p:cNvSpPr>
            <p:nvPr/>
          </p:nvSpPr>
          <p:spPr bwMode="auto">
            <a:xfrm>
              <a:off x="3956" y="904"/>
              <a:ext cx="508" cy="315"/>
            </a:xfrm>
            <a:prstGeom prst="can">
              <a:avLst>
                <a:gd name="adj" fmla="val 25000"/>
              </a:avLst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  <a:effectLst>
              <a:outerShdw dist="63500" dir="3187806" algn="ctr" rotWithShape="0">
                <a:srgbClr val="808080">
                  <a:alpha val="50000"/>
                </a:srgbClr>
              </a:outerShdw>
            </a:effectLst>
          </p:spPr>
          <p:txBody>
            <a:bodyPr tIns="54007" anchor="ctr" anchorCtr="1"/>
            <a:lstStyle/>
            <a:p>
              <a:pPr algn="ctr">
                <a:defRPr/>
              </a:pPr>
              <a:r>
                <a:rPr lang="en-US" altLang="en-US" sz="827" dirty="0">
                  <a:cs typeface="Arial" panose="020B0604020202020204" pitchFamily="34" charset="0"/>
                </a:rPr>
                <a:t>SPRx</a:t>
              </a:r>
            </a:p>
          </p:txBody>
        </p:sp>
      </p:grpSp>
      <p:sp>
        <p:nvSpPr>
          <p:cNvPr id="6" name="Right Arrow 5"/>
          <p:cNvSpPr/>
          <p:nvPr/>
        </p:nvSpPr>
        <p:spPr>
          <a:xfrm>
            <a:off x="2606576" y="2806422"/>
            <a:ext cx="158769" cy="155019"/>
          </a:xfrm>
          <a:prstGeom prst="rightArrow">
            <a:avLst/>
          </a:prstGeom>
          <a:solidFill>
            <a:schemeClr val="tx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103" dirty="0"/>
          </a:p>
        </p:txBody>
      </p:sp>
      <p:sp>
        <p:nvSpPr>
          <p:cNvPr id="7" name="Right Arrow 6"/>
          <p:cNvSpPr/>
          <p:nvPr/>
        </p:nvSpPr>
        <p:spPr>
          <a:xfrm>
            <a:off x="2606576" y="3591522"/>
            <a:ext cx="158769" cy="122515"/>
          </a:xfrm>
          <a:prstGeom prst="rightArrow">
            <a:avLst/>
          </a:prstGeom>
          <a:solidFill>
            <a:schemeClr val="tx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103" dirty="0"/>
          </a:p>
        </p:txBody>
      </p:sp>
      <p:sp>
        <p:nvSpPr>
          <p:cNvPr id="8" name="Right Arrow 7"/>
          <p:cNvSpPr/>
          <p:nvPr/>
        </p:nvSpPr>
        <p:spPr>
          <a:xfrm>
            <a:off x="3867984" y="3231475"/>
            <a:ext cx="231279" cy="215027"/>
          </a:xfrm>
          <a:prstGeom prst="rightArrow">
            <a:avLst/>
          </a:prstGeom>
          <a:solidFill>
            <a:schemeClr val="tx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103" dirty="0"/>
          </a:p>
        </p:txBody>
      </p:sp>
      <p:pic>
        <p:nvPicPr>
          <p:cNvPr id="10326" name="Picture 6" descr="http://www.connectglobalone.com/pic/rulesengine/mond-rules-engine-5steps.jp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047" t="7732" r="77681" b="83334"/>
          <a:stretch>
            <a:fillRect/>
          </a:stretch>
        </p:blipFill>
        <p:spPr bwMode="auto">
          <a:xfrm>
            <a:off x="6224528" y="5036702"/>
            <a:ext cx="288786" cy="22877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Rectangle 8"/>
          <p:cNvSpPr/>
          <p:nvPr/>
        </p:nvSpPr>
        <p:spPr>
          <a:xfrm>
            <a:off x="5138144" y="4824174"/>
            <a:ext cx="827603" cy="540068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103" dirty="0"/>
          </a:p>
        </p:txBody>
      </p:sp>
      <p:pic>
        <p:nvPicPr>
          <p:cNvPr id="10328" name="Picture 8" descr="http://www.connectglobalone.com/pic/rulesengine/mond-rules-engine-5steps.jp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0320" t="75865" r="23415" b="5067"/>
          <a:stretch>
            <a:fillRect/>
          </a:stretch>
        </p:blipFill>
        <p:spPr bwMode="auto">
          <a:xfrm>
            <a:off x="5046882" y="4836677"/>
            <a:ext cx="786348" cy="5275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329" name="Picture 6" descr="http://www.connectglobalone.com/pic/rulesengine/mond-rules-engine-5steps.jp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549" t="2568" r="78546" b="91847"/>
          <a:stretch>
            <a:fillRect/>
          </a:stretch>
        </p:blipFill>
        <p:spPr bwMode="auto">
          <a:xfrm>
            <a:off x="5068133" y="5175469"/>
            <a:ext cx="236280" cy="19877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330" name="Line 527"/>
          <p:cNvSpPr>
            <a:spLocks noChangeShapeType="1"/>
          </p:cNvSpPr>
          <p:nvPr/>
        </p:nvSpPr>
        <p:spPr bwMode="auto">
          <a:xfrm flipH="1" flipV="1">
            <a:off x="7037131" y="5070457"/>
            <a:ext cx="347543" cy="6250"/>
          </a:xfrm>
          <a:prstGeom prst="line">
            <a:avLst/>
          </a:prstGeom>
          <a:noFill/>
          <a:ln w="38100">
            <a:solidFill>
              <a:srgbClr val="414141"/>
            </a:solidFill>
            <a:round/>
            <a:headEnd type="triangle" w="med" len="sm"/>
            <a:tailEnd type="triangle" w="med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99190" dir="19211666" algn="ctr" rotWithShape="0">
                    <a:schemeClr val="bg2">
                      <a:alpha val="50000"/>
                    </a:schemeClr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1103"/>
          </a:p>
        </p:txBody>
      </p:sp>
      <p:sp>
        <p:nvSpPr>
          <p:cNvPr id="10331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altLang="en-US" dirty="0"/>
              <a:t>Specialty Reference Architecture</a:t>
            </a:r>
            <a:endParaRPr lang="en-US" altLang="en-US" dirty="0" smtClean="0"/>
          </a:p>
        </p:txBody>
      </p:sp>
      <p:sp>
        <p:nvSpPr>
          <p:cNvPr id="859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dirty="0"/>
              <a:t>4</a:t>
            </a:r>
          </a:p>
        </p:txBody>
      </p:sp>
      <p:grpSp>
        <p:nvGrpSpPr>
          <p:cNvPr id="284" name="Group 283"/>
          <p:cNvGrpSpPr/>
          <p:nvPr/>
        </p:nvGrpSpPr>
        <p:grpSpPr>
          <a:xfrm>
            <a:off x="4158445" y="2453671"/>
            <a:ext cx="1376825" cy="901433"/>
            <a:chOff x="3408448" y="2628461"/>
            <a:chExt cx="1376825" cy="901433"/>
          </a:xfrm>
        </p:grpSpPr>
        <p:sp>
          <p:nvSpPr>
            <p:cNvPr id="285" name="Rounded Rectangle 284"/>
            <p:cNvSpPr/>
            <p:nvPr/>
          </p:nvSpPr>
          <p:spPr bwMode="auto">
            <a:xfrm>
              <a:off x="3530153" y="2651745"/>
              <a:ext cx="1161947" cy="878149"/>
            </a:xfrm>
            <a:prstGeom prst="roundRect">
              <a:avLst>
                <a:gd name="adj" fmla="val 7065"/>
              </a:avLst>
            </a:prstGeom>
            <a:solidFill>
              <a:sysClr val="window" lastClr="FFFFFF"/>
            </a:solidFill>
            <a:ln w="9525" cap="flat" cmpd="sng" algn="ctr">
              <a:solidFill>
                <a:sysClr val="window" lastClr="FFFFFF">
                  <a:lumMod val="50000"/>
                </a:sysClr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121917" tIns="60958" rIns="121917" bIns="60958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ＭＳ Ｐゴシック" pitchFamily="-12" charset="-128"/>
                <a:cs typeface="ＭＳ Ｐゴシック" pitchFamily="-12" charset="-128"/>
              </a:endParaRPr>
            </a:p>
          </p:txBody>
        </p:sp>
        <p:sp>
          <p:nvSpPr>
            <p:cNvPr id="286" name="TextBox 285"/>
            <p:cNvSpPr txBox="1"/>
            <p:nvPr/>
          </p:nvSpPr>
          <p:spPr>
            <a:xfrm>
              <a:off x="3408448" y="2628461"/>
              <a:ext cx="1376825" cy="250064"/>
            </a:xfrm>
            <a:prstGeom prst="rect">
              <a:avLst/>
            </a:prstGeom>
            <a:noFill/>
          </p:spPr>
          <p:txBody>
            <a:bodyPr wrap="square" lIns="121917" tIns="60958" rIns="121917" bIns="60958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Franklin Gothic Book"/>
                  <a:cs typeface="Franklin Gothic Book"/>
                </a:rPr>
                <a:t>Process Services</a:t>
              </a:r>
            </a:p>
          </p:txBody>
        </p:sp>
        <p:grpSp>
          <p:nvGrpSpPr>
            <p:cNvPr id="287" name="Group 286"/>
            <p:cNvGrpSpPr/>
            <p:nvPr/>
          </p:nvGrpSpPr>
          <p:grpSpPr>
            <a:xfrm>
              <a:off x="3648869" y="2874953"/>
              <a:ext cx="915679" cy="569020"/>
              <a:chOff x="3554292" y="2753364"/>
              <a:chExt cx="915679" cy="569020"/>
            </a:xfrm>
          </p:grpSpPr>
          <p:grpSp>
            <p:nvGrpSpPr>
              <p:cNvPr id="288" name="Group 287"/>
              <p:cNvGrpSpPr/>
              <p:nvPr/>
            </p:nvGrpSpPr>
            <p:grpSpPr>
              <a:xfrm>
                <a:off x="3554292" y="2753364"/>
                <a:ext cx="309858" cy="281520"/>
                <a:chOff x="5310724" y="2352924"/>
                <a:chExt cx="398754" cy="374816"/>
              </a:xfrm>
            </p:grpSpPr>
            <p:grpSp>
              <p:nvGrpSpPr>
                <p:cNvPr id="434" name="Group 433"/>
                <p:cNvGrpSpPr/>
                <p:nvPr/>
              </p:nvGrpSpPr>
              <p:grpSpPr>
                <a:xfrm>
                  <a:off x="5310724" y="2352924"/>
                  <a:ext cx="398754" cy="374816"/>
                  <a:chOff x="5310724" y="2352924"/>
                  <a:chExt cx="398754" cy="374816"/>
                </a:xfrm>
              </p:grpSpPr>
              <p:grpSp>
                <p:nvGrpSpPr>
                  <p:cNvPr id="437" name="Group 436"/>
                  <p:cNvGrpSpPr/>
                  <p:nvPr/>
                </p:nvGrpSpPr>
                <p:grpSpPr>
                  <a:xfrm rot="5400000">
                    <a:off x="5322693" y="2340955"/>
                    <a:ext cx="374816" cy="398754"/>
                    <a:chOff x="4471988" y="1985963"/>
                    <a:chExt cx="527051" cy="517525"/>
                  </a:xfrm>
                </p:grpSpPr>
                <p:sp>
                  <p:nvSpPr>
                    <p:cNvPr id="439" name="Freeform 13"/>
                    <p:cNvSpPr>
                      <a:spLocks/>
                    </p:cNvSpPr>
                    <p:nvPr/>
                  </p:nvSpPr>
                  <p:spPr bwMode="auto">
                    <a:xfrm>
                      <a:off x="4471988" y="2117725"/>
                      <a:ext cx="25400" cy="50800"/>
                    </a:xfrm>
                    <a:custGeom>
                      <a:avLst/>
                      <a:gdLst>
                        <a:gd name="T0" fmla="*/ 14 w 29"/>
                        <a:gd name="T1" fmla="*/ 57 h 57"/>
                        <a:gd name="T2" fmla="*/ 29 w 29"/>
                        <a:gd name="T3" fmla="*/ 43 h 57"/>
                        <a:gd name="T4" fmla="*/ 29 w 29"/>
                        <a:gd name="T5" fmla="*/ 14 h 57"/>
                        <a:gd name="T6" fmla="*/ 14 w 29"/>
                        <a:gd name="T7" fmla="*/ 0 h 57"/>
                        <a:gd name="T8" fmla="*/ 0 w 29"/>
                        <a:gd name="T9" fmla="*/ 14 h 57"/>
                        <a:gd name="T10" fmla="*/ 0 w 29"/>
                        <a:gd name="T11" fmla="*/ 43 h 57"/>
                        <a:gd name="T12" fmla="*/ 14 w 29"/>
                        <a:gd name="T13" fmla="*/ 57 h 5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29" h="57">
                          <a:moveTo>
                            <a:pt x="14" y="57"/>
                          </a:moveTo>
                          <a:cubicBezTo>
                            <a:pt x="22" y="57"/>
                            <a:pt x="29" y="51"/>
                            <a:pt x="29" y="43"/>
                          </a:cubicBezTo>
                          <a:cubicBezTo>
                            <a:pt x="29" y="14"/>
                            <a:pt x="29" y="14"/>
                            <a:pt x="29" y="14"/>
                          </a:cubicBezTo>
                          <a:cubicBezTo>
                            <a:pt x="29" y="6"/>
                            <a:pt x="22" y="0"/>
                            <a:pt x="14" y="0"/>
                          </a:cubicBezTo>
                          <a:cubicBezTo>
                            <a:pt x="7" y="0"/>
                            <a:pt x="0" y="6"/>
                            <a:pt x="0" y="14"/>
                          </a:cubicBezTo>
                          <a:cubicBezTo>
                            <a:pt x="0" y="43"/>
                            <a:pt x="0" y="43"/>
                            <a:pt x="0" y="43"/>
                          </a:cubicBezTo>
                          <a:cubicBezTo>
                            <a:pt x="0" y="51"/>
                            <a:pt x="7" y="57"/>
                            <a:pt x="14" y="57"/>
                          </a:cubicBezTo>
                          <a:close/>
                        </a:path>
                      </a:pathLst>
                    </a:custGeom>
                    <a:solidFill>
                      <a:srgbClr val="4D4D4F"/>
                    </a:solidFill>
                    <a:ln>
                      <a:noFill/>
                    </a:ln>
                    <a:extLst>
                      <a:ext uri="{91240B29-F687-4f45-9708-019B960494DF}">
                        <a14:hiddenLine xmlns=""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algn="l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200" b="0" i="0" u="none" strike="noStrike" kern="0" cap="none" spc="0" normalizeH="0" baseline="0" noProof="0" dirty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Arial"/>
                        <a:cs typeface=""/>
                      </a:endParaRPr>
                    </a:p>
                  </p:txBody>
                </p:sp>
                <p:sp>
                  <p:nvSpPr>
                    <p:cNvPr id="440" name="Freeform 14"/>
                    <p:cNvSpPr>
                      <a:spLocks/>
                    </p:cNvSpPr>
                    <p:nvPr/>
                  </p:nvSpPr>
                  <p:spPr bwMode="auto">
                    <a:xfrm>
                      <a:off x="4471988" y="2271713"/>
                      <a:ext cx="25400" cy="52388"/>
                    </a:xfrm>
                    <a:custGeom>
                      <a:avLst/>
                      <a:gdLst>
                        <a:gd name="T0" fmla="*/ 14 w 29"/>
                        <a:gd name="T1" fmla="*/ 58 h 58"/>
                        <a:gd name="T2" fmla="*/ 29 w 29"/>
                        <a:gd name="T3" fmla="*/ 43 h 58"/>
                        <a:gd name="T4" fmla="*/ 29 w 29"/>
                        <a:gd name="T5" fmla="*/ 15 h 58"/>
                        <a:gd name="T6" fmla="*/ 14 w 29"/>
                        <a:gd name="T7" fmla="*/ 0 h 58"/>
                        <a:gd name="T8" fmla="*/ 0 w 29"/>
                        <a:gd name="T9" fmla="*/ 15 h 58"/>
                        <a:gd name="T10" fmla="*/ 0 w 29"/>
                        <a:gd name="T11" fmla="*/ 43 h 58"/>
                        <a:gd name="T12" fmla="*/ 14 w 29"/>
                        <a:gd name="T13" fmla="*/ 58 h 5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29" h="58">
                          <a:moveTo>
                            <a:pt x="14" y="58"/>
                          </a:moveTo>
                          <a:cubicBezTo>
                            <a:pt x="22" y="58"/>
                            <a:pt x="29" y="51"/>
                            <a:pt x="29" y="43"/>
                          </a:cubicBezTo>
                          <a:cubicBezTo>
                            <a:pt x="29" y="15"/>
                            <a:pt x="29" y="15"/>
                            <a:pt x="29" y="15"/>
                          </a:cubicBezTo>
                          <a:cubicBezTo>
                            <a:pt x="29" y="7"/>
                            <a:pt x="22" y="0"/>
                            <a:pt x="14" y="0"/>
                          </a:cubicBezTo>
                          <a:cubicBezTo>
                            <a:pt x="7" y="0"/>
                            <a:pt x="0" y="7"/>
                            <a:pt x="0" y="15"/>
                          </a:cubicBezTo>
                          <a:cubicBezTo>
                            <a:pt x="0" y="43"/>
                            <a:pt x="0" y="43"/>
                            <a:pt x="0" y="43"/>
                          </a:cubicBezTo>
                          <a:cubicBezTo>
                            <a:pt x="0" y="51"/>
                            <a:pt x="7" y="58"/>
                            <a:pt x="14" y="58"/>
                          </a:cubicBezTo>
                          <a:close/>
                        </a:path>
                      </a:pathLst>
                    </a:custGeom>
                    <a:solidFill>
                      <a:srgbClr val="4D4D4F"/>
                    </a:solidFill>
                    <a:ln>
                      <a:noFill/>
                    </a:ln>
                    <a:extLst>
                      <a:ext uri="{91240B29-F687-4f45-9708-019B960494DF}">
                        <a14:hiddenLine xmlns=""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algn="l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200" b="0" i="0" u="none" strike="noStrike" kern="0" cap="none" spc="0" normalizeH="0" baseline="0" noProof="0" dirty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Arial"/>
                        <a:cs typeface=""/>
                      </a:endParaRPr>
                    </a:p>
                  </p:txBody>
                </p:sp>
                <p:sp>
                  <p:nvSpPr>
                    <p:cNvPr id="441" name="Freeform 15"/>
                    <p:cNvSpPr>
                      <a:spLocks/>
                    </p:cNvSpPr>
                    <p:nvPr/>
                  </p:nvSpPr>
                  <p:spPr bwMode="auto">
                    <a:xfrm>
                      <a:off x="4487863" y="2422525"/>
                      <a:ext cx="44450" cy="47625"/>
                    </a:xfrm>
                    <a:custGeom>
                      <a:avLst/>
                      <a:gdLst>
                        <a:gd name="T0" fmla="*/ 29 w 50"/>
                        <a:gd name="T1" fmla="*/ 8 h 53"/>
                        <a:gd name="T2" fmla="*/ 9 w 50"/>
                        <a:gd name="T3" fmla="*/ 4 h 53"/>
                        <a:gd name="T4" fmla="*/ 4 w 50"/>
                        <a:gd name="T5" fmla="*/ 24 h 53"/>
                        <a:gd name="T6" fmla="*/ 24 w 50"/>
                        <a:gd name="T7" fmla="*/ 49 h 53"/>
                        <a:gd name="T8" fmla="*/ 34 w 50"/>
                        <a:gd name="T9" fmla="*/ 53 h 53"/>
                        <a:gd name="T10" fmla="*/ 45 w 50"/>
                        <a:gd name="T11" fmla="*/ 49 h 53"/>
                        <a:gd name="T12" fmla="*/ 45 w 50"/>
                        <a:gd name="T13" fmla="*/ 28 h 53"/>
                        <a:gd name="T14" fmla="*/ 29 w 50"/>
                        <a:gd name="T15" fmla="*/ 8 h 5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</a:cxnLst>
                      <a:rect l="0" t="0" r="r" b="b"/>
                      <a:pathLst>
                        <a:path w="50" h="53">
                          <a:moveTo>
                            <a:pt x="29" y="8"/>
                          </a:moveTo>
                          <a:cubicBezTo>
                            <a:pt x="24" y="2"/>
                            <a:pt x="15" y="0"/>
                            <a:pt x="9" y="4"/>
                          </a:cubicBezTo>
                          <a:cubicBezTo>
                            <a:pt x="2" y="8"/>
                            <a:pt x="0" y="17"/>
                            <a:pt x="4" y="24"/>
                          </a:cubicBezTo>
                          <a:cubicBezTo>
                            <a:pt x="10" y="33"/>
                            <a:pt x="17" y="41"/>
                            <a:pt x="24" y="49"/>
                          </a:cubicBezTo>
                          <a:cubicBezTo>
                            <a:pt x="27" y="51"/>
                            <a:pt x="31" y="53"/>
                            <a:pt x="34" y="53"/>
                          </a:cubicBezTo>
                          <a:cubicBezTo>
                            <a:pt x="38" y="53"/>
                            <a:pt x="42" y="51"/>
                            <a:pt x="45" y="49"/>
                          </a:cubicBezTo>
                          <a:cubicBezTo>
                            <a:pt x="50" y="43"/>
                            <a:pt x="50" y="34"/>
                            <a:pt x="45" y="28"/>
                          </a:cubicBezTo>
                          <a:cubicBezTo>
                            <a:pt x="39" y="22"/>
                            <a:pt x="33" y="15"/>
                            <a:pt x="29" y="8"/>
                          </a:cubicBezTo>
                          <a:close/>
                        </a:path>
                      </a:pathLst>
                    </a:custGeom>
                    <a:solidFill>
                      <a:srgbClr val="4D4D4F"/>
                    </a:solidFill>
                    <a:ln>
                      <a:noFill/>
                    </a:ln>
                    <a:extLst>
                      <a:ext uri="{91240B29-F687-4f45-9708-019B960494DF}">
                        <a14:hiddenLine xmlns=""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algn="l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200" b="0" i="0" u="none" strike="noStrike" kern="0" cap="none" spc="0" normalizeH="0" baseline="0" noProof="0" dirty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Arial"/>
                        <a:cs typeface=""/>
                      </a:endParaRPr>
                    </a:p>
                  </p:txBody>
                </p:sp>
                <p:sp>
                  <p:nvSpPr>
                    <p:cNvPr id="442" name="Freeform 16"/>
                    <p:cNvSpPr>
                      <a:spLocks/>
                    </p:cNvSpPr>
                    <p:nvPr/>
                  </p:nvSpPr>
                  <p:spPr bwMode="auto">
                    <a:xfrm>
                      <a:off x="4471988" y="2193925"/>
                      <a:ext cx="25400" cy="52388"/>
                    </a:xfrm>
                    <a:custGeom>
                      <a:avLst/>
                      <a:gdLst>
                        <a:gd name="T0" fmla="*/ 14 w 29"/>
                        <a:gd name="T1" fmla="*/ 58 h 58"/>
                        <a:gd name="T2" fmla="*/ 29 w 29"/>
                        <a:gd name="T3" fmla="*/ 43 h 58"/>
                        <a:gd name="T4" fmla="*/ 29 w 29"/>
                        <a:gd name="T5" fmla="*/ 14 h 58"/>
                        <a:gd name="T6" fmla="*/ 14 w 29"/>
                        <a:gd name="T7" fmla="*/ 0 h 58"/>
                        <a:gd name="T8" fmla="*/ 0 w 29"/>
                        <a:gd name="T9" fmla="*/ 14 h 58"/>
                        <a:gd name="T10" fmla="*/ 0 w 29"/>
                        <a:gd name="T11" fmla="*/ 43 h 58"/>
                        <a:gd name="T12" fmla="*/ 14 w 29"/>
                        <a:gd name="T13" fmla="*/ 58 h 5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29" h="58">
                          <a:moveTo>
                            <a:pt x="14" y="58"/>
                          </a:moveTo>
                          <a:cubicBezTo>
                            <a:pt x="22" y="58"/>
                            <a:pt x="29" y="51"/>
                            <a:pt x="29" y="43"/>
                          </a:cubicBezTo>
                          <a:cubicBezTo>
                            <a:pt x="29" y="14"/>
                            <a:pt x="29" y="14"/>
                            <a:pt x="29" y="14"/>
                          </a:cubicBezTo>
                          <a:cubicBezTo>
                            <a:pt x="29" y="6"/>
                            <a:pt x="22" y="0"/>
                            <a:pt x="14" y="0"/>
                          </a:cubicBezTo>
                          <a:cubicBezTo>
                            <a:pt x="7" y="0"/>
                            <a:pt x="0" y="6"/>
                            <a:pt x="0" y="14"/>
                          </a:cubicBezTo>
                          <a:cubicBezTo>
                            <a:pt x="0" y="43"/>
                            <a:pt x="0" y="43"/>
                            <a:pt x="0" y="43"/>
                          </a:cubicBezTo>
                          <a:cubicBezTo>
                            <a:pt x="0" y="51"/>
                            <a:pt x="7" y="58"/>
                            <a:pt x="14" y="58"/>
                          </a:cubicBezTo>
                          <a:close/>
                        </a:path>
                      </a:pathLst>
                    </a:custGeom>
                    <a:solidFill>
                      <a:srgbClr val="4D4D4F"/>
                    </a:solidFill>
                    <a:ln>
                      <a:noFill/>
                    </a:ln>
                    <a:extLst>
                      <a:ext uri="{91240B29-F687-4f45-9708-019B960494DF}">
                        <a14:hiddenLine xmlns=""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algn="l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200" b="0" i="0" u="none" strike="noStrike" kern="0" cap="none" spc="0" normalizeH="0" baseline="0" noProof="0" dirty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Arial"/>
                        <a:cs typeface=""/>
                      </a:endParaRPr>
                    </a:p>
                  </p:txBody>
                </p:sp>
                <p:sp>
                  <p:nvSpPr>
                    <p:cNvPr id="443" name="Freeform 17"/>
                    <p:cNvSpPr>
                      <a:spLocks/>
                    </p:cNvSpPr>
                    <p:nvPr/>
                  </p:nvSpPr>
                  <p:spPr bwMode="auto">
                    <a:xfrm>
                      <a:off x="4830763" y="1985963"/>
                      <a:ext cx="50800" cy="26988"/>
                    </a:xfrm>
                    <a:custGeom>
                      <a:avLst/>
                      <a:gdLst>
                        <a:gd name="T0" fmla="*/ 15 w 57"/>
                        <a:gd name="T1" fmla="*/ 29 h 29"/>
                        <a:gd name="T2" fmla="*/ 44 w 57"/>
                        <a:gd name="T3" fmla="*/ 29 h 29"/>
                        <a:gd name="T4" fmla="*/ 57 w 57"/>
                        <a:gd name="T5" fmla="*/ 15 h 29"/>
                        <a:gd name="T6" fmla="*/ 43 w 57"/>
                        <a:gd name="T7" fmla="*/ 0 h 29"/>
                        <a:gd name="T8" fmla="*/ 15 w 57"/>
                        <a:gd name="T9" fmla="*/ 0 h 29"/>
                        <a:gd name="T10" fmla="*/ 0 w 57"/>
                        <a:gd name="T11" fmla="*/ 15 h 29"/>
                        <a:gd name="T12" fmla="*/ 15 w 57"/>
                        <a:gd name="T13" fmla="*/ 29 h 2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57" h="29">
                          <a:moveTo>
                            <a:pt x="15" y="29"/>
                          </a:moveTo>
                          <a:cubicBezTo>
                            <a:pt x="44" y="29"/>
                            <a:pt x="44" y="29"/>
                            <a:pt x="44" y="29"/>
                          </a:cubicBezTo>
                          <a:cubicBezTo>
                            <a:pt x="51" y="29"/>
                            <a:pt x="57" y="23"/>
                            <a:pt x="57" y="15"/>
                          </a:cubicBezTo>
                          <a:cubicBezTo>
                            <a:pt x="57" y="7"/>
                            <a:pt x="50" y="0"/>
                            <a:pt x="43" y="0"/>
                          </a:cubicBezTo>
                          <a:cubicBezTo>
                            <a:pt x="15" y="0"/>
                            <a:pt x="15" y="0"/>
                            <a:pt x="15" y="0"/>
                          </a:cubicBezTo>
                          <a:cubicBezTo>
                            <a:pt x="7" y="0"/>
                            <a:pt x="0" y="7"/>
                            <a:pt x="0" y="15"/>
                          </a:cubicBezTo>
                          <a:cubicBezTo>
                            <a:pt x="0" y="23"/>
                            <a:pt x="7" y="29"/>
                            <a:pt x="15" y="29"/>
                          </a:cubicBezTo>
                          <a:close/>
                        </a:path>
                      </a:pathLst>
                    </a:custGeom>
                    <a:solidFill>
                      <a:srgbClr val="4D4D4F"/>
                    </a:solidFill>
                    <a:ln>
                      <a:noFill/>
                    </a:ln>
                    <a:extLst>
                      <a:ext uri="{91240B29-F687-4f45-9708-019B960494DF}">
                        <a14:hiddenLine xmlns=""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algn="l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200" b="0" i="0" u="none" strike="noStrike" kern="0" cap="none" spc="0" normalizeH="0" baseline="0" noProof="0" dirty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Arial"/>
                        <a:cs typeface=""/>
                      </a:endParaRPr>
                    </a:p>
                  </p:txBody>
                </p:sp>
                <p:sp>
                  <p:nvSpPr>
                    <p:cNvPr id="444" name="Freeform 18"/>
                    <p:cNvSpPr>
                      <a:spLocks/>
                    </p:cNvSpPr>
                    <p:nvPr/>
                  </p:nvSpPr>
                  <p:spPr bwMode="auto">
                    <a:xfrm>
                      <a:off x="4905376" y="1997075"/>
                      <a:ext cx="50800" cy="41275"/>
                    </a:xfrm>
                    <a:custGeom>
                      <a:avLst/>
                      <a:gdLst>
                        <a:gd name="T0" fmla="*/ 10 w 56"/>
                        <a:gd name="T1" fmla="*/ 30 h 47"/>
                        <a:gd name="T2" fmla="*/ 31 w 56"/>
                        <a:gd name="T3" fmla="*/ 43 h 47"/>
                        <a:gd name="T4" fmla="*/ 40 w 56"/>
                        <a:gd name="T5" fmla="*/ 47 h 47"/>
                        <a:gd name="T6" fmla="*/ 51 w 56"/>
                        <a:gd name="T7" fmla="*/ 41 h 47"/>
                        <a:gd name="T8" fmla="*/ 49 w 56"/>
                        <a:gd name="T9" fmla="*/ 21 h 47"/>
                        <a:gd name="T10" fmla="*/ 22 w 56"/>
                        <a:gd name="T11" fmla="*/ 4 h 47"/>
                        <a:gd name="T12" fmla="*/ 3 w 56"/>
                        <a:gd name="T13" fmla="*/ 11 h 47"/>
                        <a:gd name="T14" fmla="*/ 10 w 56"/>
                        <a:gd name="T15" fmla="*/ 30 h 4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</a:cxnLst>
                      <a:rect l="0" t="0" r="r" b="b"/>
                      <a:pathLst>
                        <a:path w="56" h="47">
                          <a:moveTo>
                            <a:pt x="10" y="30"/>
                          </a:moveTo>
                          <a:cubicBezTo>
                            <a:pt x="17" y="33"/>
                            <a:pt x="25" y="38"/>
                            <a:pt x="31" y="43"/>
                          </a:cubicBezTo>
                          <a:cubicBezTo>
                            <a:pt x="34" y="46"/>
                            <a:pt x="37" y="47"/>
                            <a:pt x="40" y="47"/>
                          </a:cubicBezTo>
                          <a:cubicBezTo>
                            <a:pt x="44" y="47"/>
                            <a:pt x="49" y="45"/>
                            <a:pt x="51" y="41"/>
                          </a:cubicBezTo>
                          <a:cubicBezTo>
                            <a:pt x="56" y="35"/>
                            <a:pt x="55" y="26"/>
                            <a:pt x="49" y="21"/>
                          </a:cubicBezTo>
                          <a:cubicBezTo>
                            <a:pt x="41" y="14"/>
                            <a:pt x="32" y="9"/>
                            <a:pt x="22" y="4"/>
                          </a:cubicBezTo>
                          <a:cubicBezTo>
                            <a:pt x="15" y="0"/>
                            <a:pt x="7" y="3"/>
                            <a:pt x="3" y="11"/>
                          </a:cubicBezTo>
                          <a:cubicBezTo>
                            <a:pt x="0" y="18"/>
                            <a:pt x="3" y="26"/>
                            <a:pt x="10" y="30"/>
                          </a:cubicBezTo>
                          <a:close/>
                        </a:path>
                      </a:pathLst>
                    </a:custGeom>
                    <a:solidFill>
                      <a:srgbClr val="4D4D4F"/>
                    </a:solidFill>
                    <a:ln>
                      <a:noFill/>
                    </a:ln>
                    <a:extLst>
                      <a:ext uri="{91240B29-F687-4f45-9708-019B960494DF}">
                        <a14:hiddenLine xmlns=""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algn="l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200" b="0" i="0" u="none" strike="noStrike" kern="0" cap="none" spc="0" normalizeH="0" baseline="0" noProof="0" dirty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Arial"/>
                        <a:cs typeface=""/>
                      </a:endParaRPr>
                    </a:p>
                  </p:txBody>
                </p:sp>
                <p:sp>
                  <p:nvSpPr>
                    <p:cNvPr id="445" name="Freeform 19"/>
                    <p:cNvSpPr>
                      <a:spLocks/>
                    </p:cNvSpPr>
                    <p:nvPr/>
                  </p:nvSpPr>
                  <p:spPr bwMode="auto">
                    <a:xfrm>
                      <a:off x="4476751" y="2039938"/>
                      <a:ext cx="39688" cy="52388"/>
                    </a:xfrm>
                    <a:custGeom>
                      <a:avLst/>
                      <a:gdLst>
                        <a:gd name="T0" fmla="*/ 12 w 45"/>
                        <a:gd name="T1" fmla="*/ 56 h 57"/>
                        <a:gd name="T2" fmla="*/ 16 w 45"/>
                        <a:gd name="T3" fmla="*/ 57 h 57"/>
                        <a:gd name="T4" fmla="*/ 30 w 45"/>
                        <a:gd name="T5" fmla="*/ 47 h 57"/>
                        <a:gd name="T6" fmla="*/ 41 w 45"/>
                        <a:gd name="T7" fmla="*/ 24 h 57"/>
                        <a:gd name="T8" fmla="*/ 36 w 45"/>
                        <a:gd name="T9" fmla="*/ 4 h 57"/>
                        <a:gd name="T10" fmla="*/ 16 w 45"/>
                        <a:gd name="T11" fmla="*/ 9 h 57"/>
                        <a:gd name="T12" fmla="*/ 3 w 45"/>
                        <a:gd name="T13" fmla="*/ 38 h 57"/>
                        <a:gd name="T14" fmla="*/ 12 w 45"/>
                        <a:gd name="T15" fmla="*/ 56 h 5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</a:cxnLst>
                      <a:rect l="0" t="0" r="r" b="b"/>
                      <a:pathLst>
                        <a:path w="45" h="57">
                          <a:moveTo>
                            <a:pt x="12" y="56"/>
                          </a:moveTo>
                          <a:cubicBezTo>
                            <a:pt x="13" y="57"/>
                            <a:pt x="15" y="57"/>
                            <a:pt x="16" y="57"/>
                          </a:cubicBezTo>
                          <a:cubicBezTo>
                            <a:pt x="22" y="57"/>
                            <a:pt x="28" y="53"/>
                            <a:pt x="30" y="47"/>
                          </a:cubicBezTo>
                          <a:cubicBezTo>
                            <a:pt x="33" y="39"/>
                            <a:pt x="36" y="32"/>
                            <a:pt x="41" y="24"/>
                          </a:cubicBezTo>
                          <a:cubicBezTo>
                            <a:pt x="45" y="17"/>
                            <a:pt x="43" y="9"/>
                            <a:pt x="36" y="4"/>
                          </a:cubicBezTo>
                          <a:cubicBezTo>
                            <a:pt x="29" y="0"/>
                            <a:pt x="21" y="2"/>
                            <a:pt x="16" y="9"/>
                          </a:cubicBezTo>
                          <a:cubicBezTo>
                            <a:pt x="11" y="18"/>
                            <a:pt x="6" y="28"/>
                            <a:pt x="3" y="38"/>
                          </a:cubicBezTo>
                          <a:cubicBezTo>
                            <a:pt x="0" y="45"/>
                            <a:pt x="4" y="54"/>
                            <a:pt x="12" y="56"/>
                          </a:cubicBezTo>
                          <a:close/>
                        </a:path>
                      </a:pathLst>
                    </a:custGeom>
                    <a:solidFill>
                      <a:srgbClr val="4D4D4F"/>
                    </a:solidFill>
                    <a:ln>
                      <a:noFill/>
                    </a:ln>
                    <a:extLst>
                      <a:ext uri="{91240B29-F687-4f45-9708-019B960494DF}">
                        <a14:hiddenLine xmlns=""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algn="l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200" b="0" i="0" u="none" strike="noStrike" kern="0" cap="none" spc="0" normalizeH="0" baseline="0" noProof="0" dirty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Arial"/>
                        <a:cs typeface=""/>
                      </a:endParaRPr>
                    </a:p>
                  </p:txBody>
                </p:sp>
                <p:sp>
                  <p:nvSpPr>
                    <p:cNvPr id="446" name="Freeform 20"/>
                    <p:cNvSpPr>
                      <a:spLocks/>
                    </p:cNvSpPr>
                    <p:nvPr/>
                  </p:nvSpPr>
                  <p:spPr bwMode="auto">
                    <a:xfrm>
                      <a:off x="4522788" y="1992313"/>
                      <a:ext cx="52388" cy="39688"/>
                    </a:xfrm>
                    <a:custGeom>
                      <a:avLst/>
                      <a:gdLst>
                        <a:gd name="T0" fmla="*/ 55 w 58"/>
                        <a:gd name="T1" fmla="*/ 11 h 43"/>
                        <a:gd name="T2" fmla="*/ 37 w 58"/>
                        <a:gd name="T3" fmla="*/ 2 h 43"/>
                        <a:gd name="T4" fmla="*/ 9 w 58"/>
                        <a:gd name="T5" fmla="*/ 17 h 43"/>
                        <a:gd name="T6" fmla="*/ 4 w 58"/>
                        <a:gd name="T7" fmla="*/ 37 h 43"/>
                        <a:gd name="T8" fmla="*/ 16 w 58"/>
                        <a:gd name="T9" fmla="*/ 43 h 43"/>
                        <a:gd name="T10" fmla="*/ 24 w 58"/>
                        <a:gd name="T11" fmla="*/ 41 h 43"/>
                        <a:gd name="T12" fmla="*/ 47 w 58"/>
                        <a:gd name="T13" fmla="*/ 29 h 43"/>
                        <a:gd name="T14" fmla="*/ 55 w 58"/>
                        <a:gd name="T15" fmla="*/ 11 h 4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</a:cxnLst>
                      <a:rect l="0" t="0" r="r" b="b"/>
                      <a:pathLst>
                        <a:path w="58" h="43">
                          <a:moveTo>
                            <a:pt x="55" y="11"/>
                          </a:moveTo>
                          <a:cubicBezTo>
                            <a:pt x="53" y="3"/>
                            <a:pt x="44" y="0"/>
                            <a:pt x="37" y="2"/>
                          </a:cubicBezTo>
                          <a:cubicBezTo>
                            <a:pt x="27" y="6"/>
                            <a:pt x="17" y="11"/>
                            <a:pt x="9" y="17"/>
                          </a:cubicBezTo>
                          <a:cubicBezTo>
                            <a:pt x="2" y="21"/>
                            <a:pt x="0" y="30"/>
                            <a:pt x="4" y="37"/>
                          </a:cubicBezTo>
                          <a:cubicBezTo>
                            <a:pt x="7" y="41"/>
                            <a:pt x="12" y="43"/>
                            <a:pt x="16" y="43"/>
                          </a:cubicBezTo>
                          <a:cubicBezTo>
                            <a:pt x="19" y="43"/>
                            <a:pt x="22" y="43"/>
                            <a:pt x="24" y="41"/>
                          </a:cubicBezTo>
                          <a:cubicBezTo>
                            <a:pt x="31" y="36"/>
                            <a:pt x="39" y="32"/>
                            <a:pt x="47" y="29"/>
                          </a:cubicBezTo>
                          <a:cubicBezTo>
                            <a:pt x="54" y="27"/>
                            <a:pt x="58" y="18"/>
                            <a:pt x="55" y="11"/>
                          </a:cubicBezTo>
                          <a:close/>
                        </a:path>
                      </a:pathLst>
                    </a:custGeom>
                    <a:solidFill>
                      <a:srgbClr val="4D4D4F"/>
                    </a:solidFill>
                    <a:ln>
                      <a:noFill/>
                    </a:ln>
                    <a:extLst>
                      <a:ext uri="{91240B29-F687-4f45-9708-019B960494DF}">
                        <a14:hiddenLine xmlns=""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algn="l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200" b="0" i="0" u="none" strike="noStrike" kern="0" cap="none" spc="0" normalizeH="0" baseline="0" noProof="0" dirty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Arial"/>
                        <a:cs typeface=""/>
                      </a:endParaRPr>
                    </a:p>
                  </p:txBody>
                </p:sp>
                <p:sp>
                  <p:nvSpPr>
                    <p:cNvPr id="447" name="Freeform 21"/>
                    <p:cNvSpPr>
                      <a:spLocks/>
                    </p:cNvSpPr>
                    <p:nvPr/>
                  </p:nvSpPr>
                  <p:spPr bwMode="auto">
                    <a:xfrm>
                      <a:off x="4959351" y="2051050"/>
                      <a:ext cx="36513" cy="52388"/>
                    </a:xfrm>
                    <a:custGeom>
                      <a:avLst/>
                      <a:gdLst>
                        <a:gd name="T0" fmla="*/ 13 w 42"/>
                        <a:gd name="T1" fmla="*/ 47 h 58"/>
                        <a:gd name="T2" fmla="*/ 27 w 42"/>
                        <a:gd name="T3" fmla="*/ 58 h 58"/>
                        <a:gd name="T4" fmla="*/ 30 w 42"/>
                        <a:gd name="T5" fmla="*/ 57 h 58"/>
                        <a:gd name="T6" fmla="*/ 41 w 42"/>
                        <a:gd name="T7" fmla="*/ 40 h 58"/>
                        <a:gd name="T8" fmla="*/ 30 w 42"/>
                        <a:gd name="T9" fmla="*/ 10 h 58"/>
                        <a:gd name="T10" fmla="*/ 11 w 42"/>
                        <a:gd name="T11" fmla="*/ 4 h 58"/>
                        <a:gd name="T12" fmla="*/ 4 w 42"/>
                        <a:gd name="T13" fmla="*/ 23 h 58"/>
                        <a:gd name="T14" fmla="*/ 13 w 42"/>
                        <a:gd name="T15" fmla="*/ 47 h 5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</a:cxnLst>
                      <a:rect l="0" t="0" r="r" b="b"/>
                      <a:pathLst>
                        <a:path w="42" h="58">
                          <a:moveTo>
                            <a:pt x="13" y="47"/>
                          </a:moveTo>
                          <a:cubicBezTo>
                            <a:pt x="14" y="53"/>
                            <a:pt x="20" y="58"/>
                            <a:pt x="27" y="58"/>
                          </a:cubicBezTo>
                          <a:cubicBezTo>
                            <a:pt x="28" y="58"/>
                            <a:pt x="29" y="58"/>
                            <a:pt x="30" y="57"/>
                          </a:cubicBezTo>
                          <a:cubicBezTo>
                            <a:pt x="38" y="56"/>
                            <a:pt x="42" y="48"/>
                            <a:pt x="41" y="40"/>
                          </a:cubicBezTo>
                          <a:cubicBezTo>
                            <a:pt x="38" y="30"/>
                            <a:pt x="35" y="20"/>
                            <a:pt x="30" y="10"/>
                          </a:cubicBezTo>
                          <a:cubicBezTo>
                            <a:pt x="26" y="3"/>
                            <a:pt x="18" y="0"/>
                            <a:pt x="11" y="4"/>
                          </a:cubicBezTo>
                          <a:cubicBezTo>
                            <a:pt x="3" y="7"/>
                            <a:pt x="0" y="16"/>
                            <a:pt x="4" y="23"/>
                          </a:cubicBezTo>
                          <a:cubicBezTo>
                            <a:pt x="8" y="31"/>
                            <a:pt x="11" y="39"/>
                            <a:pt x="13" y="47"/>
                          </a:cubicBezTo>
                          <a:close/>
                        </a:path>
                      </a:pathLst>
                    </a:custGeom>
                    <a:solidFill>
                      <a:srgbClr val="4D4D4F"/>
                    </a:solidFill>
                    <a:ln>
                      <a:noFill/>
                    </a:ln>
                    <a:extLst>
                      <a:ext uri="{91240B29-F687-4f45-9708-019B960494DF}">
                        <a14:hiddenLine xmlns=""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algn="l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200" b="0" i="0" u="none" strike="noStrike" kern="0" cap="none" spc="0" normalizeH="0" baseline="0" noProof="0" dirty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Arial"/>
                        <a:cs typeface=""/>
                      </a:endParaRPr>
                    </a:p>
                  </p:txBody>
                </p:sp>
                <p:sp>
                  <p:nvSpPr>
                    <p:cNvPr id="448" name="Freeform 22"/>
                    <p:cNvSpPr>
                      <a:spLocks/>
                    </p:cNvSpPr>
                    <p:nvPr/>
                  </p:nvSpPr>
                  <p:spPr bwMode="auto">
                    <a:xfrm>
                      <a:off x="4598988" y="1985963"/>
                      <a:ext cx="52388" cy="26988"/>
                    </a:xfrm>
                    <a:custGeom>
                      <a:avLst/>
                      <a:gdLst>
                        <a:gd name="T0" fmla="*/ 14 w 58"/>
                        <a:gd name="T1" fmla="*/ 29 h 29"/>
                        <a:gd name="T2" fmla="*/ 43 w 58"/>
                        <a:gd name="T3" fmla="*/ 29 h 29"/>
                        <a:gd name="T4" fmla="*/ 58 w 58"/>
                        <a:gd name="T5" fmla="*/ 15 h 29"/>
                        <a:gd name="T6" fmla="*/ 43 w 58"/>
                        <a:gd name="T7" fmla="*/ 0 h 29"/>
                        <a:gd name="T8" fmla="*/ 14 w 58"/>
                        <a:gd name="T9" fmla="*/ 0 h 29"/>
                        <a:gd name="T10" fmla="*/ 0 w 58"/>
                        <a:gd name="T11" fmla="*/ 15 h 29"/>
                        <a:gd name="T12" fmla="*/ 14 w 58"/>
                        <a:gd name="T13" fmla="*/ 29 h 2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58" h="29">
                          <a:moveTo>
                            <a:pt x="14" y="29"/>
                          </a:moveTo>
                          <a:cubicBezTo>
                            <a:pt x="43" y="29"/>
                            <a:pt x="43" y="29"/>
                            <a:pt x="43" y="29"/>
                          </a:cubicBezTo>
                          <a:cubicBezTo>
                            <a:pt x="51" y="29"/>
                            <a:pt x="58" y="23"/>
                            <a:pt x="58" y="15"/>
                          </a:cubicBezTo>
                          <a:cubicBezTo>
                            <a:pt x="58" y="7"/>
                            <a:pt x="51" y="0"/>
                            <a:pt x="43" y="0"/>
                          </a:cubicBezTo>
                          <a:cubicBezTo>
                            <a:pt x="14" y="0"/>
                            <a:pt x="14" y="0"/>
                            <a:pt x="14" y="0"/>
                          </a:cubicBezTo>
                          <a:cubicBezTo>
                            <a:pt x="6" y="0"/>
                            <a:pt x="0" y="7"/>
                            <a:pt x="0" y="15"/>
                          </a:cubicBezTo>
                          <a:cubicBezTo>
                            <a:pt x="0" y="23"/>
                            <a:pt x="6" y="29"/>
                            <a:pt x="14" y="29"/>
                          </a:cubicBezTo>
                          <a:close/>
                        </a:path>
                      </a:pathLst>
                    </a:custGeom>
                    <a:solidFill>
                      <a:srgbClr val="4D4D4F"/>
                    </a:solidFill>
                    <a:ln>
                      <a:noFill/>
                    </a:ln>
                    <a:extLst>
                      <a:ext uri="{91240B29-F687-4f45-9708-019B960494DF}">
                        <a14:hiddenLine xmlns=""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algn="l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200" b="0" i="0" u="none" strike="noStrike" kern="0" cap="none" spc="0" normalizeH="0" baseline="0" noProof="0" dirty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Arial"/>
                        <a:cs typeface=""/>
                      </a:endParaRPr>
                    </a:p>
                  </p:txBody>
                </p:sp>
                <p:sp>
                  <p:nvSpPr>
                    <p:cNvPr id="449" name="Freeform 23"/>
                    <p:cNvSpPr>
                      <a:spLocks/>
                    </p:cNvSpPr>
                    <p:nvPr/>
                  </p:nvSpPr>
                  <p:spPr bwMode="auto">
                    <a:xfrm>
                      <a:off x="4676776" y="1985963"/>
                      <a:ext cx="50800" cy="26988"/>
                    </a:xfrm>
                    <a:custGeom>
                      <a:avLst/>
                      <a:gdLst>
                        <a:gd name="T0" fmla="*/ 15 w 58"/>
                        <a:gd name="T1" fmla="*/ 29 h 29"/>
                        <a:gd name="T2" fmla="*/ 43 w 58"/>
                        <a:gd name="T3" fmla="*/ 29 h 29"/>
                        <a:gd name="T4" fmla="*/ 58 w 58"/>
                        <a:gd name="T5" fmla="*/ 15 h 29"/>
                        <a:gd name="T6" fmla="*/ 43 w 58"/>
                        <a:gd name="T7" fmla="*/ 0 h 29"/>
                        <a:gd name="T8" fmla="*/ 15 w 58"/>
                        <a:gd name="T9" fmla="*/ 0 h 29"/>
                        <a:gd name="T10" fmla="*/ 0 w 58"/>
                        <a:gd name="T11" fmla="*/ 15 h 29"/>
                        <a:gd name="T12" fmla="*/ 15 w 58"/>
                        <a:gd name="T13" fmla="*/ 29 h 2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58" h="29">
                          <a:moveTo>
                            <a:pt x="15" y="29"/>
                          </a:moveTo>
                          <a:cubicBezTo>
                            <a:pt x="43" y="29"/>
                            <a:pt x="43" y="29"/>
                            <a:pt x="43" y="29"/>
                          </a:cubicBezTo>
                          <a:cubicBezTo>
                            <a:pt x="51" y="29"/>
                            <a:pt x="58" y="23"/>
                            <a:pt x="58" y="15"/>
                          </a:cubicBezTo>
                          <a:cubicBezTo>
                            <a:pt x="58" y="7"/>
                            <a:pt x="51" y="0"/>
                            <a:pt x="43" y="0"/>
                          </a:cubicBezTo>
                          <a:cubicBezTo>
                            <a:pt x="15" y="0"/>
                            <a:pt x="15" y="0"/>
                            <a:pt x="15" y="0"/>
                          </a:cubicBezTo>
                          <a:cubicBezTo>
                            <a:pt x="7" y="0"/>
                            <a:pt x="0" y="7"/>
                            <a:pt x="0" y="15"/>
                          </a:cubicBezTo>
                          <a:cubicBezTo>
                            <a:pt x="0" y="23"/>
                            <a:pt x="7" y="29"/>
                            <a:pt x="15" y="29"/>
                          </a:cubicBezTo>
                          <a:close/>
                        </a:path>
                      </a:pathLst>
                    </a:custGeom>
                    <a:solidFill>
                      <a:srgbClr val="4D4D4F"/>
                    </a:solidFill>
                    <a:ln>
                      <a:noFill/>
                    </a:ln>
                    <a:extLst>
                      <a:ext uri="{91240B29-F687-4f45-9708-019B960494DF}">
                        <a14:hiddenLine xmlns=""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algn="l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200" b="0" i="0" u="none" strike="noStrike" kern="0" cap="none" spc="0" normalizeH="0" baseline="0" noProof="0" dirty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Arial"/>
                        <a:cs typeface=""/>
                      </a:endParaRPr>
                    </a:p>
                  </p:txBody>
                </p:sp>
                <p:sp>
                  <p:nvSpPr>
                    <p:cNvPr id="450" name="Freeform 24"/>
                    <p:cNvSpPr>
                      <a:spLocks/>
                    </p:cNvSpPr>
                    <p:nvPr/>
                  </p:nvSpPr>
                  <p:spPr bwMode="auto">
                    <a:xfrm>
                      <a:off x="4752976" y="1985963"/>
                      <a:ext cx="52388" cy="26988"/>
                    </a:xfrm>
                    <a:custGeom>
                      <a:avLst/>
                      <a:gdLst>
                        <a:gd name="T0" fmla="*/ 15 w 58"/>
                        <a:gd name="T1" fmla="*/ 29 h 29"/>
                        <a:gd name="T2" fmla="*/ 43 w 58"/>
                        <a:gd name="T3" fmla="*/ 29 h 29"/>
                        <a:gd name="T4" fmla="*/ 58 w 58"/>
                        <a:gd name="T5" fmla="*/ 15 h 29"/>
                        <a:gd name="T6" fmla="*/ 43 w 58"/>
                        <a:gd name="T7" fmla="*/ 0 h 29"/>
                        <a:gd name="T8" fmla="*/ 15 w 58"/>
                        <a:gd name="T9" fmla="*/ 0 h 29"/>
                        <a:gd name="T10" fmla="*/ 0 w 58"/>
                        <a:gd name="T11" fmla="*/ 15 h 29"/>
                        <a:gd name="T12" fmla="*/ 15 w 58"/>
                        <a:gd name="T13" fmla="*/ 29 h 2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58" h="29">
                          <a:moveTo>
                            <a:pt x="15" y="29"/>
                          </a:moveTo>
                          <a:cubicBezTo>
                            <a:pt x="43" y="29"/>
                            <a:pt x="43" y="29"/>
                            <a:pt x="43" y="29"/>
                          </a:cubicBezTo>
                          <a:cubicBezTo>
                            <a:pt x="51" y="29"/>
                            <a:pt x="58" y="23"/>
                            <a:pt x="58" y="15"/>
                          </a:cubicBezTo>
                          <a:cubicBezTo>
                            <a:pt x="58" y="7"/>
                            <a:pt x="51" y="0"/>
                            <a:pt x="43" y="0"/>
                          </a:cubicBezTo>
                          <a:cubicBezTo>
                            <a:pt x="15" y="0"/>
                            <a:pt x="15" y="0"/>
                            <a:pt x="15" y="0"/>
                          </a:cubicBezTo>
                          <a:cubicBezTo>
                            <a:pt x="7" y="0"/>
                            <a:pt x="0" y="7"/>
                            <a:pt x="0" y="15"/>
                          </a:cubicBezTo>
                          <a:cubicBezTo>
                            <a:pt x="0" y="23"/>
                            <a:pt x="7" y="29"/>
                            <a:pt x="15" y="29"/>
                          </a:cubicBezTo>
                          <a:close/>
                        </a:path>
                      </a:pathLst>
                    </a:custGeom>
                    <a:solidFill>
                      <a:srgbClr val="4D4D4F"/>
                    </a:solidFill>
                    <a:ln>
                      <a:noFill/>
                    </a:ln>
                    <a:extLst>
                      <a:ext uri="{91240B29-F687-4f45-9708-019B960494DF}">
                        <a14:hiddenLine xmlns=""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algn="l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200" b="0" i="0" u="none" strike="noStrike" kern="0" cap="none" spc="0" normalizeH="0" baseline="0" noProof="0" dirty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Arial"/>
                        <a:cs typeface=""/>
                      </a:endParaRPr>
                    </a:p>
                  </p:txBody>
                </p:sp>
                <p:sp>
                  <p:nvSpPr>
                    <p:cNvPr id="451" name="Freeform 25"/>
                    <p:cNvSpPr>
                      <a:spLocks/>
                    </p:cNvSpPr>
                    <p:nvPr/>
                  </p:nvSpPr>
                  <p:spPr bwMode="auto">
                    <a:xfrm>
                      <a:off x="4471988" y="2349500"/>
                      <a:ext cx="26988" cy="52388"/>
                    </a:xfrm>
                    <a:custGeom>
                      <a:avLst/>
                      <a:gdLst>
                        <a:gd name="T0" fmla="*/ 30 w 31"/>
                        <a:gd name="T1" fmla="*/ 42 h 58"/>
                        <a:gd name="T2" fmla="*/ 29 w 31"/>
                        <a:gd name="T3" fmla="*/ 28 h 58"/>
                        <a:gd name="T4" fmla="*/ 29 w 31"/>
                        <a:gd name="T5" fmla="*/ 15 h 58"/>
                        <a:gd name="T6" fmla="*/ 14 w 31"/>
                        <a:gd name="T7" fmla="*/ 0 h 58"/>
                        <a:gd name="T8" fmla="*/ 0 w 31"/>
                        <a:gd name="T9" fmla="*/ 15 h 58"/>
                        <a:gd name="T10" fmla="*/ 0 w 31"/>
                        <a:gd name="T11" fmla="*/ 28 h 58"/>
                        <a:gd name="T12" fmla="*/ 1 w 31"/>
                        <a:gd name="T13" fmla="*/ 45 h 58"/>
                        <a:gd name="T14" fmla="*/ 15 w 31"/>
                        <a:gd name="T15" fmla="*/ 58 h 58"/>
                        <a:gd name="T16" fmla="*/ 17 w 31"/>
                        <a:gd name="T17" fmla="*/ 58 h 58"/>
                        <a:gd name="T18" fmla="*/ 30 w 31"/>
                        <a:gd name="T19" fmla="*/ 42 h 5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</a:cxnLst>
                      <a:rect l="0" t="0" r="r" b="b"/>
                      <a:pathLst>
                        <a:path w="31" h="58">
                          <a:moveTo>
                            <a:pt x="30" y="42"/>
                          </a:moveTo>
                          <a:cubicBezTo>
                            <a:pt x="29" y="37"/>
                            <a:pt x="29" y="33"/>
                            <a:pt x="29" y="28"/>
                          </a:cubicBezTo>
                          <a:cubicBezTo>
                            <a:pt x="29" y="15"/>
                            <a:pt x="29" y="15"/>
                            <a:pt x="29" y="15"/>
                          </a:cubicBezTo>
                          <a:cubicBezTo>
                            <a:pt x="29" y="7"/>
                            <a:pt x="22" y="0"/>
                            <a:pt x="14" y="0"/>
                          </a:cubicBezTo>
                          <a:cubicBezTo>
                            <a:pt x="7" y="0"/>
                            <a:pt x="0" y="7"/>
                            <a:pt x="0" y="15"/>
                          </a:cubicBezTo>
                          <a:cubicBezTo>
                            <a:pt x="0" y="28"/>
                            <a:pt x="0" y="28"/>
                            <a:pt x="0" y="28"/>
                          </a:cubicBezTo>
                          <a:cubicBezTo>
                            <a:pt x="0" y="34"/>
                            <a:pt x="0" y="39"/>
                            <a:pt x="1" y="45"/>
                          </a:cubicBezTo>
                          <a:cubicBezTo>
                            <a:pt x="2" y="52"/>
                            <a:pt x="8" y="58"/>
                            <a:pt x="15" y="58"/>
                          </a:cubicBezTo>
                          <a:cubicBezTo>
                            <a:pt x="16" y="58"/>
                            <a:pt x="17" y="58"/>
                            <a:pt x="17" y="58"/>
                          </a:cubicBezTo>
                          <a:cubicBezTo>
                            <a:pt x="25" y="57"/>
                            <a:pt x="31" y="50"/>
                            <a:pt x="30" y="42"/>
                          </a:cubicBezTo>
                          <a:close/>
                        </a:path>
                      </a:pathLst>
                    </a:custGeom>
                    <a:solidFill>
                      <a:srgbClr val="4D4D4F"/>
                    </a:solidFill>
                    <a:ln>
                      <a:noFill/>
                    </a:ln>
                    <a:extLst>
                      <a:ext uri="{91240B29-F687-4f45-9708-019B960494DF}">
                        <a14:hiddenLine xmlns=""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algn="l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200" b="0" i="0" u="none" strike="noStrike" kern="0" cap="none" spc="0" normalizeH="0" baseline="0" noProof="0" dirty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Arial"/>
                        <a:cs typeface=""/>
                      </a:endParaRPr>
                    </a:p>
                  </p:txBody>
                </p:sp>
                <p:sp>
                  <p:nvSpPr>
                    <p:cNvPr id="452" name="Freeform 26"/>
                    <p:cNvSpPr>
                      <a:spLocks/>
                    </p:cNvSpPr>
                    <p:nvPr/>
                  </p:nvSpPr>
                  <p:spPr bwMode="auto">
                    <a:xfrm>
                      <a:off x="4973638" y="2282825"/>
                      <a:ext cx="25400" cy="52388"/>
                    </a:xfrm>
                    <a:custGeom>
                      <a:avLst/>
                      <a:gdLst>
                        <a:gd name="T0" fmla="*/ 14 w 29"/>
                        <a:gd name="T1" fmla="*/ 0 h 58"/>
                        <a:gd name="T2" fmla="*/ 0 w 29"/>
                        <a:gd name="T3" fmla="*/ 15 h 58"/>
                        <a:gd name="T4" fmla="*/ 0 w 29"/>
                        <a:gd name="T5" fmla="*/ 44 h 58"/>
                        <a:gd name="T6" fmla="*/ 14 w 29"/>
                        <a:gd name="T7" fmla="*/ 58 h 58"/>
                        <a:gd name="T8" fmla="*/ 29 w 29"/>
                        <a:gd name="T9" fmla="*/ 44 h 58"/>
                        <a:gd name="T10" fmla="*/ 29 w 29"/>
                        <a:gd name="T11" fmla="*/ 15 h 58"/>
                        <a:gd name="T12" fmla="*/ 14 w 29"/>
                        <a:gd name="T13" fmla="*/ 0 h 5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29" h="58">
                          <a:moveTo>
                            <a:pt x="14" y="0"/>
                          </a:moveTo>
                          <a:cubicBezTo>
                            <a:pt x="6" y="0"/>
                            <a:pt x="0" y="7"/>
                            <a:pt x="0" y="15"/>
                          </a:cubicBezTo>
                          <a:cubicBezTo>
                            <a:pt x="0" y="44"/>
                            <a:pt x="0" y="44"/>
                            <a:pt x="0" y="44"/>
                          </a:cubicBezTo>
                          <a:cubicBezTo>
                            <a:pt x="0" y="52"/>
                            <a:pt x="6" y="58"/>
                            <a:pt x="14" y="58"/>
                          </a:cubicBezTo>
                          <a:cubicBezTo>
                            <a:pt x="22" y="58"/>
                            <a:pt x="29" y="52"/>
                            <a:pt x="29" y="44"/>
                          </a:cubicBezTo>
                          <a:cubicBezTo>
                            <a:pt x="29" y="15"/>
                            <a:pt x="29" y="15"/>
                            <a:pt x="29" y="15"/>
                          </a:cubicBezTo>
                          <a:cubicBezTo>
                            <a:pt x="29" y="7"/>
                            <a:pt x="22" y="0"/>
                            <a:pt x="14" y="0"/>
                          </a:cubicBezTo>
                          <a:close/>
                        </a:path>
                      </a:pathLst>
                    </a:custGeom>
                    <a:solidFill>
                      <a:srgbClr val="4D4D4F"/>
                    </a:solidFill>
                    <a:ln>
                      <a:noFill/>
                    </a:ln>
                    <a:extLst>
                      <a:ext uri="{91240B29-F687-4f45-9708-019B960494DF}">
                        <a14:hiddenLine xmlns=""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algn="l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200" b="0" i="0" u="none" strike="noStrike" kern="0" cap="none" spc="0" normalizeH="0" baseline="0" noProof="0" dirty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Arial"/>
                        <a:cs typeface=""/>
                      </a:endParaRPr>
                    </a:p>
                  </p:txBody>
                </p:sp>
                <p:sp>
                  <p:nvSpPr>
                    <p:cNvPr id="453" name="Freeform 28"/>
                    <p:cNvSpPr>
                      <a:spLocks/>
                    </p:cNvSpPr>
                    <p:nvPr/>
                  </p:nvSpPr>
                  <p:spPr bwMode="auto">
                    <a:xfrm>
                      <a:off x="4927601" y="2432050"/>
                      <a:ext cx="47625" cy="46038"/>
                    </a:xfrm>
                    <a:custGeom>
                      <a:avLst/>
                      <a:gdLst>
                        <a:gd name="T0" fmla="*/ 25 w 53"/>
                        <a:gd name="T1" fmla="*/ 7 h 51"/>
                        <a:gd name="T2" fmla="*/ 7 w 53"/>
                        <a:gd name="T3" fmla="*/ 25 h 51"/>
                        <a:gd name="T4" fmla="*/ 5 w 53"/>
                        <a:gd name="T5" fmla="*/ 45 h 51"/>
                        <a:gd name="T6" fmla="*/ 16 w 53"/>
                        <a:gd name="T7" fmla="*/ 51 h 51"/>
                        <a:gd name="T8" fmla="*/ 25 w 53"/>
                        <a:gd name="T9" fmla="*/ 47 h 51"/>
                        <a:gd name="T10" fmla="*/ 48 w 53"/>
                        <a:gd name="T11" fmla="*/ 25 h 51"/>
                        <a:gd name="T12" fmla="*/ 45 w 53"/>
                        <a:gd name="T13" fmla="*/ 5 h 51"/>
                        <a:gd name="T14" fmla="*/ 25 w 53"/>
                        <a:gd name="T15" fmla="*/ 7 h 5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</a:cxnLst>
                      <a:rect l="0" t="0" r="r" b="b"/>
                      <a:pathLst>
                        <a:path w="53" h="51">
                          <a:moveTo>
                            <a:pt x="25" y="7"/>
                          </a:moveTo>
                          <a:cubicBezTo>
                            <a:pt x="20" y="14"/>
                            <a:pt x="14" y="20"/>
                            <a:pt x="7" y="25"/>
                          </a:cubicBezTo>
                          <a:cubicBezTo>
                            <a:pt x="1" y="30"/>
                            <a:pt x="0" y="39"/>
                            <a:pt x="5" y="45"/>
                          </a:cubicBezTo>
                          <a:cubicBezTo>
                            <a:pt x="8" y="49"/>
                            <a:pt x="12" y="51"/>
                            <a:pt x="16" y="51"/>
                          </a:cubicBezTo>
                          <a:cubicBezTo>
                            <a:pt x="20" y="51"/>
                            <a:pt x="23" y="50"/>
                            <a:pt x="25" y="47"/>
                          </a:cubicBezTo>
                          <a:cubicBezTo>
                            <a:pt x="34" y="41"/>
                            <a:pt x="41" y="33"/>
                            <a:pt x="48" y="25"/>
                          </a:cubicBezTo>
                          <a:cubicBezTo>
                            <a:pt x="53" y="19"/>
                            <a:pt x="52" y="9"/>
                            <a:pt x="45" y="5"/>
                          </a:cubicBezTo>
                          <a:cubicBezTo>
                            <a:pt x="39" y="0"/>
                            <a:pt x="30" y="1"/>
                            <a:pt x="25" y="7"/>
                          </a:cubicBezTo>
                          <a:close/>
                        </a:path>
                      </a:pathLst>
                    </a:custGeom>
                    <a:solidFill>
                      <a:srgbClr val="4D4D4F"/>
                    </a:solidFill>
                    <a:ln>
                      <a:noFill/>
                    </a:ln>
                    <a:extLst>
                      <a:ext uri="{91240B29-F687-4f45-9708-019B960494DF}">
                        <a14:hiddenLine xmlns=""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algn="l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200" b="0" i="0" u="none" strike="noStrike" kern="0" cap="none" spc="0" normalizeH="0" baseline="0" noProof="0" dirty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Arial"/>
                        <a:cs typeface=""/>
                      </a:endParaRPr>
                    </a:p>
                  </p:txBody>
                </p:sp>
                <p:sp>
                  <p:nvSpPr>
                    <p:cNvPr id="454" name="Freeform 29"/>
                    <p:cNvSpPr>
                      <a:spLocks/>
                    </p:cNvSpPr>
                    <p:nvPr/>
                  </p:nvSpPr>
                  <p:spPr bwMode="auto">
                    <a:xfrm>
                      <a:off x="4968876" y="2360613"/>
                      <a:ext cx="30163" cy="52388"/>
                    </a:xfrm>
                    <a:custGeom>
                      <a:avLst/>
                      <a:gdLst>
                        <a:gd name="T0" fmla="*/ 19 w 34"/>
                        <a:gd name="T1" fmla="*/ 0 h 58"/>
                        <a:gd name="T2" fmla="*/ 5 w 34"/>
                        <a:gd name="T3" fmla="*/ 15 h 58"/>
                        <a:gd name="T4" fmla="*/ 2 w 34"/>
                        <a:gd name="T5" fmla="*/ 40 h 58"/>
                        <a:gd name="T6" fmla="*/ 13 w 34"/>
                        <a:gd name="T7" fmla="*/ 58 h 58"/>
                        <a:gd name="T8" fmla="*/ 16 w 34"/>
                        <a:gd name="T9" fmla="*/ 58 h 58"/>
                        <a:gd name="T10" fmla="*/ 30 w 34"/>
                        <a:gd name="T11" fmla="*/ 47 h 58"/>
                        <a:gd name="T12" fmla="*/ 34 w 34"/>
                        <a:gd name="T13" fmla="*/ 15 h 58"/>
                        <a:gd name="T14" fmla="*/ 34 w 34"/>
                        <a:gd name="T15" fmla="*/ 14 h 58"/>
                        <a:gd name="T16" fmla="*/ 19 w 34"/>
                        <a:gd name="T17" fmla="*/ 0 h 5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</a:cxnLst>
                      <a:rect l="0" t="0" r="r" b="b"/>
                      <a:pathLst>
                        <a:path w="34" h="58">
                          <a:moveTo>
                            <a:pt x="19" y="0"/>
                          </a:moveTo>
                          <a:cubicBezTo>
                            <a:pt x="11" y="0"/>
                            <a:pt x="5" y="7"/>
                            <a:pt x="5" y="15"/>
                          </a:cubicBezTo>
                          <a:cubicBezTo>
                            <a:pt x="5" y="24"/>
                            <a:pt x="4" y="32"/>
                            <a:pt x="2" y="40"/>
                          </a:cubicBezTo>
                          <a:cubicBezTo>
                            <a:pt x="0" y="48"/>
                            <a:pt x="5" y="56"/>
                            <a:pt x="13" y="58"/>
                          </a:cubicBezTo>
                          <a:cubicBezTo>
                            <a:pt x="14" y="58"/>
                            <a:pt x="15" y="58"/>
                            <a:pt x="16" y="58"/>
                          </a:cubicBezTo>
                          <a:cubicBezTo>
                            <a:pt x="23" y="58"/>
                            <a:pt x="29" y="53"/>
                            <a:pt x="30" y="47"/>
                          </a:cubicBezTo>
                          <a:cubicBezTo>
                            <a:pt x="32" y="36"/>
                            <a:pt x="34" y="26"/>
                            <a:pt x="34" y="15"/>
                          </a:cubicBezTo>
                          <a:cubicBezTo>
                            <a:pt x="34" y="14"/>
                            <a:pt x="34" y="14"/>
                            <a:pt x="34" y="14"/>
                          </a:cubicBezTo>
                          <a:cubicBezTo>
                            <a:pt x="34" y="6"/>
                            <a:pt x="27" y="0"/>
                            <a:pt x="19" y="0"/>
                          </a:cubicBezTo>
                          <a:close/>
                        </a:path>
                      </a:pathLst>
                    </a:custGeom>
                    <a:solidFill>
                      <a:srgbClr val="4D4D4F"/>
                    </a:solidFill>
                    <a:ln>
                      <a:noFill/>
                    </a:ln>
                    <a:extLst>
                      <a:ext uri="{91240B29-F687-4f45-9708-019B960494DF}">
                        <a14:hiddenLine xmlns=""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algn="l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200" b="0" i="0" u="none" strike="noStrike" kern="0" cap="none" spc="0" normalizeH="0" baseline="0" noProof="0" dirty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Arial"/>
                        <a:cs typeface=""/>
                      </a:endParaRPr>
                    </a:p>
                  </p:txBody>
                </p:sp>
                <p:sp>
                  <p:nvSpPr>
                    <p:cNvPr id="455" name="Freeform 30"/>
                    <p:cNvSpPr>
                      <a:spLocks/>
                    </p:cNvSpPr>
                    <p:nvPr/>
                  </p:nvSpPr>
                  <p:spPr bwMode="auto">
                    <a:xfrm>
                      <a:off x="4973638" y="2205038"/>
                      <a:ext cx="25400" cy="52388"/>
                    </a:xfrm>
                    <a:custGeom>
                      <a:avLst/>
                      <a:gdLst>
                        <a:gd name="T0" fmla="*/ 14 w 29"/>
                        <a:gd name="T1" fmla="*/ 0 h 58"/>
                        <a:gd name="T2" fmla="*/ 0 w 29"/>
                        <a:gd name="T3" fmla="*/ 15 h 58"/>
                        <a:gd name="T4" fmla="*/ 0 w 29"/>
                        <a:gd name="T5" fmla="*/ 43 h 58"/>
                        <a:gd name="T6" fmla="*/ 14 w 29"/>
                        <a:gd name="T7" fmla="*/ 58 h 58"/>
                        <a:gd name="T8" fmla="*/ 29 w 29"/>
                        <a:gd name="T9" fmla="*/ 43 h 58"/>
                        <a:gd name="T10" fmla="*/ 29 w 29"/>
                        <a:gd name="T11" fmla="*/ 15 h 58"/>
                        <a:gd name="T12" fmla="*/ 14 w 29"/>
                        <a:gd name="T13" fmla="*/ 0 h 5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29" h="58">
                          <a:moveTo>
                            <a:pt x="14" y="0"/>
                          </a:moveTo>
                          <a:cubicBezTo>
                            <a:pt x="6" y="0"/>
                            <a:pt x="0" y="7"/>
                            <a:pt x="0" y="15"/>
                          </a:cubicBezTo>
                          <a:cubicBezTo>
                            <a:pt x="0" y="43"/>
                            <a:pt x="0" y="43"/>
                            <a:pt x="0" y="43"/>
                          </a:cubicBezTo>
                          <a:cubicBezTo>
                            <a:pt x="0" y="51"/>
                            <a:pt x="6" y="58"/>
                            <a:pt x="14" y="58"/>
                          </a:cubicBezTo>
                          <a:cubicBezTo>
                            <a:pt x="22" y="58"/>
                            <a:pt x="29" y="51"/>
                            <a:pt x="29" y="43"/>
                          </a:cubicBezTo>
                          <a:cubicBezTo>
                            <a:pt x="29" y="15"/>
                            <a:pt x="29" y="15"/>
                            <a:pt x="29" y="15"/>
                          </a:cubicBezTo>
                          <a:cubicBezTo>
                            <a:pt x="29" y="7"/>
                            <a:pt x="22" y="0"/>
                            <a:pt x="14" y="0"/>
                          </a:cubicBezTo>
                          <a:close/>
                        </a:path>
                      </a:pathLst>
                    </a:custGeom>
                    <a:solidFill>
                      <a:srgbClr val="4D4D4F"/>
                    </a:solidFill>
                    <a:ln>
                      <a:noFill/>
                    </a:ln>
                    <a:extLst>
                      <a:ext uri="{91240B29-F687-4f45-9708-019B960494DF}">
                        <a14:hiddenLine xmlns=""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algn="l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200" b="0" i="0" u="none" strike="noStrike" kern="0" cap="none" spc="0" normalizeH="0" baseline="0" noProof="0" dirty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Arial"/>
                        <a:cs typeface=""/>
                      </a:endParaRPr>
                    </a:p>
                  </p:txBody>
                </p:sp>
                <p:sp>
                  <p:nvSpPr>
                    <p:cNvPr id="456" name="Freeform 31"/>
                    <p:cNvSpPr>
                      <a:spLocks/>
                    </p:cNvSpPr>
                    <p:nvPr/>
                  </p:nvSpPr>
                  <p:spPr bwMode="auto">
                    <a:xfrm>
                      <a:off x="4973638" y="2127250"/>
                      <a:ext cx="25400" cy="52388"/>
                    </a:xfrm>
                    <a:custGeom>
                      <a:avLst/>
                      <a:gdLst>
                        <a:gd name="T0" fmla="*/ 14 w 29"/>
                        <a:gd name="T1" fmla="*/ 0 h 58"/>
                        <a:gd name="T2" fmla="*/ 0 w 29"/>
                        <a:gd name="T3" fmla="*/ 15 h 58"/>
                        <a:gd name="T4" fmla="*/ 0 w 29"/>
                        <a:gd name="T5" fmla="*/ 43 h 58"/>
                        <a:gd name="T6" fmla="*/ 14 w 29"/>
                        <a:gd name="T7" fmla="*/ 58 h 58"/>
                        <a:gd name="T8" fmla="*/ 29 w 29"/>
                        <a:gd name="T9" fmla="*/ 43 h 58"/>
                        <a:gd name="T10" fmla="*/ 29 w 29"/>
                        <a:gd name="T11" fmla="*/ 15 h 58"/>
                        <a:gd name="T12" fmla="*/ 14 w 29"/>
                        <a:gd name="T13" fmla="*/ 0 h 5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29" h="58">
                          <a:moveTo>
                            <a:pt x="14" y="0"/>
                          </a:moveTo>
                          <a:cubicBezTo>
                            <a:pt x="6" y="0"/>
                            <a:pt x="0" y="7"/>
                            <a:pt x="0" y="15"/>
                          </a:cubicBezTo>
                          <a:cubicBezTo>
                            <a:pt x="0" y="43"/>
                            <a:pt x="0" y="43"/>
                            <a:pt x="0" y="43"/>
                          </a:cubicBezTo>
                          <a:cubicBezTo>
                            <a:pt x="0" y="51"/>
                            <a:pt x="6" y="58"/>
                            <a:pt x="14" y="58"/>
                          </a:cubicBezTo>
                          <a:cubicBezTo>
                            <a:pt x="22" y="58"/>
                            <a:pt x="29" y="51"/>
                            <a:pt x="29" y="43"/>
                          </a:cubicBezTo>
                          <a:cubicBezTo>
                            <a:pt x="29" y="15"/>
                            <a:pt x="29" y="15"/>
                            <a:pt x="29" y="15"/>
                          </a:cubicBezTo>
                          <a:cubicBezTo>
                            <a:pt x="29" y="7"/>
                            <a:pt x="22" y="0"/>
                            <a:pt x="14" y="0"/>
                          </a:cubicBezTo>
                          <a:close/>
                        </a:path>
                      </a:pathLst>
                    </a:custGeom>
                    <a:solidFill>
                      <a:srgbClr val="4D4D4F"/>
                    </a:solidFill>
                    <a:ln>
                      <a:noFill/>
                    </a:ln>
                    <a:extLst>
                      <a:ext uri="{91240B29-F687-4f45-9708-019B960494DF}">
                        <a14:hiddenLine xmlns=""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algn="l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200" b="0" i="0" u="none" strike="noStrike" kern="0" cap="none" spc="0" normalizeH="0" baseline="0" noProof="0" dirty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Arial"/>
                        <a:cs typeface=""/>
                      </a:endParaRPr>
                    </a:p>
                  </p:txBody>
                </p:sp>
                <p:sp>
                  <p:nvSpPr>
                    <p:cNvPr id="457" name="Freeform 32"/>
                    <p:cNvSpPr>
                      <a:spLocks/>
                    </p:cNvSpPr>
                    <p:nvPr/>
                  </p:nvSpPr>
                  <p:spPr bwMode="auto">
                    <a:xfrm>
                      <a:off x="4546601" y="2470150"/>
                      <a:ext cx="53975" cy="33338"/>
                    </a:xfrm>
                    <a:custGeom>
                      <a:avLst/>
                      <a:gdLst>
                        <a:gd name="T0" fmla="*/ 46 w 60"/>
                        <a:gd name="T1" fmla="*/ 8 h 37"/>
                        <a:gd name="T2" fmla="*/ 21 w 60"/>
                        <a:gd name="T3" fmla="*/ 2 h 37"/>
                        <a:gd name="T4" fmla="*/ 3 w 60"/>
                        <a:gd name="T5" fmla="*/ 11 h 37"/>
                        <a:gd name="T6" fmla="*/ 12 w 60"/>
                        <a:gd name="T7" fmla="*/ 30 h 37"/>
                        <a:gd name="T8" fmla="*/ 43 w 60"/>
                        <a:gd name="T9" fmla="*/ 37 h 37"/>
                        <a:gd name="T10" fmla="*/ 44 w 60"/>
                        <a:gd name="T11" fmla="*/ 37 h 37"/>
                        <a:gd name="T12" fmla="*/ 59 w 60"/>
                        <a:gd name="T13" fmla="*/ 24 h 37"/>
                        <a:gd name="T14" fmla="*/ 46 w 60"/>
                        <a:gd name="T15" fmla="*/ 8 h 3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</a:cxnLst>
                      <a:rect l="0" t="0" r="r" b="b"/>
                      <a:pathLst>
                        <a:path w="60" h="37">
                          <a:moveTo>
                            <a:pt x="46" y="8"/>
                          </a:moveTo>
                          <a:cubicBezTo>
                            <a:pt x="38" y="7"/>
                            <a:pt x="29" y="5"/>
                            <a:pt x="21" y="2"/>
                          </a:cubicBezTo>
                          <a:cubicBezTo>
                            <a:pt x="14" y="0"/>
                            <a:pt x="6" y="4"/>
                            <a:pt x="3" y="11"/>
                          </a:cubicBezTo>
                          <a:cubicBezTo>
                            <a:pt x="0" y="19"/>
                            <a:pt x="4" y="27"/>
                            <a:pt x="12" y="30"/>
                          </a:cubicBezTo>
                          <a:cubicBezTo>
                            <a:pt x="22" y="33"/>
                            <a:pt x="32" y="36"/>
                            <a:pt x="43" y="37"/>
                          </a:cubicBezTo>
                          <a:cubicBezTo>
                            <a:pt x="43" y="37"/>
                            <a:pt x="44" y="37"/>
                            <a:pt x="44" y="37"/>
                          </a:cubicBezTo>
                          <a:cubicBezTo>
                            <a:pt x="51" y="37"/>
                            <a:pt x="58" y="32"/>
                            <a:pt x="59" y="24"/>
                          </a:cubicBezTo>
                          <a:cubicBezTo>
                            <a:pt x="60" y="16"/>
                            <a:pt x="54" y="9"/>
                            <a:pt x="46" y="8"/>
                          </a:cubicBezTo>
                          <a:close/>
                        </a:path>
                      </a:pathLst>
                    </a:custGeom>
                    <a:solidFill>
                      <a:srgbClr val="4D4D4F"/>
                    </a:solidFill>
                    <a:ln>
                      <a:noFill/>
                    </a:ln>
                    <a:extLst>
                      <a:ext uri="{91240B29-F687-4f45-9708-019B960494DF}">
                        <a14:hiddenLine xmlns=""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algn="l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200" b="0" i="0" u="none" strike="noStrike" kern="0" cap="none" spc="0" normalizeH="0" baseline="0" noProof="0" dirty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Arial"/>
                        <a:cs typeface=""/>
                      </a:endParaRPr>
                    </a:p>
                  </p:txBody>
                </p:sp>
                <p:sp>
                  <p:nvSpPr>
                    <p:cNvPr id="458" name="Freeform 33"/>
                    <p:cNvSpPr>
                      <a:spLocks/>
                    </p:cNvSpPr>
                    <p:nvPr/>
                  </p:nvSpPr>
                  <p:spPr bwMode="auto">
                    <a:xfrm>
                      <a:off x="4781551" y="2478088"/>
                      <a:ext cx="50800" cy="25400"/>
                    </a:xfrm>
                    <a:custGeom>
                      <a:avLst/>
                      <a:gdLst>
                        <a:gd name="T0" fmla="*/ 43 w 57"/>
                        <a:gd name="T1" fmla="*/ 0 h 29"/>
                        <a:gd name="T2" fmla="*/ 14 w 57"/>
                        <a:gd name="T3" fmla="*/ 0 h 29"/>
                        <a:gd name="T4" fmla="*/ 0 w 57"/>
                        <a:gd name="T5" fmla="*/ 15 h 29"/>
                        <a:gd name="T6" fmla="*/ 14 w 57"/>
                        <a:gd name="T7" fmla="*/ 29 h 29"/>
                        <a:gd name="T8" fmla="*/ 43 w 57"/>
                        <a:gd name="T9" fmla="*/ 29 h 29"/>
                        <a:gd name="T10" fmla="*/ 57 w 57"/>
                        <a:gd name="T11" fmla="*/ 15 h 29"/>
                        <a:gd name="T12" fmla="*/ 43 w 57"/>
                        <a:gd name="T13" fmla="*/ 0 h 2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57" h="29">
                          <a:moveTo>
                            <a:pt x="43" y="0"/>
                          </a:moveTo>
                          <a:cubicBezTo>
                            <a:pt x="14" y="0"/>
                            <a:pt x="14" y="0"/>
                            <a:pt x="14" y="0"/>
                          </a:cubicBezTo>
                          <a:cubicBezTo>
                            <a:pt x="6" y="0"/>
                            <a:pt x="0" y="7"/>
                            <a:pt x="0" y="15"/>
                          </a:cubicBezTo>
                          <a:cubicBezTo>
                            <a:pt x="0" y="23"/>
                            <a:pt x="6" y="29"/>
                            <a:pt x="14" y="29"/>
                          </a:cubicBezTo>
                          <a:cubicBezTo>
                            <a:pt x="43" y="29"/>
                            <a:pt x="43" y="29"/>
                            <a:pt x="43" y="29"/>
                          </a:cubicBezTo>
                          <a:cubicBezTo>
                            <a:pt x="51" y="29"/>
                            <a:pt x="57" y="23"/>
                            <a:pt x="57" y="15"/>
                          </a:cubicBezTo>
                          <a:cubicBezTo>
                            <a:pt x="57" y="7"/>
                            <a:pt x="51" y="0"/>
                            <a:pt x="43" y="0"/>
                          </a:cubicBezTo>
                          <a:close/>
                        </a:path>
                      </a:pathLst>
                    </a:custGeom>
                    <a:solidFill>
                      <a:srgbClr val="4D4D4F"/>
                    </a:solidFill>
                    <a:ln>
                      <a:noFill/>
                    </a:ln>
                    <a:extLst>
                      <a:ext uri="{91240B29-F687-4f45-9708-019B960494DF}">
                        <a14:hiddenLine xmlns=""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algn="l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200" b="0" i="0" u="none" strike="noStrike" kern="0" cap="none" spc="0" normalizeH="0" baseline="0" noProof="0" dirty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Arial"/>
                        <a:cs typeface=""/>
                      </a:endParaRPr>
                    </a:p>
                  </p:txBody>
                </p:sp>
                <p:sp>
                  <p:nvSpPr>
                    <p:cNvPr id="459" name="Freeform 34"/>
                    <p:cNvSpPr>
                      <a:spLocks/>
                    </p:cNvSpPr>
                    <p:nvPr/>
                  </p:nvSpPr>
                  <p:spPr bwMode="auto">
                    <a:xfrm>
                      <a:off x="4703763" y="2478088"/>
                      <a:ext cx="50800" cy="25400"/>
                    </a:xfrm>
                    <a:custGeom>
                      <a:avLst/>
                      <a:gdLst>
                        <a:gd name="T0" fmla="*/ 44 w 58"/>
                        <a:gd name="T1" fmla="*/ 0 h 29"/>
                        <a:gd name="T2" fmla="*/ 15 w 58"/>
                        <a:gd name="T3" fmla="*/ 0 h 29"/>
                        <a:gd name="T4" fmla="*/ 0 w 58"/>
                        <a:gd name="T5" fmla="*/ 15 h 29"/>
                        <a:gd name="T6" fmla="*/ 15 w 58"/>
                        <a:gd name="T7" fmla="*/ 29 h 29"/>
                        <a:gd name="T8" fmla="*/ 44 w 58"/>
                        <a:gd name="T9" fmla="*/ 29 h 29"/>
                        <a:gd name="T10" fmla="*/ 58 w 58"/>
                        <a:gd name="T11" fmla="*/ 15 h 29"/>
                        <a:gd name="T12" fmla="*/ 44 w 58"/>
                        <a:gd name="T13" fmla="*/ 0 h 2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58" h="29">
                          <a:moveTo>
                            <a:pt x="44" y="0"/>
                          </a:moveTo>
                          <a:cubicBezTo>
                            <a:pt x="15" y="0"/>
                            <a:pt x="15" y="0"/>
                            <a:pt x="15" y="0"/>
                          </a:cubicBezTo>
                          <a:cubicBezTo>
                            <a:pt x="7" y="0"/>
                            <a:pt x="0" y="7"/>
                            <a:pt x="0" y="15"/>
                          </a:cubicBezTo>
                          <a:cubicBezTo>
                            <a:pt x="0" y="23"/>
                            <a:pt x="7" y="29"/>
                            <a:pt x="15" y="29"/>
                          </a:cubicBezTo>
                          <a:cubicBezTo>
                            <a:pt x="44" y="29"/>
                            <a:pt x="44" y="29"/>
                            <a:pt x="44" y="29"/>
                          </a:cubicBezTo>
                          <a:cubicBezTo>
                            <a:pt x="51" y="29"/>
                            <a:pt x="58" y="23"/>
                            <a:pt x="58" y="15"/>
                          </a:cubicBezTo>
                          <a:cubicBezTo>
                            <a:pt x="58" y="7"/>
                            <a:pt x="51" y="0"/>
                            <a:pt x="44" y="0"/>
                          </a:cubicBezTo>
                          <a:close/>
                        </a:path>
                      </a:pathLst>
                    </a:custGeom>
                    <a:solidFill>
                      <a:srgbClr val="4D4D4F"/>
                    </a:solidFill>
                    <a:ln>
                      <a:noFill/>
                    </a:ln>
                    <a:extLst>
                      <a:ext uri="{91240B29-F687-4f45-9708-019B960494DF}">
                        <a14:hiddenLine xmlns=""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algn="l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200" b="0" i="0" u="none" strike="noStrike" kern="0" cap="none" spc="0" normalizeH="0" baseline="0" noProof="0" dirty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Arial"/>
                        <a:cs typeface=""/>
                      </a:endParaRPr>
                    </a:p>
                  </p:txBody>
                </p:sp>
                <p:sp>
                  <p:nvSpPr>
                    <p:cNvPr id="460" name="Freeform 35"/>
                    <p:cNvSpPr>
                      <a:spLocks/>
                    </p:cNvSpPr>
                    <p:nvPr/>
                  </p:nvSpPr>
                  <p:spPr bwMode="auto">
                    <a:xfrm>
                      <a:off x="4625976" y="2478088"/>
                      <a:ext cx="52388" cy="25400"/>
                    </a:xfrm>
                    <a:custGeom>
                      <a:avLst/>
                      <a:gdLst>
                        <a:gd name="T0" fmla="*/ 43 w 58"/>
                        <a:gd name="T1" fmla="*/ 0 h 29"/>
                        <a:gd name="T2" fmla="*/ 15 w 58"/>
                        <a:gd name="T3" fmla="*/ 0 h 29"/>
                        <a:gd name="T4" fmla="*/ 0 w 58"/>
                        <a:gd name="T5" fmla="*/ 15 h 29"/>
                        <a:gd name="T6" fmla="*/ 15 w 58"/>
                        <a:gd name="T7" fmla="*/ 29 h 29"/>
                        <a:gd name="T8" fmla="*/ 43 w 58"/>
                        <a:gd name="T9" fmla="*/ 29 h 29"/>
                        <a:gd name="T10" fmla="*/ 58 w 58"/>
                        <a:gd name="T11" fmla="*/ 15 h 29"/>
                        <a:gd name="T12" fmla="*/ 43 w 58"/>
                        <a:gd name="T13" fmla="*/ 0 h 2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58" h="29">
                          <a:moveTo>
                            <a:pt x="43" y="0"/>
                          </a:moveTo>
                          <a:cubicBezTo>
                            <a:pt x="15" y="0"/>
                            <a:pt x="15" y="0"/>
                            <a:pt x="15" y="0"/>
                          </a:cubicBezTo>
                          <a:cubicBezTo>
                            <a:pt x="7" y="0"/>
                            <a:pt x="0" y="7"/>
                            <a:pt x="0" y="15"/>
                          </a:cubicBezTo>
                          <a:cubicBezTo>
                            <a:pt x="0" y="23"/>
                            <a:pt x="7" y="29"/>
                            <a:pt x="15" y="29"/>
                          </a:cubicBezTo>
                          <a:cubicBezTo>
                            <a:pt x="43" y="29"/>
                            <a:pt x="43" y="29"/>
                            <a:pt x="43" y="29"/>
                          </a:cubicBezTo>
                          <a:cubicBezTo>
                            <a:pt x="51" y="29"/>
                            <a:pt x="58" y="23"/>
                            <a:pt x="58" y="15"/>
                          </a:cubicBezTo>
                          <a:cubicBezTo>
                            <a:pt x="58" y="7"/>
                            <a:pt x="51" y="0"/>
                            <a:pt x="43" y="0"/>
                          </a:cubicBezTo>
                          <a:close/>
                        </a:path>
                      </a:pathLst>
                    </a:custGeom>
                    <a:solidFill>
                      <a:srgbClr val="4D4D4F"/>
                    </a:solidFill>
                    <a:ln>
                      <a:noFill/>
                    </a:ln>
                    <a:extLst>
                      <a:ext uri="{91240B29-F687-4f45-9708-019B960494DF}">
                        <a14:hiddenLine xmlns=""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algn="l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200" b="0" i="0" u="none" strike="noStrike" kern="0" cap="none" spc="0" normalizeH="0" baseline="0" noProof="0" dirty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Arial"/>
                        <a:cs typeface=""/>
                      </a:endParaRPr>
                    </a:p>
                  </p:txBody>
                </p:sp>
                <p:sp>
                  <p:nvSpPr>
                    <p:cNvPr id="461" name="Freeform 38"/>
                    <p:cNvSpPr>
                      <a:spLocks/>
                    </p:cNvSpPr>
                    <p:nvPr/>
                  </p:nvSpPr>
                  <p:spPr bwMode="auto">
                    <a:xfrm>
                      <a:off x="4859338" y="2473325"/>
                      <a:ext cx="52388" cy="30163"/>
                    </a:xfrm>
                    <a:custGeom>
                      <a:avLst/>
                      <a:gdLst>
                        <a:gd name="T0" fmla="*/ 39 w 58"/>
                        <a:gd name="T1" fmla="*/ 2 h 34"/>
                        <a:gd name="T2" fmla="*/ 14 w 58"/>
                        <a:gd name="T3" fmla="*/ 5 h 34"/>
                        <a:gd name="T4" fmla="*/ 0 w 58"/>
                        <a:gd name="T5" fmla="*/ 20 h 34"/>
                        <a:gd name="T6" fmla="*/ 14 w 58"/>
                        <a:gd name="T7" fmla="*/ 34 h 34"/>
                        <a:gd name="T8" fmla="*/ 14 w 58"/>
                        <a:gd name="T9" fmla="*/ 34 h 34"/>
                        <a:gd name="T10" fmla="*/ 46 w 58"/>
                        <a:gd name="T11" fmla="*/ 30 h 34"/>
                        <a:gd name="T12" fmla="*/ 56 w 58"/>
                        <a:gd name="T13" fmla="*/ 12 h 34"/>
                        <a:gd name="T14" fmla="*/ 39 w 58"/>
                        <a:gd name="T15" fmla="*/ 2 h 3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</a:cxnLst>
                      <a:rect l="0" t="0" r="r" b="b"/>
                      <a:pathLst>
                        <a:path w="58" h="34">
                          <a:moveTo>
                            <a:pt x="39" y="2"/>
                          </a:moveTo>
                          <a:cubicBezTo>
                            <a:pt x="31" y="4"/>
                            <a:pt x="22" y="5"/>
                            <a:pt x="14" y="5"/>
                          </a:cubicBezTo>
                          <a:cubicBezTo>
                            <a:pt x="6" y="5"/>
                            <a:pt x="0" y="12"/>
                            <a:pt x="0" y="20"/>
                          </a:cubicBezTo>
                          <a:cubicBezTo>
                            <a:pt x="0" y="28"/>
                            <a:pt x="6" y="34"/>
                            <a:pt x="14" y="34"/>
                          </a:cubicBezTo>
                          <a:cubicBezTo>
                            <a:pt x="14" y="34"/>
                            <a:pt x="14" y="34"/>
                            <a:pt x="14" y="34"/>
                          </a:cubicBezTo>
                          <a:cubicBezTo>
                            <a:pt x="25" y="34"/>
                            <a:pt x="36" y="32"/>
                            <a:pt x="46" y="30"/>
                          </a:cubicBezTo>
                          <a:cubicBezTo>
                            <a:pt x="54" y="28"/>
                            <a:pt x="58" y="20"/>
                            <a:pt x="56" y="12"/>
                          </a:cubicBezTo>
                          <a:cubicBezTo>
                            <a:pt x="55" y="5"/>
                            <a:pt x="47" y="0"/>
                            <a:pt x="39" y="2"/>
                          </a:cubicBezTo>
                          <a:close/>
                        </a:path>
                      </a:pathLst>
                    </a:custGeom>
                    <a:solidFill>
                      <a:srgbClr val="4D4D4F"/>
                    </a:solidFill>
                    <a:ln>
                      <a:noFill/>
                    </a:ln>
                    <a:extLst>
                      <a:ext uri="{91240B29-F687-4f45-9708-019B960494DF}">
                        <a14:hiddenLine xmlns=""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algn="l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200" b="0" i="0" u="none" strike="noStrike" kern="0" cap="none" spc="0" normalizeH="0" baseline="0" noProof="0" dirty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Arial"/>
                        <a:cs typeface=""/>
                      </a:endParaRPr>
                    </a:p>
                  </p:txBody>
                </p:sp>
              </p:grpSp>
              <p:sp>
                <p:nvSpPr>
                  <p:cNvPr id="438" name="Freeform 12"/>
                  <p:cNvSpPr>
                    <a:spLocks noEditPoints="1"/>
                  </p:cNvSpPr>
                  <p:nvPr/>
                </p:nvSpPr>
                <p:spPr bwMode="auto">
                  <a:xfrm>
                    <a:off x="5406483" y="2446478"/>
                    <a:ext cx="214941" cy="191168"/>
                  </a:xfrm>
                  <a:custGeom>
                    <a:avLst/>
                    <a:gdLst>
                      <a:gd name="T0" fmla="*/ 419 w 494"/>
                      <a:gd name="T1" fmla="*/ 299 h 448"/>
                      <a:gd name="T2" fmla="*/ 403 w 494"/>
                      <a:gd name="T3" fmla="*/ 301 h 448"/>
                      <a:gd name="T4" fmla="*/ 302 w 494"/>
                      <a:gd name="T5" fmla="*/ 126 h 448"/>
                      <a:gd name="T6" fmla="*/ 322 w 494"/>
                      <a:gd name="T7" fmla="*/ 75 h 448"/>
                      <a:gd name="T8" fmla="*/ 247 w 494"/>
                      <a:gd name="T9" fmla="*/ 0 h 448"/>
                      <a:gd name="T10" fmla="*/ 173 w 494"/>
                      <a:gd name="T11" fmla="*/ 75 h 448"/>
                      <a:gd name="T12" fmla="*/ 193 w 494"/>
                      <a:gd name="T13" fmla="*/ 126 h 448"/>
                      <a:gd name="T14" fmla="*/ 91 w 494"/>
                      <a:gd name="T15" fmla="*/ 301 h 448"/>
                      <a:gd name="T16" fmla="*/ 75 w 494"/>
                      <a:gd name="T17" fmla="*/ 299 h 448"/>
                      <a:gd name="T18" fmla="*/ 0 w 494"/>
                      <a:gd name="T19" fmla="*/ 373 h 448"/>
                      <a:gd name="T20" fmla="*/ 75 w 494"/>
                      <a:gd name="T21" fmla="*/ 448 h 448"/>
                      <a:gd name="T22" fmla="*/ 146 w 494"/>
                      <a:gd name="T23" fmla="*/ 395 h 448"/>
                      <a:gd name="T24" fmla="*/ 349 w 494"/>
                      <a:gd name="T25" fmla="*/ 395 h 448"/>
                      <a:gd name="T26" fmla="*/ 419 w 494"/>
                      <a:gd name="T27" fmla="*/ 448 h 448"/>
                      <a:gd name="T28" fmla="*/ 494 w 494"/>
                      <a:gd name="T29" fmla="*/ 373 h 448"/>
                      <a:gd name="T30" fmla="*/ 419 w 494"/>
                      <a:gd name="T31" fmla="*/ 299 h 448"/>
                      <a:gd name="T32" fmla="*/ 349 w 494"/>
                      <a:gd name="T33" fmla="*/ 351 h 448"/>
                      <a:gd name="T34" fmla="*/ 146 w 494"/>
                      <a:gd name="T35" fmla="*/ 351 h 448"/>
                      <a:gd name="T36" fmla="*/ 130 w 494"/>
                      <a:gd name="T37" fmla="*/ 323 h 448"/>
                      <a:gd name="T38" fmla="*/ 231 w 494"/>
                      <a:gd name="T39" fmla="*/ 148 h 448"/>
                      <a:gd name="T40" fmla="*/ 247 w 494"/>
                      <a:gd name="T41" fmla="*/ 150 h 448"/>
                      <a:gd name="T42" fmla="*/ 264 w 494"/>
                      <a:gd name="T43" fmla="*/ 148 h 448"/>
                      <a:gd name="T44" fmla="*/ 365 w 494"/>
                      <a:gd name="T45" fmla="*/ 323 h 448"/>
                      <a:gd name="T46" fmla="*/ 349 w 494"/>
                      <a:gd name="T47" fmla="*/ 351 h 44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</a:cxnLst>
                    <a:rect l="0" t="0" r="r" b="b"/>
                    <a:pathLst>
                      <a:path w="494" h="448">
                        <a:moveTo>
                          <a:pt x="419" y="299"/>
                        </a:moveTo>
                        <a:cubicBezTo>
                          <a:pt x="414" y="299"/>
                          <a:pt x="408" y="300"/>
                          <a:pt x="403" y="301"/>
                        </a:cubicBezTo>
                        <a:cubicBezTo>
                          <a:pt x="302" y="126"/>
                          <a:pt x="302" y="126"/>
                          <a:pt x="302" y="126"/>
                        </a:cubicBezTo>
                        <a:cubicBezTo>
                          <a:pt x="314" y="112"/>
                          <a:pt x="322" y="95"/>
                          <a:pt x="322" y="75"/>
                        </a:cubicBezTo>
                        <a:cubicBezTo>
                          <a:pt x="322" y="34"/>
                          <a:pt x="288" y="0"/>
                          <a:pt x="247" y="0"/>
                        </a:cubicBezTo>
                        <a:cubicBezTo>
                          <a:pt x="206" y="0"/>
                          <a:pt x="173" y="34"/>
                          <a:pt x="173" y="75"/>
                        </a:cubicBezTo>
                        <a:cubicBezTo>
                          <a:pt x="173" y="95"/>
                          <a:pt x="180" y="112"/>
                          <a:pt x="193" y="126"/>
                        </a:cubicBezTo>
                        <a:cubicBezTo>
                          <a:pt x="91" y="301"/>
                          <a:pt x="91" y="301"/>
                          <a:pt x="91" y="301"/>
                        </a:cubicBezTo>
                        <a:cubicBezTo>
                          <a:pt x="86" y="300"/>
                          <a:pt x="81" y="299"/>
                          <a:pt x="75" y="299"/>
                        </a:cubicBezTo>
                        <a:cubicBezTo>
                          <a:pt x="34" y="299"/>
                          <a:pt x="0" y="332"/>
                          <a:pt x="0" y="373"/>
                        </a:cubicBezTo>
                        <a:cubicBezTo>
                          <a:pt x="0" y="415"/>
                          <a:pt x="34" y="448"/>
                          <a:pt x="75" y="448"/>
                        </a:cubicBezTo>
                        <a:cubicBezTo>
                          <a:pt x="108" y="448"/>
                          <a:pt x="136" y="426"/>
                          <a:pt x="146" y="395"/>
                        </a:cubicBezTo>
                        <a:cubicBezTo>
                          <a:pt x="349" y="395"/>
                          <a:pt x="349" y="395"/>
                          <a:pt x="349" y="395"/>
                        </a:cubicBezTo>
                        <a:cubicBezTo>
                          <a:pt x="358" y="426"/>
                          <a:pt x="386" y="448"/>
                          <a:pt x="419" y="448"/>
                        </a:cubicBezTo>
                        <a:cubicBezTo>
                          <a:pt x="461" y="448"/>
                          <a:pt x="494" y="415"/>
                          <a:pt x="494" y="373"/>
                        </a:cubicBezTo>
                        <a:cubicBezTo>
                          <a:pt x="494" y="332"/>
                          <a:pt x="461" y="299"/>
                          <a:pt x="419" y="299"/>
                        </a:cubicBezTo>
                        <a:close/>
                        <a:moveTo>
                          <a:pt x="349" y="351"/>
                        </a:moveTo>
                        <a:cubicBezTo>
                          <a:pt x="146" y="351"/>
                          <a:pt x="146" y="351"/>
                          <a:pt x="146" y="351"/>
                        </a:cubicBezTo>
                        <a:cubicBezTo>
                          <a:pt x="142" y="341"/>
                          <a:pt x="137" y="331"/>
                          <a:pt x="130" y="323"/>
                        </a:cubicBezTo>
                        <a:cubicBezTo>
                          <a:pt x="231" y="148"/>
                          <a:pt x="231" y="148"/>
                          <a:pt x="231" y="148"/>
                        </a:cubicBezTo>
                        <a:cubicBezTo>
                          <a:pt x="236" y="149"/>
                          <a:pt x="242" y="150"/>
                          <a:pt x="247" y="150"/>
                        </a:cubicBezTo>
                        <a:cubicBezTo>
                          <a:pt x="253" y="150"/>
                          <a:pt x="258" y="149"/>
                          <a:pt x="264" y="148"/>
                        </a:cubicBezTo>
                        <a:cubicBezTo>
                          <a:pt x="365" y="323"/>
                          <a:pt x="365" y="323"/>
                          <a:pt x="365" y="323"/>
                        </a:cubicBezTo>
                        <a:cubicBezTo>
                          <a:pt x="358" y="331"/>
                          <a:pt x="352" y="341"/>
                          <a:pt x="349" y="351"/>
                        </a:cubicBezTo>
                        <a:close/>
                      </a:path>
                    </a:pathLst>
                  </a:custGeom>
                  <a:solidFill>
                    <a:sysClr val="window" lastClr="FFFFFF"/>
                  </a:solidFill>
                  <a:ln>
                    <a:noFill/>
                  </a:ln>
                  <a:extLst/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200" b="0" i="0" u="none" strike="noStrike" kern="0" cap="none" spc="0" normalizeH="0" baseline="0" noProof="0" dirty="0" smtClean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rial"/>
                      <a:cs typeface=""/>
                    </a:endParaRPr>
                  </a:p>
                </p:txBody>
              </p:sp>
            </p:grpSp>
            <p:sp>
              <p:nvSpPr>
                <p:cNvPr id="435" name="Rounded Rectangle 434"/>
                <p:cNvSpPr/>
                <p:nvPr/>
              </p:nvSpPr>
              <p:spPr>
                <a:xfrm>
                  <a:off x="5352784" y="2386601"/>
                  <a:ext cx="308105" cy="310923"/>
                </a:xfrm>
                <a:prstGeom prst="roundRect">
                  <a:avLst/>
                </a:prstGeom>
                <a:solidFill>
                  <a:srgbClr val="4F81BD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smtClean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/>
                    <a:ea typeface=""/>
                    <a:cs typeface=""/>
                  </a:endParaRPr>
                </a:p>
              </p:txBody>
            </p:sp>
            <p:sp>
              <p:nvSpPr>
                <p:cNvPr id="436" name="Freeform 12"/>
                <p:cNvSpPr>
                  <a:spLocks noEditPoints="1"/>
                </p:cNvSpPr>
                <p:nvPr/>
              </p:nvSpPr>
              <p:spPr bwMode="auto">
                <a:xfrm>
                  <a:off x="5388323" y="2435434"/>
                  <a:ext cx="214941" cy="191168"/>
                </a:xfrm>
                <a:custGeom>
                  <a:avLst/>
                  <a:gdLst>
                    <a:gd name="T0" fmla="*/ 419 w 494"/>
                    <a:gd name="T1" fmla="*/ 299 h 448"/>
                    <a:gd name="T2" fmla="*/ 403 w 494"/>
                    <a:gd name="T3" fmla="*/ 301 h 448"/>
                    <a:gd name="T4" fmla="*/ 302 w 494"/>
                    <a:gd name="T5" fmla="*/ 126 h 448"/>
                    <a:gd name="T6" fmla="*/ 322 w 494"/>
                    <a:gd name="T7" fmla="*/ 75 h 448"/>
                    <a:gd name="T8" fmla="*/ 247 w 494"/>
                    <a:gd name="T9" fmla="*/ 0 h 448"/>
                    <a:gd name="T10" fmla="*/ 173 w 494"/>
                    <a:gd name="T11" fmla="*/ 75 h 448"/>
                    <a:gd name="T12" fmla="*/ 193 w 494"/>
                    <a:gd name="T13" fmla="*/ 126 h 448"/>
                    <a:gd name="T14" fmla="*/ 91 w 494"/>
                    <a:gd name="T15" fmla="*/ 301 h 448"/>
                    <a:gd name="T16" fmla="*/ 75 w 494"/>
                    <a:gd name="T17" fmla="*/ 299 h 448"/>
                    <a:gd name="T18" fmla="*/ 0 w 494"/>
                    <a:gd name="T19" fmla="*/ 373 h 448"/>
                    <a:gd name="T20" fmla="*/ 75 w 494"/>
                    <a:gd name="T21" fmla="*/ 448 h 448"/>
                    <a:gd name="T22" fmla="*/ 146 w 494"/>
                    <a:gd name="T23" fmla="*/ 395 h 448"/>
                    <a:gd name="T24" fmla="*/ 349 w 494"/>
                    <a:gd name="T25" fmla="*/ 395 h 448"/>
                    <a:gd name="T26" fmla="*/ 419 w 494"/>
                    <a:gd name="T27" fmla="*/ 448 h 448"/>
                    <a:gd name="T28" fmla="*/ 494 w 494"/>
                    <a:gd name="T29" fmla="*/ 373 h 448"/>
                    <a:gd name="T30" fmla="*/ 419 w 494"/>
                    <a:gd name="T31" fmla="*/ 299 h 448"/>
                    <a:gd name="T32" fmla="*/ 349 w 494"/>
                    <a:gd name="T33" fmla="*/ 351 h 448"/>
                    <a:gd name="T34" fmla="*/ 146 w 494"/>
                    <a:gd name="T35" fmla="*/ 351 h 448"/>
                    <a:gd name="T36" fmla="*/ 130 w 494"/>
                    <a:gd name="T37" fmla="*/ 323 h 448"/>
                    <a:gd name="T38" fmla="*/ 231 w 494"/>
                    <a:gd name="T39" fmla="*/ 148 h 448"/>
                    <a:gd name="T40" fmla="*/ 247 w 494"/>
                    <a:gd name="T41" fmla="*/ 150 h 448"/>
                    <a:gd name="T42" fmla="*/ 264 w 494"/>
                    <a:gd name="T43" fmla="*/ 148 h 448"/>
                    <a:gd name="T44" fmla="*/ 365 w 494"/>
                    <a:gd name="T45" fmla="*/ 323 h 448"/>
                    <a:gd name="T46" fmla="*/ 349 w 494"/>
                    <a:gd name="T47" fmla="*/ 351 h 44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</a:cxnLst>
                  <a:rect l="0" t="0" r="r" b="b"/>
                  <a:pathLst>
                    <a:path w="494" h="448">
                      <a:moveTo>
                        <a:pt x="419" y="299"/>
                      </a:moveTo>
                      <a:cubicBezTo>
                        <a:pt x="414" y="299"/>
                        <a:pt x="408" y="300"/>
                        <a:pt x="403" y="301"/>
                      </a:cubicBezTo>
                      <a:cubicBezTo>
                        <a:pt x="302" y="126"/>
                        <a:pt x="302" y="126"/>
                        <a:pt x="302" y="126"/>
                      </a:cubicBezTo>
                      <a:cubicBezTo>
                        <a:pt x="314" y="112"/>
                        <a:pt x="322" y="95"/>
                        <a:pt x="322" y="75"/>
                      </a:cubicBezTo>
                      <a:cubicBezTo>
                        <a:pt x="322" y="34"/>
                        <a:pt x="288" y="0"/>
                        <a:pt x="247" y="0"/>
                      </a:cubicBezTo>
                      <a:cubicBezTo>
                        <a:pt x="206" y="0"/>
                        <a:pt x="173" y="34"/>
                        <a:pt x="173" y="75"/>
                      </a:cubicBezTo>
                      <a:cubicBezTo>
                        <a:pt x="173" y="95"/>
                        <a:pt x="180" y="112"/>
                        <a:pt x="193" y="126"/>
                      </a:cubicBezTo>
                      <a:cubicBezTo>
                        <a:pt x="91" y="301"/>
                        <a:pt x="91" y="301"/>
                        <a:pt x="91" y="301"/>
                      </a:cubicBezTo>
                      <a:cubicBezTo>
                        <a:pt x="86" y="300"/>
                        <a:pt x="81" y="299"/>
                        <a:pt x="75" y="299"/>
                      </a:cubicBezTo>
                      <a:cubicBezTo>
                        <a:pt x="34" y="299"/>
                        <a:pt x="0" y="332"/>
                        <a:pt x="0" y="373"/>
                      </a:cubicBezTo>
                      <a:cubicBezTo>
                        <a:pt x="0" y="415"/>
                        <a:pt x="34" y="448"/>
                        <a:pt x="75" y="448"/>
                      </a:cubicBezTo>
                      <a:cubicBezTo>
                        <a:pt x="108" y="448"/>
                        <a:pt x="136" y="426"/>
                        <a:pt x="146" y="395"/>
                      </a:cubicBezTo>
                      <a:cubicBezTo>
                        <a:pt x="349" y="395"/>
                        <a:pt x="349" y="395"/>
                        <a:pt x="349" y="395"/>
                      </a:cubicBezTo>
                      <a:cubicBezTo>
                        <a:pt x="358" y="426"/>
                        <a:pt x="386" y="448"/>
                        <a:pt x="419" y="448"/>
                      </a:cubicBezTo>
                      <a:cubicBezTo>
                        <a:pt x="461" y="448"/>
                        <a:pt x="494" y="415"/>
                        <a:pt x="494" y="373"/>
                      </a:cubicBezTo>
                      <a:cubicBezTo>
                        <a:pt x="494" y="332"/>
                        <a:pt x="461" y="299"/>
                        <a:pt x="419" y="299"/>
                      </a:cubicBezTo>
                      <a:close/>
                      <a:moveTo>
                        <a:pt x="349" y="351"/>
                      </a:moveTo>
                      <a:cubicBezTo>
                        <a:pt x="146" y="351"/>
                        <a:pt x="146" y="351"/>
                        <a:pt x="146" y="351"/>
                      </a:cubicBezTo>
                      <a:cubicBezTo>
                        <a:pt x="142" y="341"/>
                        <a:pt x="137" y="331"/>
                        <a:pt x="130" y="323"/>
                      </a:cubicBezTo>
                      <a:cubicBezTo>
                        <a:pt x="231" y="148"/>
                        <a:pt x="231" y="148"/>
                        <a:pt x="231" y="148"/>
                      </a:cubicBezTo>
                      <a:cubicBezTo>
                        <a:pt x="236" y="149"/>
                        <a:pt x="242" y="150"/>
                        <a:pt x="247" y="150"/>
                      </a:cubicBezTo>
                      <a:cubicBezTo>
                        <a:pt x="253" y="150"/>
                        <a:pt x="258" y="149"/>
                        <a:pt x="264" y="148"/>
                      </a:cubicBezTo>
                      <a:cubicBezTo>
                        <a:pt x="365" y="323"/>
                        <a:pt x="365" y="323"/>
                        <a:pt x="365" y="323"/>
                      </a:cubicBezTo>
                      <a:cubicBezTo>
                        <a:pt x="358" y="331"/>
                        <a:pt x="352" y="341"/>
                        <a:pt x="349" y="351"/>
                      </a:cubicBezTo>
                      <a:close/>
                    </a:path>
                  </a:pathLst>
                </a:custGeom>
                <a:solidFill>
                  <a:sysClr val="window" lastClr="FFFFFF"/>
                </a:solidFill>
                <a:ln>
                  <a:noFill/>
                </a:ln>
                <a:extLst/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2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/>
                    <a:cs typeface=""/>
                  </a:endParaRPr>
                </a:p>
              </p:txBody>
            </p:sp>
          </p:grpSp>
          <p:grpSp>
            <p:nvGrpSpPr>
              <p:cNvPr id="289" name="Group 288"/>
              <p:cNvGrpSpPr/>
              <p:nvPr/>
            </p:nvGrpSpPr>
            <p:grpSpPr>
              <a:xfrm>
                <a:off x="3855313" y="2753364"/>
                <a:ext cx="309858" cy="281520"/>
                <a:chOff x="5310724" y="2352924"/>
                <a:chExt cx="398754" cy="374816"/>
              </a:xfrm>
            </p:grpSpPr>
            <p:grpSp>
              <p:nvGrpSpPr>
                <p:cNvPr id="406" name="Group 405"/>
                <p:cNvGrpSpPr/>
                <p:nvPr/>
              </p:nvGrpSpPr>
              <p:grpSpPr>
                <a:xfrm>
                  <a:off x="5310724" y="2352924"/>
                  <a:ext cx="398754" cy="374816"/>
                  <a:chOff x="5310724" y="2352924"/>
                  <a:chExt cx="398754" cy="374816"/>
                </a:xfrm>
              </p:grpSpPr>
              <p:grpSp>
                <p:nvGrpSpPr>
                  <p:cNvPr id="409" name="Group 408"/>
                  <p:cNvGrpSpPr/>
                  <p:nvPr/>
                </p:nvGrpSpPr>
                <p:grpSpPr>
                  <a:xfrm rot="5400000">
                    <a:off x="5322693" y="2340955"/>
                    <a:ext cx="374816" cy="398754"/>
                    <a:chOff x="4471988" y="1985963"/>
                    <a:chExt cx="527051" cy="517525"/>
                  </a:xfrm>
                </p:grpSpPr>
                <p:sp>
                  <p:nvSpPr>
                    <p:cNvPr id="411" name="Freeform 13"/>
                    <p:cNvSpPr>
                      <a:spLocks/>
                    </p:cNvSpPr>
                    <p:nvPr/>
                  </p:nvSpPr>
                  <p:spPr bwMode="auto">
                    <a:xfrm>
                      <a:off x="4471988" y="2117725"/>
                      <a:ext cx="25400" cy="50800"/>
                    </a:xfrm>
                    <a:custGeom>
                      <a:avLst/>
                      <a:gdLst>
                        <a:gd name="T0" fmla="*/ 14 w 29"/>
                        <a:gd name="T1" fmla="*/ 57 h 57"/>
                        <a:gd name="T2" fmla="*/ 29 w 29"/>
                        <a:gd name="T3" fmla="*/ 43 h 57"/>
                        <a:gd name="T4" fmla="*/ 29 w 29"/>
                        <a:gd name="T5" fmla="*/ 14 h 57"/>
                        <a:gd name="T6" fmla="*/ 14 w 29"/>
                        <a:gd name="T7" fmla="*/ 0 h 57"/>
                        <a:gd name="T8" fmla="*/ 0 w 29"/>
                        <a:gd name="T9" fmla="*/ 14 h 57"/>
                        <a:gd name="T10" fmla="*/ 0 w 29"/>
                        <a:gd name="T11" fmla="*/ 43 h 57"/>
                        <a:gd name="T12" fmla="*/ 14 w 29"/>
                        <a:gd name="T13" fmla="*/ 57 h 5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29" h="57">
                          <a:moveTo>
                            <a:pt x="14" y="57"/>
                          </a:moveTo>
                          <a:cubicBezTo>
                            <a:pt x="22" y="57"/>
                            <a:pt x="29" y="51"/>
                            <a:pt x="29" y="43"/>
                          </a:cubicBezTo>
                          <a:cubicBezTo>
                            <a:pt x="29" y="14"/>
                            <a:pt x="29" y="14"/>
                            <a:pt x="29" y="14"/>
                          </a:cubicBezTo>
                          <a:cubicBezTo>
                            <a:pt x="29" y="6"/>
                            <a:pt x="22" y="0"/>
                            <a:pt x="14" y="0"/>
                          </a:cubicBezTo>
                          <a:cubicBezTo>
                            <a:pt x="7" y="0"/>
                            <a:pt x="0" y="6"/>
                            <a:pt x="0" y="14"/>
                          </a:cubicBezTo>
                          <a:cubicBezTo>
                            <a:pt x="0" y="43"/>
                            <a:pt x="0" y="43"/>
                            <a:pt x="0" y="43"/>
                          </a:cubicBezTo>
                          <a:cubicBezTo>
                            <a:pt x="0" y="51"/>
                            <a:pt x="7" y="57"/>
                            <a:pt x="14" y="57"/>
                          </a:cubicBezTo>
                          <a:close/>
                        </a:path>
                      </a:pathLst>
                    </a:custGeom>
                    <a:solidFill>
                      <a:srgbClr val="4D4D4F"/>
                    </a:solidFill>
                    <a:ln>
                      <a:noFill/>
                    </a:ln>
                    <a:extLst>
                      <a:ext uri="{91240B29-F687-4f45-9708-019B960494DF}">
                        <a14:hiddenLine xmlns=""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algn="l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200" b="0" i="0" u="none" strike="noStrike" kern="0" cap="none" spc="0" normalizeH="0" baseline="0" noProof="0" dirty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Arial"/>
                        <a:cs typeface=""/>
                      </a:endParaRPr>
                    </a:p>
                  </p:txBody>
                </p:sp>
                <p:sp>
                  <p:nvSpPr>
                    <p:cNvPr id="412" name="Freeform 14"/>
                    <p:cNvSpPr>
                      <a:spLocks/>
                    </p:cNvSpPr>
                    <p:nvPr/>
                  </p:nvSpPr>
                  <p:spPr bwMode="auto">
                    <a:xfrm>
                      <a:off x="4471988" y="2271713"/>
                      <a:ext cx="25400" cy="52388"/>
                    </a:xfrm>
                    <a:custGeom>
                      <a:avLst/>
                      <a:gdLst>
                        <a:gd name="T0" fmla="*/ 14 w 29"/>
                        <a:gd name="T1" fmla="*/ 58 h 58"/>
                        <a:gd name="T2" fmla="*/ 29 w 29"/>
                        <a:gd name="T3" fmla="*/ 43 h 58"/>
                        <a:gd name="T4" fmla="*/ 29 w 29"/>
                        <a:gd name="T5" fmla="*/ 15 h 58"/>
                        <a:gd name="T6" fmla="*/ 14 w 29"/>
                        <a:gd name="T7" fmla="*/ 0 h 58"/>
                        <a:gd name="T8" fmla="*/ 0 w 29"/>
                        <a:gd name="T9" fmla="*/ 15 h 58"/>
                        <a:gd name="T10" fmla="*/ 0 w 29"/>
                        <a:gd name="T11" fmla="*/ 43 h 58"/>
                        <a:gd name="T12" fmla="*/ 14 w 29"/>
                        <a:gd name="T13" fmla="*/ 58 h 5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29" h="58">
                          <a:moveTo>
                            <a:pt x="14" y="58"/>
                          </a:moveTo>
                          <a:cubicBezTo>
                            <a:pt x="22" y="58"/>
                            <a:pt x="29" y="51"/>
                            <a:pt x="29" y="43"/>
                          </a:cubicBezTo>
                          <a:cubicBezTo>
                            <a:pt x="29" y="15"/>
                            <a:pt x="29" y="15"/>
                            <a:pt x="29" y="15"/>
                          </a:cubicBezTo>
                          <a:cubicBezTo>
                            <a:pt x="29" y="7"/>
                            <a:pt x="22" y="0"/>
                            <a:pt x="14" y="0"/>
                          </a:cubicBezTo>
                          <a:cubicBezTo>
                            <a:pt x="7" y="0"/>
                            <a:pt x="0" y="7"/>
                            <a:pt x="0" y="15"/>
                          </a:cubicBezTo>
                          <a:cubicBezTo>
                            <a:pt x="0" y="43"/>
                            <a:pt x="0" y="43"/>
                            <a:pt x="0" y="43"/>
                          </a:cubicBezTo>
                          <a:cubicBezTo>
                            <a:pt x="0" y="51"/>
                            <a:pt x="7" y="58"/>
                            <a:pt x="14" y="58"/>
                          </a:cubicBezTo>
                          <a:close/>
                        </a:path>
                      </a:pathLst>
                    </a:custGeom>
                    <a:solidFill>
                      <a:srgbClr val="4D4D4F"/>
                    </a:solidFill>
                    <a:ln>
                      <a:noFill/>
                    </a:ln>
                    <a:extLst>
                      <a:ext uri="{91240B29-F687-4f45-9708-019B960494DF}">
                        <a14:hiddenLine xmlns=""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algn="l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200" b="0" i="0" u="none" strike="noStrike" kern="0" cap="none" spc="0" normalizeH="0" baseline="0" noProof="0" dirty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Arial"/>
                        <a:cs typeface=""/>
                      </a:endParaRPr>
                    </a:p>
                  </p:txBody>
                </p:sp>
                <p:sp>
                  <p:nvSpPr>
                    <p:cNvPr id="413" name="Freeform 15"/>
                    <p:cNvSpPr>
                      <a:spLocks/>
                    </p:cNvSpPr>
                    <p:nvPr/>
                  </p:nvSpPr>
                  <p:spPr bwMode="auto">
                    <a:xfrm>
                      <a:off x="4487863" y="2422525"/>
                      <a:ext cx="44450" cy="47625"/>
                    </a:xfrm>
                    <a:custGeom>
                      <a:avLst/>
                      <a:gdLst>
                        <a:gd name="T0" fmla="*/ 29 w 50"/>
                        <a:gd name="T1" fmla="*/ 8 h 53"/>
                        <a:gd name="T2" fmla="*/ 9 w 50"/>
                        <a:gd name="T3" fmla="*/ 4 h 53"/>
                        <a:gd name="T4" fmla="*/ 4 w 50"/>
                        <a:gd name="T5" fmla="*/ 24 h 53"/>
                        <a:gd name="T6" fmla="*/ 24 w 50"/>
                        <a:gd name="T7" fmla="*/ 49 h 53"/>
                        <a:gd name="T8" fmla="*/ 34 w 50"/>
                        <a:gd name="T9" fmla="*/ 53 h 53"/>
                        <a:gd name="T10" fmla="*/ 45 w 50"/>
                        <a:gd name="T11" fmla="*/ 49 h 53"/>
                        <a:gd name="T12" fmla="*/ 45 w 50"/>
                        <a:gd name="T13" fmla="*/ 28 h 53"/>
                        <a:gd name="T14" fmla="*/ 29 w 50"/>
                        <a:gd name="T15" fmla="*/ 8 h 5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</a:cxnLst>
                      <a:rect l="0" t="0" r="r" b="b"/>
                      <a:pathLst>
                        <a:path w="50" h="53">
                          <a:moveTo>
                            <a:pt x="29" y="8"/>
                          </a:moveTo>
                          <a:cubicBezTo>
                            <a:pt x="24" y="2"/>
                            <a:pt x="15" y="0"/>
                            <a:pt x="9" y="4"/>
                          </a:cubicBezTo>
                          <a:cubicBezTo>
                            <a:pt x="2" y="8"/>
                            <a:pt x="0" y="17"/>
                            <a:pt x="4" y="24"/>
                          </a:cubicBezTo>
                          <a:cubicBezTo>
                            <a:pt x="10" y="33"/>
                            <a:pt x="17" y="41"/>
                            <a:pt x="24" y="49"/>
                          </a:cubicBezTo>
                          <a:cubicBezTo>
                            <a:pt x="27" y="51"/>
                            <a:pt x="31" y="53"/>
                            <a:pt x="34" y="53"/>
                          </a:cubicBezTo>
                          <a:cubicBezTo>
                            <a:pt x="38" y="53"/>
                            <a:pt x="42" y="51"/>
                            <a:pt x="45" y="49"/>
                          </a:cubicBezTo>
                          <a:cubicBezTo>
                            <a:pt x="50" y="43"/>
                            <a:pt x="50" y="34"/>
                            <a:pt x="45" y="28"/>
                          </a:cubicBezTo>
                          <a:cubicBezTo>
                            <a:pt x="39" y="22"/>
                            <a:pt x="33" y="15"/>
                            <a:pt x="29" y="8"/>
                          </a:cubicBezTo>
                          <a:close/>
                        </a:path>
                      </a:pathLst>
                    </a:custGeom>
                    <a:solidFill>
                      <a:srgbClr val="4D4D4F"/>
                    </a:solidFill>
                    <a:ln>
                      <a:noFill/>
                    </a:ln>
                    <a:extLst>
                      <a:ext uri="{91240B29-F687-4f45-9708-019B960494DF}">
                        <a14:hiddenLine xmlns=""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algn="l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200" b="0" i="0" u="none" strike="noStrike" kern="0" cap="none" spc="0" normalizeH="0" baseline="0" noProof="0" dirty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Arial"/>
                        <a:cs typeface=""/>
                      </a:endParaRPr>
                    </a:p>
                  </p:txBody>
                </p:sp>
                <p:sp>
                  <p:nvSpPr>
                    <p:cNvPr id="414" name="Freeform 16"/>
                    <p:cNvSpPr>
                      <a:spLocks/>
                    </p:cNvSpPr>
                    <p:nvPr/>
                  </p:nvSpPr>
                  <p:spPr bwMode="auto">
                    <a:xfrm>
                      <a:off x="4471988" y="2193925"/>
                      <a:ext cx="25400" cy="52388"/>
                    </a:xfrm>
                    <a:custGeom>
                      <a:avLst/>
                      <a:gdLst>
                        <a:gd name="T0" fmla="*/ 14 w 29"/>
                        <a:gd name="T1" fmla="*/ 58 h 58"/>
                        <a:gd name="T2" fmla="*/ 29 w 29"/>
                        <a:gd name="T3" fmla="*/ 43 h 58"/>
                        <a:gd name="T4" fmla="*/ 29 w 29"/>
                        <a:gd name="T5" fmla="*/ 14 h 58"/>
                        <a:gd name="T6" fmla="*/ 14 w 29"/>
                        <a:gd name="T7" fmla="*/ 0 h 58"/>
                        <a:gd name="T8" fmla="*/ 0 w 29"/>
                        <a:gd name="T9" fmla="*/ 14 h 58"/>
                        <a:gd name="T10" fmla="*/ 0 w 29"/>
                        <a:gd name="T11" fmla="*/ 43 h 58"/>
                        <a:gd name="T12" fmla="*/ 14 w 29"/>
                        <a:gd name="T13" fmla="*/ 58 h 5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29" h="58">
                          <a:moveTo>
                            <a:pt x="14" y="58"/>
                          </a:moveTo>
                          <a:cubicBezTo>
                            <a:pt x="22" y="58"/>
                            <a:pt x="29" y="51"/>
                            <a:pt x="29" y="43"/>
                          </a:cubicBezTo>
                          <a:cubicBezTo>
                            <a:pt x="29" y="14"/>
                            <a:pt x="29" y="14"/>
                            <a:pt x="29" y="14"/>
                          </a:cubicBezTo>
                          <a:cubicBezTo>
                            <a:pt x="29" y="6"/>
                            <a:pt x="22" y="0"/>
                            <a:pt x="14" y="0"/>
                          </a:cubicBezTo>
                          <a:cubicBezTo>
                            <a:pt x="7" y="0"/>
                            <a:pt x="0" y="6"/>
                            <a:pt x="0" y="14"/>
                          </a:cubicBezTo>
                          <a:cubicBezTo>
                            <a:pt x="0" y="43"/>
                            <a:pt x="0" y="43"/>
                            <a:pt x="0" y="43"/>
                          </a:cubicBezTo>
                          <a:cubicBezTo>
                            <a:pt x="0" y="51"/>
                            <a:pt x="7" y="58"/>
                            <a:pt x="14" y="58"/>
                          </a:cubicBezTo>
                          <a:close/>
                        </a:path>
                      </a:pathLst>
                    </a:custGeom>
                    <a:solidFill>
                      <a:srgbClr val="4D4D4F"/>
                    </a:solidFill>
                    <a:ln>
                      <a:noFill/>
                    </a:ln>
                    <a:extLst>
                      <a:ext uri="{91240B29-F687-4f45-9708-019B960494DF}">
                        <a14:hiddenLine xmlns=""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algn="l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200" b="0" i="0" u="none" strike="noStrike" kern="0" cap="none" spc="0" normalizeH="0" baseline="0" noProof="0" dirty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Arial"/>
                        <a:cs typeface=""/>
                      </a:endParaRPr>
                    </a:p>
                  </p:txBody>
                </p:sp>
                <p:sp>
                  <p:nvSpPr>
                    <p:cNvPr id="415" name="Freeform 17"/>
                    <p:cNvSpPr>
                      <a:spLocks/>
                    </p:cNvSpPr>
                    <p:nvPr/>
                  </p:nvSpPr>
                  <p:spPr bwMode="auto">
                    <a:xfrm>
                      <a:off x="4830763" y="1985963"/>
                      <a:ext cx="50800" cy="26988"/>
                    </a:xfrm>
                    <a:custGeom>
                      <a:avLst/>
                      <a:gdLst>
                        <a:gd name="T0" fmla="*/ 15 w 57"/>
                        <a:gd name="T1" fmla="*/ 29 h 29"/>
                        <a:gd name="T2" fmla="*/ 44 w 57"/>
                        <a:gd name="T3" fmla="*/ 29 h 29"/>
                        <a:gd name="T4" fmla="*/ 57 w 57"/>
                        <a:gd name="T5" fmla="*/ 15 h 29"/>
                        <a:gd name="T6" fmla="*/ 43 w 57"/>
                        <a:gd name="T7" fmla="*/ 0 h 29"/>
                        <a:gd name="T8" fmla="*/ 15 w 57"/>
                        <a:gd name="T9" fmla="*/ 0 h 29"/>
                        <a:gd name="T10" fmla="*/ 0 w 57"/>
                        <a:gd name="T11" fmla="*/ 15 h 29"/>
                        <a:gd name="T12" fmla="*/ 15 w 57"/>
                        <a:gd name="T13" fmla="*/ 29 h 2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57" h="29">
                          <a:moveTo>
                            <a:pt x="15" y="29"/>
                          </a:moveTo>
                          <a:cubicBezTo>
                            <a:pt x="44" y="29"/>
                            <a:pt x="44" y="29"/>
                            <a:pt x="44" y="29"/>
                          </a:cubicBezTo>
                          <a:cubicBezTo>
                            <a:pt x="51" y="29"/>
                            <a:pt x="57" y="23"/>
                            <a:pt x="57" y="15"/>
                          </a:cubicBezTo>
                          <a:cubicBezTo>
                            <a:pt x="57" y="7"/>
                            <a:pt x="50" y="0"/>
                            <a:pt x="43" y="0"/>
                          </a:cubicBezTo>
                          <a:cubicBezTo>
                            <a:pt x="15" y="0"/>
                            <a:pt x="15" y="0"/>
                            <a:pt x="15" y="0"/>
                          </a:cubicBezTo>
                          <a:cubicBezTo>
                            <a:pt x="7" y="0"/>
                            <a:pt x="0" y="7"/>
                            <a:pt x="0" y="15"/>
                          </a:cubicBezTo>
                          <a:cubicBezTo>
                            <a:pt x="0" y="23"/>
                            <a:pt x="7" y="29"/>
                            <a:pt x="15" y="29"/>
                          </a:cubicBezTo>
                          <a:close/>
                        </a:path>
                      </a:pathLst>
                    </a:custGeom>
                    <a:solidFill>
                      <a:srgbClr val="4D4D4F"/>
                    </a:solidFill>
                    <a:ln>
                      <a:noFill/>
                    </a:ln>
                    <a:extLst>
                      <a:ext uri="{91240B29-F687-4f45-9708-019B960494DF}">
                        <a14:hiddenLine xmlns=""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algn="l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200" b="0" i="0" u="none" strike="noStrike" kern="0" cap="none" spc="0" normalizeH="0" baseline="0" noProof="0" dirty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Arial"/>
                        <a:cs typeface=""/>
                      </a:endParaRPr>
                    </a:p>
                  </p:txBody>
                </p:sp>
                <p:sp>
                  <p:nvSpPr>
                    <p:cNvPr id="416" name="Freeform 18"/>
                    <p:cNvSpPr>
                      <a:spLocks/>
                    </p:cNvSpPr>
                    <p:nvPr/>
                  </p:nvSpPr>
                  <p:spPr bwMode="auto">
                    <a:xfrm>
                      <a:off x="4905376" y="1997075"/>
                      <a:ext cx="50800" cy="41275"/>
                    </a:xfrm>
                    <a:custGeom>
                      <a:avLst/>
                      <a:gdLst>
                        <a:gd name="T0" fmla="*/ 10 w 56"/>
                        <a:gd name="T1" fmla="*/ 30 h 47"/>
                        <a:gd name="T2" fmla="*/ 31 w 56"/>
                        <a:gd name="T3" fmla="*/ 43 h 47"/>
                        <a:gd name="T4" fmla="*/ 40 w 56"/>
                        <a:gd name="T5" fmla="*/ 47 h 47"/>
                        <a:gd name="T6" fmla="*/ 51 w 56"/>
                        <a:gd name="T7" fmla="*/ 41 h 47"/>
                        <a:gd name="T8" fmla="*/ 49 w 56"/>
                        <a:gd name="T9" fmla="*/ 21 h 47"/>
                        <a:gd name="T10" fmla="*/ 22 w 56"/>
                        <a:gd name="T11" fmla="*/ 4 h 47"/>
                        <a:gd name="T12" fmla="*/ 3 w 56"/>
                        <a:gd name="T13" fmla="*/ 11 h 47"/>
                        <a:gd name="T14" fmla="*/ 10 w 56"/>
                        <a:gd name="T15" fmla="*/ 30 h 4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</a:cxnLst>
                      <a:rect l="0" t="0" r="r" b="b"/>
                      <a:pathLst>
                        <a:path w="56" h="47">
                          <a:moveTo>
                            <a:pt x="10" y="30"/>
                          </a:moveTo>
                          <a:cubicBezTo>
                            <a:pt x="17" y="33"/>
                            <a:pt x="25" y="38"/>
                            <a:pt x="31" y="43"/>
                          </a:cubicBezTo>
                          <a:cubicBezTo>
                            <a:pt x="34" y="46"/>
                            <a:pt x="37" y="47"/>
                            <a:pt x="40" y="47"/>
                          </a:cubicBezTo>
                          <a:cubicBezTo>
                            <a:pt x="44" y="47"/>
                            <a:pt x="49" y="45"/>
                            <a:pt x="51" y="41"/>
                          </a:cubicBezTo>
                          <a:cubicBezTo>
                            <a:pt x="56" y="35"/>
                            <a:pt x="55" y="26"/>
                            <a:pt x="49" y="21"/>
                          </a:cubicBezTo>
                          <a:cubicBezTo>
                            <a:pt x="41" y="14"/>
                            <a:pt x="32" y="9"/>
                            <a:pt x="22" y="4"/>
                          </a:cubicBezTo>
                          <a:cubicBezTo>
                            <a:pt x="15" y="0"/>
                            <a:pt x="7" y="3"/>
                            <a:pt x="3" y="11"/>
                          </a:cubicBezTo>
                          <a:cubicBezTo>
                            <a:pt x="0" y="18"/>
                            <a:pt x="3" y="26"/>
                            <a:pt x="10" y="30"/>
                          </a:cubicBezTo>
                          <a:close/>
                        </a:path>
                      </a:pathLst>
                    </a:custGeom>
                    <a:solidFill>
                      <a:srgbClr val="4D4D4F"/>
                    </a:solidFill>
                    <a:ln>
                      <a:noFill/>
                    </a:ln>
                    <a:extLst>
                      <a:ext uri="{91240B29-F687-4f45-9708-019B960494DF}">
                        <a14:hiddenLine xmlns=""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algn="l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200" b="0" i="0" u="none" strike="noStrike" kern="0" cap="none" spc="0" normalizeH="0" baseline="0" noProof="0" dirty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Arial"/>
                        <a:cs typeface=""/>
                      </a:endParaRPr>
                    </a:p>
                  </p:txBody>
                </p:sp>
                <p:sp>
                  <p:nvSpPr>
                    <p:cNvPr id="417" name="Freeform 19"/>
                    <p:cNvSpPr>
                      <a:spLocks/>
                    </p:cNvSpPr>
                    <p:nvPr/>
                  </p:nvSpPr>
                  <p:spPr bwMode="auto">
                    <a:xfrm>
                      <a:off x="4476751" y="2039938"/>
                      <a:ext cx="39688" cy="52388"/>
                    </a:xfrm>
                    <a:custGeom>
                      <a:avLst/>
                      <a:gdLst>
                        <a:gd name="T0" fmla="*/ 12 w 45"/>
                        <a:gd name="T1" fmla="*/ 56 h 57"/>
                        <a:gd name="T2" fmla="*/ 16 w 45"/>
                        <a:gd name="T3" fmla="*/ 57 h 57"/>
                        <a:gd name="T4" fmla="*/ 30 w 45"/>
                        <a:gd name="T5" fmla="*/ 47 h 57"/>
                        <a:gd name="T6" fmla="*/ 41 w 45"/>
                        <a:gd name="T7" fmla="*/ 24 h 57"/>
                        <a:gd name="T8" fmla="*/ 36 w 45"/>
                        <a:gd name="T9" fmla="*/ 4 h 57"/>
                        <a:gd name="T10" fmla="*/ 16 w 45"/>
                        <a:gd name="T11" fmla="*/ 9 h 57"/>
                        <a:gd name="T12" fmla="*/ 3 w 45"/>
                        <a:gd name="T13" fmla="*/ 38 h 57"/>
                        <a:gd name="T14" fmla="*/ 12 w 45"/>
                        <a:gd name="T15" fmla="*/ 56 h 5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</a:cxnLst>
                      <a:rect l="0" t="0" r="r" b="b"/>
                      <a:pathLst>
                        <a:path w="45" h="57">
                          <a:moveTo>
                            <a:pt x="12" y="56"/>
                          </a:moveTo>
                          <a:cubicBezTo>
                            <a:pt x="13" y="57"/>
                            <a:pt x="15" y="57"/>
                            <a:pt x="16" y="57"/>
                          </a:cubicBezTo>
                          <a:cubicBezTo>
                            <a:pt x="22" y="57"/>
                            <a:pt x="28" y="53"/>
                            <a:pt x="30" y="47"/>
                          </a:cubicBezTo>
                          <a:cubicBezTo>
                            <a:pt x="33" y="39"/>
                            <a:pt x="36" y="32"/>
                            <a:pt x="41" y="24"/>
                          </a:cubicBezTo>
                          <a:cubicBezTo>
                            <a:pt x="45" y="17"/>
                            <a:pt x="43" y="9"/>
                            <a:pt x="36" y="4"/>
                          </a:cubicBezTo>
                          <a:cubicBezTo>
                            <a:pt x="29" y="0"/>
                            <a:pt x="21" y="2"/>
                            <a:pt x="16" y="9"/>
                          </a:cubicBezTo>
                          <a:cubicBezTo>
                            <a:pt x="11" y="18"/>
                            <a:pt x="6" y="28"/>
                            <a:pt x="3" y="38"/>
                          </a:cubicBezTo>
                          <a:cubicBezTo>
                            <a:pt x="0" y="45"/>
                            <a:pt x="4" y="54"/>
                            <a:pt x="12" y="56"/>
                          </a:cubicBezTo>
                          <a:close/>
                        </a:path>
                      </a:pathLst>
                    </a:custGeom>
                    <a:solidFill>
                      <a:srgbClr val="4D4D4F"/>
                    </a:solidFill>
                    <a:ln>
                      <a:noFill/>
                    </a:ln>
                    <a:extLst>
                      <a:ext uri="{91240B29-F687-4f45-9708-019B960494DF}">
                        <a14:hiddenLine xmlns=""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algn="l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200" b="0" i="0" u="none" strike="noStrike" kern="0" cap="none" spc="0" normalizeH="0" baseline="0" noProof="0" dirty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Arial"/>
                        <a:cs typeface=""/>
                      </a:endParaRPr>
                    </a:p>
                  </p:txBody>
                </p:sp>
                <p:sp>
                  <p:nvSpPr>
                    <p:cNvPr id="418" name="Freeform 20"/>
                    <p:cNvSpPr>
                      <a:spLocks/>
                    </p:cNvSpPr>
                    <p:nvPr/>
                  </p:nvSpPr>
                  <p:spPr bwMode="auto">
                    <a:xfrm>
                      <a:off x="4522788" y="1992313"/>
                      <a:ext cx="52388" cy="39688"/>
                    </a:xfrm>
                    <a:custGeom>
                      <a:avLst/>
                      <a:gdLst>
                        <a:gd name="T0" fmla="*/ 55 w 58"/>
                        <a:gd name="T1" fmla="*/ 11 h 43"/>
                        <a:gd name="T2" fmla="*/ 37 w 58"/>
                        <a:gd name="T3" fmla="*/ 2 h 43"/>
                        <a:gd name="T4" fmla="*/ 9 w 58"/>
                        <a:gd name="T5" fmla="*/ 17 h 43"/>
                        <a:gd name="T6" fmla="*/ 4 w 58"/>
                        <a:gd name="T7" fmla="*/ 37 h 43"/>
                        <a:gd name="T8" fmla="*/ 16 w 58"/>
                        <a:gd name="T9" fmla="*/ 43 h 43"/>
                        <a:gd name="T10" fmla="*/ 24 w 58"/>
                        <a:gd name="T11" fmla="*/ 41 h 43"/>
                        <a:gd name="T12" fmla="*/ 47 w 58"/>
                        <a:gd name="T13" fmla="*/ 29 h 43"/>
                        <a:gd name="T14" fmla="*/ 55 w 58"/>
                        <a:gd name="T15" fmla="*/ 11 h 4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</a:cxnLst>
                      <a:rect l="0" t="0" r="r" b="b"/>
                      <a:pathLst>
                        <a:path w="58" h="43">
                          <a:moveTo>
                            <a:pt x="55" y="11"/>
                          </a:moveTo>
                          <a:cubicBezTo>
                            <a:pt x="53" y="3"/>
                            <a:pt x="44" y="0"/>
                            <a:pt x="37" y="2"/>
                          </a:cubicBezTo>
                          <a:cubicBezTo>
                            <a:pt x="27" y="6"/>
                            <a:pt x="17" y="11"/>
                            <a:pt x="9" y="17"/>
                          </a:cubicBezTo>
                          <a:cubicBezTo>
                            <a:pt x="2" y="21"/>
                            <a:pt x="0" y="30"/>
                            <a:pt x="4" y="37"/>
                          </a:cubicBezTo>
                          <a:cubicBezTo>
                            <a:pt x="7" y="41"/>
                            <a:pt x="12" y="43"/>
                            <a:pt x="16" y="43"/>
                          </a:cubicBezTo>
                          <a:cubicBezTo>
                            <a:pt x="19" y="43"/>
                            <a:pt x="22" y="43"/>
                            <a:pt x="24" y="41"/>
                          </a:cubicBezTo>
                          <a:cubicBezTo>
                            <a:pt x="31" y="36"/>
                            <a:pt x="39" y="32"/>
                            <a:pt x="47" y="29"/>
                          </a:cubicBezTo>
                          <a:cubicBezTo>
                            <a:pt x="54" y="27"/>
                            <a:pt x="58" y="18"/>
                            <a:pt x="55" y="11"/>
                          </a:cubicBezTo>
                          <a:close/>
                        </a:path>
                      </a:pathLst>
                    </a:custGeom>
                    <a:solidFill>
                      <a:srgbClr val="4D4D4F"/>
                    </a:solidFill>
                    <a:ln>
                      <a:noFill/>
                    </a:ln>
                    <a:extLst>
                      <a:ext uri="{91240B29-F687-4f45-9708-019B960494DF}">
                        <a14:hiddenLine xmlns=""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algn="l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200" b="0" i="0" u="none" strike="noStrike" kern="0" cap="none" spc="0" normalizeH="0" baseline="0" noProof="0" dirty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Arial"/>
                        <a:cs typeface=""/>
                      </a:endParaRPr>
                    </a:p>
                  </p:txBody>
                </p:sp>
                <p:sp>
                  <p:nvSpPr>
                    <p:cNvPr id="419" name="Freeform 21"/>
                    <p:cNvSpPr>
                      <a:spLocks/>
                    </p:cNvSpPr>
                    <p:nvPr/>
                  </p:nvSpPr>
                  <p:spPr bwMode="auto">
                    <a:xfrm>
                      <a:off x="4959351" y="2051050"/>
                      <a:ext cx="36513" cy="52388"/>
                    </a:xfrm>
                    <a:custGeom>
                      <a:avLst/>
                      <a:gdLst>
                        <a:gd name="T0" fmla="*/ 13 w 42"/>
                        <a:gd name="T1" fmla="*/ 47 h 58"/>
                        <a:gd name="T2" fmla="*/ 27 w 42"/>
                        <a:gd name="T3" fmla="*/ 58 h 58"/>
                        <a:gd name="T4" fmla="*/ 30 w 42"/>
                        <a:gd name="T5" fmla="*/ 57 h 58"/>
                        <a:gd name="T6" fmla="*/ 41 w 42"/>
                        <a:gd name="T7" fmla="*/ 40 h 58"/>
                        <a:gd name="T8" fmla="*/ 30 w 42"/>
                        <a:gd name="T9" fmla="*/ 10 h 58"/>
                        <a:gd name="T10" fmla="*/ 11 w 42"/>
                        <a:gd name="T11" fmla="*/ 4 h 58"/>
                        <a:gd name="T12" fmla="*/ 4 w 42"/>
                        <a:gd name="T13" fmla="*/ 23 h 58"/>
                        <a:gd name="T14" fmla="*/ 13 w 42"/>
                        <a:gd name="T15" fmla="*/ 47 h 5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</a:cxnLst>
                      <a:rect l="0" t="0" r="r" b="b"/>
                      <a:pathLst>
                        <a:path w="42" h="58">
                          <a:moveTo>
                            <a:pt x="13" y="47"/>
                          </a:moveTo>
                          <a:cubicBezTo>
                            <a:pt x="14" y="53"/>
                            <a:pt x="20" y="58"/>
                            <a:pt x="27" y="58"/>
                          </a:cubicBezTo>
                          <a:cubicBezTo>
                            <a:pt x="28" y="58"/>
                            <a:pt x="29" y="58"/>
                            <a:pt x="30" y="57"/>
                          </a:cubicBezTo>
                          <a:cubicBezTo>
                            <a:pt x="38" y="56"/>
                            <a:pt x="42" y="48"/>
                            <a:pt x="41" y="40"/>
                          </a:cubicBezTo>
                          <a:cubicBezTo>
                            <a:pt x="38" y="30"/>
                            <a:pt x="35" y="20"/>
                            <a:pt x="30" y="10"/>
                          </a:cubicBezTo>
                          <a:cubicBezTo>
                            <a:pt x="26" y="3"/>
                            <a:pt x="18" y="0"/>
                            <a:pt x="11" y="4"/>
                          </a:cubicBezTo>
                          <a:cubicBezTo>
                            <a:pt x="3" y="7"/>
                            <a:pt x="0" y="16"/>
                            <a:pt x="4" y="23"/>
                          </a:cubicBezTo>
                          <a:cubicBezTo>
                            <a:pt x="8" y="31"/>
                            <a:pt x="11" y="39"/>
                            <a:pt x="13" y="47"/>
                          </a:cubicBezTo>
                          <a:close/>
                        </a:path>
                      </a:pathLst>
                    </a:custGeom>
                    <a:solidFill>
                      <a:srgbClr val="4D4D4F"/>
                    </a:solidFill>
                    <a:ln>
                      <a:noFill/>
                    </a:ln>
                    <a:extLst>
                      <a:ext uri="{91240B29-F687-4f45-9708-019B960494DF}">
                        <a14:hiddenLine xmlns=""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algn="l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200" b="0" i="0" u="none" strike="noStrike" kern="0" cap="none" spc="0" normalizeH="0" baseline="0" noProof="0" dirty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Arial"/>
                        <a:cs typeface=""/>
                      </a:endParaRPr>
                    </a:p>
                  </p:txBody>
                </p:sp>
                <p:sp>
                  <p:nvSpPr>
                    <p:cNvPr id="420" name="Freeform 22"/>
                    <p:cNvSpPr>
                      <a:spLocks/>
                    </p:cNvSpPr>
                    <p:nvPr/>
                  </p:nvSpPr>
                  <p:spPr bwMode="auto">
                    <a:xfrm>
                      <a:off x="4598988" y="1985963"/>
                      <a:ext cx="52388" cy="26988"/>
                    </a:xfrm>
                    <a:custGeom>
                      <a:avLst/>
                      <a:gdLst>
                        <a:gd name="T0" fmla="*/ 14 w 58"/>
                        <a:gd name="T1" fmla="*/ 29 h 29"/>
                        <a:gd name="T2" fmla="*/ 43 w 58"/>
                        <a:gd name="T3" fmla="*/ 29 h 29"/>
                        <a:gd name="T4" fmla="*/ 58 w 58"/>
                        <a:gd name="T5" fmla="*/ 15 h 29"/>
                        <a:gd name="T6" fmla="*/ 43 w 58"/>
                        <a:gd name="T7" fmla="*/ 0 h 29"/>
                        <a:gd name="T8" fmla="*/ 14 w 58"/>
                        <a:gd name="T9" fmla="*/ 0 h 29"/>
                        <a:gd name="T10" fmla="*/ 0 w 58"/>
                        <a:gd name="T11" fmla="*/ 15 h 29"/>
                        <a:gd name="T12" fmla="*/ 14 w 58"/>
                        <a:gd name="T13" fmla="*/ 29 h 2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58" h="29">
                          <a:moveTo>
                            <a:pt x="14" y="29"/>
                          </a:moveTo>
                          <a:cubicBezTo>
                            <a:pt x="43" y="29"/>
                            <a:pt x="43" y="29"/>
                            <a:pt x="43" y="29"/>
                          </a:cubicBezTo>
                          <a:cubicBezTo>
                            <a:pt x="51" y="29"/>
                            <a:pt x="58" y="23"/>
                            <a:pt x="58" y="15"/>
                          </a:cubicBezTo>
                          <a:cubicBezTo>
                            <a:pt x="58" y="7"/>
                            <a:pt x="51" y="0"/>
                            <a:pt x="43" y="0"/>
                          </a:cubicBezTo>
                          <a:cubicBezTo>
                            <a:pt x="14" y="0"/>
                            <a:pt x="14" y="0"/>
                            <a:pt x="14" y="0"/>
                          </a:cubicBezTo>
                          <a:cubicBezTo>
                            <a:pt x="6" y="0"/>
                            <a:pt x="0" y="7"/>
                            <a:pt x="0" y="15"/>
                          </a:cubicBezTo>
                          <a:cubicBezTo>
                            <a:pt x="0" y="23"/>
                            <a:pt x="6" y="29"/>
                            <a:pt x="14" y="29"/>
                          </a:cubicBezTo>
                          <a:close/>
                        </a:path>
                      </a:pathLst>
                    </a:custGeom>
                    <a:solidFill>
                      <a:srgbClr val="4D4D4F"/>
                    </a:solidFill>
                    <a:ln>
                      <a:noFill/>
                    </a:ln>
                    <a:extLst>
                      <a:ext uri="{91240B29-F687-4f45-9708-019B960494DF}">
                        <a14:hiddenLine xmlns=""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algn="l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200" b="0" i="0" u="none" strike="noStrike" kern="0" cap="none" spc="0" normalizeH="0" baseline="0" noProof="0" dirty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Arial"/>
                        <a:cs typeface=""/>
                      </a:endParaRPr>
                    </a:p>
                  </p:txBody>
                </p:sp>
                <p:sp>
                  <p:nvSpPr>
                    <p:cNvPr id="421" name="Freeform 23"/>
                    <p:cNvSpPr>
                      <a:spLocks/>
                    </p:cNvSpPr>
                    <p:nvPr/>
                  </p:nvSpPr>
                  <p:spPr bwMode="auto">
                    <a:xfrm>
                      <a:off x="4676776" y="1985963"/>
                      <a:ext cx="50800" cy="26988"/>
                    </a:xfrm>
                    <a:custGeom>
                      <a:avLst/>
                      <a:gdLst>
                        <a:gd name="T0" fmla="*/ 15 w 58"/>
                        <a:gd name="T1" fmla="*/ 29 h 29"/>
                        <a:gd name="T2" fmla="*/ 43 w 58"/>
                        <a:gd name="T3" fmla="*/ 29 h 29"/>
                        <a:gd name="T4" fmla="*/ 58 w 58"/>
                        <a:gd name="T5" fmla="*/ 15 h 29"/>
                        <a:gd name="T6" fmla="*/ 43 w 58"/>
                        <a:gd name="T7" fmla="*/ 0 h 29"/>
                        <a:gd name="T8" fmla="*/ 15 w 58"/>
                        <a:gd name="T9" fmla="*/ 0 h 29"/>
                        <a:gd name="T10" fmla="*/ 0 w 58"/>
                        <a:gd name="T11" fmla="*/ 15 h 29"/>
                        <a:gd name="T12" fmla="*/ 15 w 58"/>
                        <a:gd name="T13" fmla="*/ 29 h 2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58" h="29">
                          <a:moveTo>
                            <a:pt x="15" y="29"/>
                          </a:moveTo>
                          <a:cubicBezTo>
                            <a:pt x="43" y="29"/>
                            <a:pt x="43" y="29"/>
                            <a:pt x="43" y="29"/>
                          </a:cubicBezTo>
                          <a:cubicBezTo>
                            <a:pt x="51" y="29"/>
                            <a:pt x="58" y="23"/>
                            <a:pt x="58" y="15"/>
                          </a:cubicBezTo>
                          <a:cubicBezTo>
                            <a:pt x="58" y="7"/>
                            <a:pt x="51" y="0"/>
                            <a:pt x="43" y="0"/>
                          </a:cubicBezTo>
                          <a:cubicBezTo>
                            <a:pt x="15" y="0"/>
                            <a:pt x="15" y="0"/>
                            <a:pt x="15" y="0"/>
                          </a:cubicBezTo>
                          <a:cubicBezTo>
                            <a:pt x="7" y="0"/>
                            <a:pt x="0" y="7"/>
                            <a:pt x="0" y="15"/>
                          </a:cubicBezTo>
                          <a:cubicBezTo>
                            <a:pt x="0" y="23"/>
                            <a:pt x="7" y="29"/>
                            <a:pt x="15" y="29"/>
                          </a:cubicBezTo>
                          <a:close/>
                        </a:path>
                      </a:pathLst>
                    </a:custGeom>
                    <a:solidFill>
                      <a:srgbClr val="4D4D4F"/>
                    </a:solidFill>
                    <a:ln>
                      <a:noFill/>
                    </a:ln>
                    <a:extLst>
                      <a:ext uri="{91240B29-F687-4f45-9708-019B960494DF}">
                        <a14:hiddenLine xmlns=""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algn="l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200" b="0" i="0" u="none" strike="noStrike" kern="0" cap="none" spc="0" normalizeH="0" baseline="0" noProof="0" dirty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Arial"/>
                        <a:cs typeface=""/>
                      </a:endParaRPr>
                    </a:p>
                  </p:txBody>
                </p:sp>
                <p:sp>
                  <p:nvSpPr>
                    <p:cNvPr id="422" name="Freeform 24"/>
                    <p:cNvSpPr>
                      <a:spLocks/>
                    </p:cNvSpPr>
                    <p:nvPr/>
                  </p:nvSpPr>
                  <p:spPr bwMode="auto">
                    <a:xfrm>
                      <a:off x="4752976" y="1985963"/>
                      <a:ext cx="52388" cy="26988"/>
                    </a:xfrm>
                    <a:custGeom>
                      <a:avLst/>
                      <a:gdLst>
                        <a:gd name="T0" fmla="*/ 15 w 58"/>
                        <a:gd name="T1" fmla="*/ 29 h 29"/>
                        <a:gd name="T2" fmla="*/ 43 w 58"/>
                        <a:gd name="T3" fmla="*/ 29 h 29"/>
                        <a:gd name="T4" fmla="*/ 58 w 58"/>
                        <a:gd name="T5" fmla="*/ 15 h 29"/>
                        <a:gd name="T6" fmla="*/ 43 w 58"/>
                        <a:gd name="T7" fmla="*/ 0 h 29"/>
                        <a:gd name="T8" fmla="*/ 15 w 58"/>
                        <a:gd name="T9" fmla="*/ 0 h 29"/>
                        <a:gd name="T10" fmla="*/ 0 w 58"/>
                        <a:gd name="T11" fmla="*/ 15 h 29"/>
                        <a:gd name="T12" fmla="*/ 15 w 58"/>
                        <a:gd name="T13" fmla="*/ 29 h 2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58" h="29">
                          <a:moveTo>
                            <a:pt x="15" y="29"/>
                          </a:moveTo>
                          <a:cubicBezTo>
                            <a:pt x="43" y="29"/>
                            <a:pt x="43" y="29"/>
                            <a:pt x="43" y="29"/>
                          </a:cubicBezTo>
                          <a:cubicBezTo>
                            <a:pt x="51" y="29"/>
                            <a:pt x="58" y="23"/>
                            <a:pt x="58" y="15"/>
                          </a:cubicBezTo>
                          <a:cubicBezTo>
                            <a:pt x="58" y="7"/>
                            <a:pt x="51" y="0"/>
                            <a:pt x="43" y="0"/>
                          </a:cubicBezTo>
                          <a:cubicBezTo>
                            <a:pt x="15" y="0"/>
                            <a:pt x="15" y="0"/>
                            <a:pt x="15" y="0"/>
                          </a:cubicBezTo>
                          <a:cubicBezTo>
                            <a:pt x="7" y="0"/>
                            <a:pt x="0" y="7"/>
                            <a:pt x="0" y="15"/>
                          </a:cubicBezTo>
                          <a:cubicBezTo>
                            <a:pt x="0" y="23"/>
                            <a:pt x="7" y="29"/>
                            <a:pt x="15" y="29"/>
                          </a:cubicBezTo>
                          <a:close/>
                        </a:path>
                      </a:pathLst>
                    </a:custGeom>
                    <a:solidFill>
                      <a:srgbClr val="4D4D4F"/>
                    </a:solidFill>
                    <a:ln>
                      <a:noFill/>
                    </a:ln>
                    <a:extLst>
                      <a:ext uri="{91240B29-F687-4f45-9708-019B960494DF}">
                        <a14:hiddenLine xmlns=""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algn="l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200" b="0" i="0" u="none" strike="noStrike" kern="0" cap="none" spc="0" normalizeH="0" baseline="0" noProof="0" dirty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Arial"/>
                        <a:cs typeface=""/>
                      </a:endParaRPr>
                    </a:p>
                  </p:txBody>
                </p:sp>
                <p:sp>
                  <p:nvSpPr>
                    <p:cNvPr id="423" name="Freeform 25"/>
                    <p:cNvSpPr>
                      <a:spLocks/>
                    </p:cNvSpPr>
                    <p:nvPr/>
                  </p:nvSpPr>
                  <p:spPr bwMode="auto">
                    <a:xfrm>
                      <a:off x="4471988" y="2349500"/>
                      <a:ext cx="26988" cy="52388"/>
                    </a:xfrm>
                    <a:custGeom>
                      <a:avLst/>
                      <a:gdLst>
                        <a:gd name="T0" fmla="*/ 30 w 31"/>
                        <a:gd name="T1" fmla="*/ 42 h 58"/>
                        <a:gd name="T2" fmla="*/ 29 w 31"/>
                        <a:gd name="T3" fmla="*/ 28 h 58"/>
                        <a:gd name="T4" fmla="*/ 29 w 31"/>
                        <a:gd name="T5" fmla="*/ 15 h 58"/>
                        <a:gd name="T6" fmla="*/ 14 w 31"/>
                        <a:gd name="T7" fmla="*/ 0 h 58"/>
                        <a:gd name="T8" fmla="*/ 0 w 31"/>
                        <a:gd name="T9" fmla="*/ 15 h 58"/>
                        <a:gd name="T10" fmla="*/ 0 w 31"/>
                        <a:gd name="T11" fmla="*/ 28 h 58"/>
                        <a:gd name="T12" fmla="*/ 1 w 31"/>
                        <a:gd name="T13" fmla="*/ 45 h 58"/>
                        <a:gd name="T14" fmla="*/ 15 w 31"/>
                        <a:gd name="T15" fmla="*/ 58 h 58"/>
                        <a:gd name="T16" fmla="*/ 17 w 31"/>
                        <a:gd name="T17" fmla="*/ 58 h 58"/>
                        <a:gd name="T18" fmla="*/ 30 w 31"/>
                        <a:gd name="T19" fmla="*/ 42 h 5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</a:cxnLst>
                      <a:rect l="0" t="0" r="r" b="b"/>
                      <a:pathLst>
                        <a:path w="31" h="58">
                          <a:moveTo>
                            <a:pt x="30" y="42"/>
                          </a:moveTo>
                          <a:cubicBezTo>
                            <a:pt x="29" y="37"/>
                            <a:pt x="29" y="33"/>
                            <a:pt x="29" y="28"/>
                          </a:cubicBezTo>
                          <a:cubicBezTo>
                            <a:pt x="29" y="15"/>
                            <a:pt x="29" y="15"/>
                            <a:pt x="29" y="15"/>
                          </a:cubicBezTo>
                          <a:cubicBezTo>
                            <a:pt x="29" y="7"/>
                            <a:pt x="22" y="0"/>
                            <a:pt x="14" y="0"/>
                          </a:cubicBezTo>
                          <a:cubicBezTo>
                            <a:pt x="7" y="0"/>
                            <a:pt x="0" y="7"/>
                            <a:pt x="0" y="15"/>
                          </a:cubicBezTo>
                          <a:cubicBezTo>
                            <a:pt x="0" y="28"/>
                            <a:pt x="0" y="28"/>
                            <a:pt x="0" y="28"/>
                          </a:cubicBezTo>
                          <a:cubicBezTo>
                            <a:pt x="0" y="34"/>
                            <a:pt x="0" y="39"/>
                            <a:pt x="1" y="45"/>
                          </a:cubicBezTo>
                          <a:cubicBezTo>
                            <a:pt x="2" y="52"/>
                            <a:pt x="8" y="58"/>
                            <a:pt x="15" y="58"/>
                          </a:cubicBezTo>
                          <a:cubicBezTo>
                            <a:pt x="16" y="58"/>
                            <a:pt x="17" y="58"/>
                            <a:pt x="17" y="58"/>
                          </a:cubicBezTo>
                          <a:cubicBezTo>
                            <a:pt x="25" y="57"/>
                            <a:pt x="31" y="50"/>
                            <a:pt x="30" y="42"/>
                          </a:cubicBezTo>
                          <a:close/>
                        </a:path>
                      </a:pathLst>
                    </a:custGeom>
                    <a:solidFill>
                      <a:srgbClr val="4D4D4F"/>
                    </a:solidFill>
                    <a:ln>
                      <a:noFill/>
                    </a:ln>
                    <a:extLst>
                      <a:ext uri="{91240B29-F687-4f45-9708-019B960494DF}">
                        <a14:hiddenLine xmlns=""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algn="l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200" b="0" i="0" u="none" strike="noStrike" kern="0" cap="none" spc="0" normalizeH="0" baseline="0" noProof="0" dirty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Arial"/>
                        <a:cs typeface=""/>
                      </a:endParaRPr>
                    </a:p>
                  </p:txBody>
                </p:sp>
                <p:sp>
                  <p:nvSpPr>
                    <p:cNvPr id="424" name="Freeform 26"/>
                    <p:cNvSpPr>
                      <a:spLocks/>
                    </p:cNvSpPr>
                    <p:nvPr/>
                  </p:nvSpPr>
                  <p:spPr bwMode="auto">
                    <a:xfrm>
                      <a:off x="4973638" y="2282825"/>
                      <a:ext cx="25400" cy="52388"/>
                    </a:xfrm>
                    <a:custGeom>
                      <a:avLst/>
                      <a:gdLst>
                        <a:gd name="T0" fmla="*/ 14 w 29"/>
                        <a:gd name="T1" fmla="*/ 0 h 58"/>
                        <a:gd name="T2" fmla="*/ 0 w 29"/>
                        <a:gd name="T3" fmla="*/ 15 h 58"/>
                        <a:gd name="T4" fmla="*/ 0 w 29"/>
                        <a:gd name="T5" fmla="*/ 44 h 58"/>
                        <a:gd name="T6" fmla="*/ 14 w 29"/>
                        <a:gd name="T7" fmla="*/ 58 h 58"/>
                        <a:gd name="T8" fmla="*/ 29 w 29"/>
                        <a:gd name="T9" fmla="*/ 44 h 58"/>
                        <a:gd name="T10" fmla="*/ 29 w 29"/>
                        <a:gd name="T11" fmla="*/ 15 h 58"/>
                        <a:gd name="T12" fmla="*/ 14 w 29"/>
                        <a:gd name="T13" fmla="*/ 0 h 5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29" h="58">
                          <a:moveTo>
                            <a:pt x="14" y="0"/>
                          </a:moveTo>
                          <a:cubicBezTo>
                            <a:pt x="6" y="0"/>
                            <a:pt x="0" y="7"/>
                            <a:pt x="0" y="15"/>
                          </a:cubicBezTo>
                          <a:cubicBezTo>
                            <a:pt x="0" y="44"/>
                            <a:pt x="0" y="44"/>
                            <a:pt x="0" y="44"/>
                          </a:cubicBezTo>
                          <a:cubicBezTo>
                            <a:pt x="0" y="52"/>
                            <a:pt x="6" y="58"/>
                            <a:pt x="14" y="58"/>
                          </a:cubicBezTo>
                          <a:cubicBezTo>
                            <a:pt x="22" y="58"/>
                            <a:pt x="29" y="52"/>
                            <a:pt x="29" y="44"/>
                          </a:cubicBezTo>
                          <a:cubicBezTo>
                            <a:pt x="29" y="15"/>
                            <a:pt x="29" y="15"/>
                            <a:pt x="29" y="15"/>
                          </a:cubicBezTo>
                          <a:cubicBezTo>
                            <a:pt x="29" y="7"/>
                            <a:pt x="22" y="0"/>
                            <a:pt x="14" y="0"/>
                          </a:cubicBezTo>
                          <a:close/>
                        </a:path>
                      </a:pathLst>
                    </a:custGeom>
                    <a:solidFill>
                      <a:srgbClr val="4D4D4F"/>
                    </a:solidFill>
                    <a:ln>
                      <a:noFill/>
                    </a:ln>
                    <a:extLst>
                      <a:ext uri="{91240B29-F687-4f45-9708-019B960494DF}">
                        <a14:hiddenLine xmlns=""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algn="l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200" b="0" i="0" u="none" strike="noStrike" kern="0" cap="none" spc="0" normalizeH="0" baseline="0" noProof="0" dirty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Arial"/>
                        <a:cs typeface=""/>
                      </a:endParaRPr>
                    </a:p>
                  </p:txBody>
                </p:sp>
                <p:sp>
                  <p:nvSpPr>
                    <p:cNvPr id="425" name="Freeform 28"/>
                    <p:cNvSpPr>
                      <a:spLocks/>
                    </p:cNvSpPr>
                    <p:nvPr/>
                  </p:nvSpPr>
                  <p:spPr bwMode="auto">
                    <a:xfrm>
                      <a:off x="4927601" y="2432050"/>
                      <a:ext cx="47625" cy="46038"/>
                    </a:xfrm>
                    <a:custGeom>
                      <a:avLst/>
                      <a:gdLst>
                        <a:gd name="T0" fmla="*/ 25 w 53"/>
                        <a:gd name="T1" fmla="*/ 7 h 51"/>
                        <a:gd name="T2" fmla="*/ 7 w 53"/>
                        <a:gd name="T3" fmla="*/ 25 h 51"/>
                        <a:gd name="T4" fmla="*/ 5 w 53"/>
                        <a:gd name="T5" fmla="*/ 45 h 51"/>
                        <a:gd name="T6" fmla="*/ 16 w 53"/>
                        <a:gd name="T7" fmla="*/ 51 h 51"/>
                        <a:gd name="T8" fmla="*/ 25 w 53"/>
                        <a:gd name="T9" fmla="*/ 47 h 51"/>
                        <a:gd name="T10" fmla="*/ 48 w 53"/>
                        <a:gd name="T11" fmla="*/ 25 h 51"/>
                        <a:gd name="T12" fmla="*/ 45 w 53"/>
                        <a:gd name="T13" fmla="*/ 5 h 51"/>
                        <a:gd name="T14" fmla="*/ 25 w 53"/>
                        <a:gd name="T15" fmla="*/ 7 h 5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</a:cxnLst>
                      <a:rect l="0" t="0" r="r" b="b"/>
                      <a:pathLst>
                        <a:path w="53" h="51">
                          <a:moveTo>
                            <a:pt x="25" y="7"/>
                          </a:moveTo>
                          <a:cubicBezTo>
                            <a:pt x="20" y="14"/>
                            <a:pt x="14" y="20"/>
                            <a:pt x="7" y="25"/>
                          </a:cubicBezTo>
                          <a:cubicBezTo>
                            <a:pt x="1" y="30"/>
                            <a:pt x="0" y="39"/>
                            <a:pt x="5" y="45"/>
                          </a:cubicBezTo>
                          <a:cubicBezTo>
                            <a:pt x="8" y="49"/>
                            <a:pt x="12" y="51"/>
                            <a:pt x="16" y="51"/>
                          </a:cubicBezTo>
                          <a:cubicBezTo>
                            <a:pt x="20" y="51"/>
                            <a:pt x="23" y="50"/>
                            <a:pt x="25" y="47"/>
                          </a:cubicBezTo>
                          <a:cubicBezTo>
                            <a:pt x="34" y="41"/>
                            <a:pt x="41" y="33"/>
                            <a:pt x="48" y="25"/>
                          </a:cubicBezTo>
                          <a:cubicBezTo>
                            <a:pt x="53" y="19"/>
                            <a:pt x="52" y="9"/>
                            <a:pt x="45" y="5"/>
                          </a:cubicBezTo>
                          <a:cubicBezTo>
                            <a:pt x="39" y="0"/>
                            <a:pt x="30" y="1"/>
                            <a:pt x="25" y="7"/>
                          </a:cubicBezTo>
                          <a:close/>
                        </a:path>
                      </a:pathLst>
                    </a:custGeom>
                    <a:solidFill>
                      <a:srgbClr val="4D4D4F"/>
                    </a:solidFill>
                    <a:ln>
                      <a:noFill/>
                    </a:ln>
                    <a:extLst>
                      <a:ext uri="{91240B29-F687-4f45-9708-019B960494DF}">
                        <a14:hiddenLine xmlns=""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algn="l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200" b="0" i="0" u="none" strike="noStrike" kern="0" cap="none" spc="0" normalizeH="0" baseline="0" noProof="0" dirty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Arial"/>
                        <a:cs typeface=""/>
                      </a:endParaRPr>
                    </a:p>
                  </p:txBody>
                </p:sp>
                <p:sp>
                  <p:nvSpPr>
                    <p:cNvPr id="426" name="Freeform 29"/>
                    <p:cNvSpPr>
                      <a:spLocks/>
                    </p:cNvSpPr>
                    <p:nvPr/>
                  </p:nvSpPr>
                  <p:spPr bwMode="auto">
                    <a:xfrm>
                      <a:off x="4968876" y="2360613"/>
                      <a:ext cx="30163" cy="52388"/>
                    </a:xfrm>
                    <a:custGeom>
                      <a:avLst/>
                      <a:gdLst>
                        <a:gd name="T0" fmla="*/ 19 w 34"/>
                        <a:gd name="T1" fmla="*/ 0 h 58"/>
                        <a:gd name="T2" fmla="*/ 5 w 34"/>
                        <a:gd name="T3" fmla="*/ 15 h 58"/>
                        <a:gd name="T4" fmla="*/ 2 w 34"/>
                        <a:gd name="T5" fmla="*/ 40 h 58"/>
                        <a:gd name="T6" fmla="*/ 13 w 34"/>
                        <a:gd name="T7" fmla="*/ 58 h 58"/>
                        <a:gd name="T8" fmla="*/ 16 w 34"/>
                        <a:gd name="T9" fmla="*/ 58 h 58"/>
                        <a:gd name="T10" fmla="*/ 30 w 34"/>
                        <a:gd name="T11" fmla="*/ 47 h 58"/>
                        <a:gd name="T12" fmla="*/ 34 w 34"/>
                        <a:gd name="T13" fmla="*/ 15 h 58"/>
                        <a:gd name="T14" fmla="*/ 34 w 34"/>
                        <a:gd name="T15" fmla="*/ 14 h 58"/>
                        <a:gd name="T16" fmla="*/ 19 w 34"/>
                        <a:gd name="T17" fmla="*/ 0 h 5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</a:cxnLst>
                      <a:rect l="0" t="0" r="r" b="b"/>
                      <a:pathLst>
                        <a:path w="34" h="58">
                          <a:moveTo>
                            <a:pt x="19" y="0"/>
                          </a:moveTo>
                          <a:cubicBezTo>
                            <a:pt x="11" y="0"/>
                            <a:pt x="5" y="7"/>
                            <a:pt x="5" y="15"/>
                          </a:cubicBezTo>
                          <a:cubicBezTo>
                            <a:pt x="5" y="24"/>
                            <a:pt x="4" y="32"/>
                            <a:pt x="2" y="40"/>
                          </a:cubicBezTo>
                          <a:cubicBezTo>
                            <a:pt x="0" y="48"/>
                            <a:pt x="5" y="56"/>
                            <a:pt x="13" y="58"/>
                          </a:cubicBezTo>
                          <a:cubicBezTo>
                            <a:pt x="14" y="58"/>
                            <a:pt x="15" y="58"/>
                            <a:pt x="16" y="58"/>
                          </a:cubicBezTo>
                          <a:cubicBezTo>
                            <a:pt x="23" y="58"/>
                            <a:pt x="29" y="53"/>
                            <a:pt x="30" y="47"/>
                          </a:cubicBezTo>
                          <a:cubicBezTo>
                            <a:pt x="32" y="36"/>
                            <a:pt x="34" y="26"/>
                            <a:pt x="34" y="15"/>
                          </a:cubicBezTo>
                          <a:cubicBezTo>
                            <a:pt x="34" y="14"/>
                            <a:pt x="34" y="14"/>
                            <a:pt x="34" y="14"/>
                          </a:cubicBezTo>
                          <a:cubicBezTo>
                            <a:pt x="34" y="6"/>
                            <a:pt x="27" y="0"/>
                            <a:pt x="19" y="0"/>
                          </a:cubicBezTo>
                          <a:close/>
                        </a:path>
                      </a:pathLst>
                    </a:custGeom>
                    <a:solidFill>
                      <a:srgbClr val="4D4D4F"/>
                    </a:solidFill>
                    <a:ln>
                      <a:noFill/>
                    </a:ln>
                    <a:extLst>
                      <a:ext uri="{91240B29-F687-4f45-9708-019B960494DF}">
                        <a14:hiddenLine xmlns=""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algn="l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200" b="0" i="0" u="none" strike="noStrike" kern="0" cap="none" spc="0" normalizeH="0" baseline="0" noProof="0" dirty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Arial"/>
                        <a:cs typeface=""/>
                      </a:endParaRPr>
                    </a:p>
                  </p:txBody>
                </p:sp>
                <p:sp>
                  <p:nvSpPr>
                    <p:cNvPr id="427" name="Freeform 30"/>
                    <p:cNvSpPr>
                      <a:spLocks/>
                    </p:cNvSpPr>
                    <p:nvPr/>
                  </p:nvSpPr>
                  <p:spPr bwMode="auto">
                    <a:xfrm>
                      <a:off x="4973638" y="2205038"/>
                      <a:ext cx="25400" cy="52388"/>
                    </a:xfrm>
                    <a:custGeom>
                      <a:avLst/>
                      <a:gdLst>
                        <a:gd name="T0" fmla="*/ 14 w 29"/>
                        <a:gd name="T1" fmla="*/ 0 h 58"/>
                        <a:gd name="T2" fmla="*/ 0 w 29"/>
                        <a:gd name="T3" fmla="*/ 15 h 58"/>
                        <a:gd name="T4" fmla="*/ 0 w 29"/>
                        <a:gd name="T5" fmla="*/ 43 h 58"/>
                        <a:gd name="T6" fmla="*/ 14 w 29"/>
                        <a:gd name="T7" fmla="*/ 58 h 58"/>
                        <a:gd name="T8" fmla="*/ 29 w 29"/>
                        <a:gd name="T9" fmla="*/ 43 h 58"/>
                        <a:gd name="T10" fmla="*/ 29 w 29"/>
                        <a:gd name="T11" fmla="*/ 15 h 58"/>
                        <a:gd name="T12" fmla="*/ 14 w 29"/>
                        <a:gd name="T13" fmla="*/ 0 h 5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29" h="58">
                          <a:moveTo>
                            <a:pt x="14" y="0"/>
                          </a:moveTo>
                          <a:cubicBezTo>
                            <a:pt x="6" y="0"/>
                            <a:pt x="0" y="7"/>
                            <a:pt x="0" y="15"/>
                          </a:cubicBezTo>
                          <a:cubicBezTo>
                            <a:pt x="0" y="43"/>
                            <a:pt x="0" y="43"/>
                            <a:pt x="0" y="43"/>
                          </a:cubicBezTo>
                          <a:cubicBezTo>
                            <a:pt x="0" y="51"/>
                            <a:pt x="6" y="58"/>
                            <a:pt x="14" y="58"/>
                          </a:cubicBezTo>
                          <a:cubicBezTo>
                            <a:pt x="22" y="58"/>
                            <a:pt x="29" y="51"/>
                            <a:pt x="29" y="43"/>
                          </a:cubicBezTo>
                          <a:cubicBezTo>
                            <a:pt x="29" y="15"/>
                            <a:pt x="29" y="15"/>
                            <a:pt x="29" y="15"/>
                          </a:cubicBezTo>
                          <a:cubicBezTo>
                            <a:pt x="29" y="7"/>
                            <a:pt x="22" y="0"/>
                            <a:pt x="14" y="0"/>
                          </a:cubicBezTo>
                          <a:close/>
                        </a:path>
                      </a:pathLst>
                    </a:custGeom>
                    <a:solidFill>
                      <a:srgbClr val="4D4D4F"/>
                    </a:solidFill>
                    <a:ln>
                      <a:noFill/>
                    </a:ln>
                    <a:extLst>
                      <a:ext uri="{91240B29-F687-4f45-9708-019B960494DF}">
                        <a14:hiddenLine xmlns=""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algn="l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200" b="0" i="0" u="none" strike="noStrike" kern="0" cap="none" spc="0" normalizeH="0" baseline="0" noProof="0" dirty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Arial"/>
                        <a:cs typeface=""/>
                      </a:endParaRPr>
                    </a:p>
                  </p:txBody>
                </p:sp>
                <p:sp>
                  <p:nvSpPr>
                    <p:cNvPr id="428" name="Freeform 31"/>
                    <p:cNvSpPr>
                      <a:spLocks/>
                    </p:cNvSpPr>
                    <p:nvPr/>
                  </p:nvSpPr>
                  <p:spPr bwMode="auto">
                    <a:xfrm>
                      <a:off x="4973638" y="2127250"/>
                      <a:ext cx="25400" cy="52388"/>
                    </a:xfrm>
                    <a:custGeom>
                      <a:avLst/>
                      <a:gdLst>
                        <a:gd name="T0" fmla="*/ 14 w 29"/>
                        <a:gd name="T1" fmla="*/ 0 h 58"/>
                        <a:gd name="T2" fmla="*/ 0 w 29"/>
                        <a:gd name="T3" fmla="*/ 15 h 58"/>
                        <a:gd name="T4" fmla="*/ 0 w 29"/>
                        <a:gd name="T5" fmla="*/ 43 h 58"/>
                        <a:gd name="T6" fmla="*/ 14 w 29"/>
                        <a:gd name="T7" fmla="*/ 58 h 58"/>
                        <a:gd name="T8" fmla="*/ 29 w 29"/>
                        <a:gd name="T9" fmla="*/ 43 h 58"/>
                        <a:gd name="T10" fmla="*/ 29 w 29"/>
                        <a:gd name="T11" fmla="*/ 15 h 58"/>
                        <a:gd name="T12" fmla="*/ 14 w 29"/>
                        <a:gd name="T13" fmla="*/ 0 h 5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29" h="58">
                          <a:moveTo>
                            <a:pt x="14" y="0"/>
                          </a:moveTo>
                          <a:cubicBezTo>
                            <a:pt x="6" y="0"/>
                            <a:pt x="0" y="7"/>
                            <a:pt x="0" y="15"/>
                          </a:cubicBezTo>
                          <a:cubicBezTo>
                            <a:pt x="0" y="43"/>
                            <a:pt x="0" y="43"/>
                            <a:pt x="0" y="43"/>
                          </a:cubicBezTo>
                          <a:cubicBezTo>
                            <a:pt x="0" y="51"/>
                            <a:pt x="6" y="58"/>
                            <a:pt x="14" y="58"/>
                          </a:cubicBezTo>
                          <a:cubicBezTo>
                            <a:pt x="22" y="58"/>
                            <a:pt x="29" y="51"/>
                            <a:pt x="29" y="43"/>
                          </a:cubicBezTo>
                          <a:cubicBezTo>
                            <a:pt x="29" y="15"/>
                            <a:pt x="29" y="15"/>
                            <a:pt x="29" y="15"/>
                          </a:cubicBezTo>
                          <a:cubicBezTo>
                            <a:pt x="29" y="7"/>
                            <a:pt x="22" y="0"/>
                            <a:pt x="14" y="0"/>
                          </a:cubicBezTo>
                          <a:close/>
                        </a:path>
                      </a:pathLst>
                    </a:custGeom>
                    <a:solidFill>
                      <a:srgbClr val="4D4D4F"/>
                    </a:solidFill>
                    <a:ln>
                      <a:noFill/>
                    </a:ln>
                    <a:extLst>
                      <a:ext uri="{91240B29-F687-4f45-9708-019B960494DF}">
                        <a14:hiddenLine xmlns=""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algn="l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200" b="0" i="0" u="none" strike="noStrike" kern="0" cap="none" spc="0" normalizeH="0" baseline="0" noProof="0" dirty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Arial"/>
                        <a:cs typeface=""/>
                      </a:endParaRPr>
                    </a:p>
                  </p:txBody>
                </p:sp>
                <p:sp>
                  <p:nvSpPr>
                    <p:cNvPr id="429" name="Freeform 32"/>
                    <p:cNvSpPr>
                      <a:spLocks/>
                    </p:cNvSpPr>
                    <p:nvPr/>
                  </p:nvSpPr>
                  <p:spPr bwMode="auto">
                    <a:xfrm>
                      <a:off x="4546601" y="2470150"/>
                      <a:ext cx="53975" cy="33338"/>
                    </a:xfrm>
                    <a:custGeom>
                      <a:avLst/>
                      <a:gdLst>
                        <a:gd name="T0" fmla="*/ 46 w 60"/>
                        <a:gd name="T1" fmla="*/ 8 h 37"/>
                        <a:gd name="T2" fmla="*/ 21 w 60"/>
                        <a:gd name="T3" fmla="*/ 2 h 37"/>
                        <a:gd name="T4" fmla="*/ 3 w 60"/>
                        <a:gd name="T5" fmla="*/ 11 h 37"/>
                        <a:gd name="T6" fmla="*/ 12 w 60"/>
                        <a:gd name="T7" fmla="*/ 30 h 37"/>
                        <a:gd name="T8" fmla="*/ 43 w 60"/>
                        <a:gd name="T9" fmla="*/ 37 h 37"/>
                        <a:gd name="T10" fmla="*/ 44 w 60"/>
                        <a:gd name="T11" fmla="*/ 37 h 37"/>
                        <a:gd name="T12" fmla="*/ 59 w 60"/>
                        <a:gd name="T13" fmla="*/ 24 h 37"/>
                        <a:gd name="T14" fmla="*/ 46 w 60"/>
                        <a:gd name="T15" fmla="*/ 8 h 3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</a:cxnLst>
                      <a:rect l="0" t="0" r="r" b="b"/>
                      <a:pathLst>
                        <a:path w="60" h="37">
                          <a:moveTo>
                            <a:pt x="46" y="8"/>
                          </a:moveTo>
                          <a:cubicBezTo>
                            <a:pt x="38" y="7"/>
                            <a:pt x="29" y="5"/>
                            <a:pt x="21" y="2"/>
                          </a:cubicBezTo>
                          <a:cubicBezTo>
                            <a:pt x="14" y="0"/>
                            <a:pt x="6" y="4"/>
                            <a:pt x="3" y="11"/>
                          </a:cubicBezTo>
                          <a:cubicBezTo>
                            <a:pt x="0" y="19"/>
                            <a:pt x="4" y="27"/>
                            <a:pt x="12" y="30"/>
                          </a:cubicBezTo>
                          <a:cubicBezTo>
                            <a:pt x="22" y="33"/>
                            <a:pt x="32" y="36"/>
                            <a:pt x="43" y="37"/>
                          </a:cubicBezTo>
                          <a:cubicBezTo>
                            <a:pt x="43" y="37"/>
                            <a:pt x="44" y="37"/>
                            <a:pt x="44" y="37"/>
                          </a:cubicBezTo>
                          <a:cubicBezTo>
                            <a:pt x="51" y="37"/>
                            <a:pt x="58" y="32"/>
                            <a:pt x="59" y="24"/>
                          </a:cubicBezTo>
                          <a:cubicBezTo>
                            <a:pt x="60" y="16"/>
                            <a:pt x="54" y="9"/>
                            <a:pt x="46" y="8"/>
                          </a:cubicBezTo>
                          <a:close/>
                        </a:path>
                      </a:pathLst>
                    </a:custGeom>
                    <a:solidFill>
                      <a:srgbClr val="4D4D4F"/>
                    </a:solidFill>
                    <a:ln>
                      <a:noFill/>
                    </a:ln>
                    <a:extLst>
                      <a:ext uri="{91240B29-F687-4f45-9708-019B960494DF}">
                        <a14:hiddenLine xmlns=""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algn="l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200" b="0" i="0" u="none" strike="noStrike" kern="0" cap="none" spc="0" normalizeH="0" baseline="0" noProof="0" dirty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Arial"/>
                        <a:cs typeface=""/>
                      </a:endParaRPr>
                    </a:p>
                  </p:txBody>
                </p:sp>
                <p:sp>
                  <p:nvSpPr>
                    <p:cNvPr id="430" name="Freeform 33"/>
                    <p:cNvSpPr>
                      <a:spLocks/>
                    </p:cNvSpPr>
                    <p:nvPr/>
                  </p:nvSpPr>
                  <p:spPr bwMode="auto">
                    <a:xfrm>
                      <a:off x="4781551" y="2478088"/>
                      <a:ext cx="50800" cy="25400"/>
                    </a:xfrm>
                    <a:custGeom>
                      <a:avLst/>
                      <a:gdLst>
                        <a:gd name="T0" fmla="*/ 43 w 57"/>
                        <a:gd name="T1" fmla="*/ 0 h 29"/>
                        <a:gd name="T2" fmla="*/ 14 w 57"/>
                        <a:gd name="T3" fmla="*/ 0 h 29"/>
                        <a:gd name="T4" fmla="*/ 0 w 57"/>
                        <a:gd name="T5" fmla="*/ 15 h 29"/>
                        <a:gd name="T6" fmla="*/ 14 w 57"/>
                        <a:gd name="T7" fmla="*/ 29 h 29"/>
                        <a:gd name="T8" fmla="*/ 43 w 57"/>
                        <a:gd name="T9" fmla="*/ 29 h 29"/>
                        <a:gd name="T10" fmla="*/ 57 w 57"/>
                        <a:gd name="T11" fmla="*/ 15 h 29"/>
                        <a:gd name="T12" fmla="*/ 43 w 57"/>
                        <a:gd name="T13" fmla="*/ 0 h 2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57" h="29">
                          <a:moveTo>
                            <a:pt x="43" y="0"/>
                          </a:moveTo>
                          <a:cubicBezTo>
                            <a:pt x="14" y="0"/>
                            <a:pt x="14" y="0"/>
                            <a:pt x="14" y="0"/>
                          </a:cubicBezTo>
                          <a:cubicBezTo>
                            <a:pt x="6" y="0"/>
                            <a:pt x="0" y="7"/>
                            <a:pt x="0" y="15"/>
                          </a:cubicBezTo>
                          <a:cubicBezTo>
                            <a:pt x="0" y="23"/>
                            <a:pt x="6" y="29"/>
                            <a:pt x="14" y="29"/>
                          </a:cubicBezTo>
                          <a:cubicBezTo>
                            <a:pt x="43" y="29"/>
                            <a:pt x="43" y="29"/>
                            <a:pt x="43" y="29"/>
                          </a:cubicBezTo>
                          <a:cubicBezTo>
                            <a:pt x="51" y="29"/>
                            <a:pt x="57" y="23"/>
                            <a:pt x="57" y="15"/>
                          </a:cubicBezTo>
                          <a:cubicBezTo>
                            <a:pt x="57" y="7"/>
                            <a:pt x="51" y="0"/>
                            <a:pt x="43" y="0"/>
                          </a:cubicBezTo>
                          <a:close/>
                        </a:path>
                      </a:pathLst>
                    </a:custGeom>
                    <a:solidFill>
                      <a:srgbClr val="4D4D4F"/>
                    </a:solidFill>
                    <a:ln>
                      <a:noFill/>
                    </a:ln>
                    <a:extLst>
                      <a:ext uri="{91240B29-F687-4f45-9708-019B960494DF}">
                        <a14:hiddenLine xmlns=""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algn="l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200" b="0" i="0" u="none" strike="noStrike" kern="0" cap="none" spc="0" normalizeH="0" baseline="0" noProof="0" dirty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Arial"/>
                        <a:cs typeface=""/>
                      </a:endParaRPr>
                    </a:p>
                  </p:txBody>
                </p:sp>
                <p:sp>
                  <p:nvSpPr>
                    <p:cNvPr id="431" name="Freeform 34"/>
                    <p:cNvSpPr>
                      <a:spLocks/>
                    </p:cNvSpPr>
                    <p:nvPr/>
                  </p:nvSpPr>
                  <p:spPr bwMode="auto">
                    <a:xfrm>
                      <a:off x="4703763" y="2478088"/>
                      <a:ext cx="50800" cy="25400"/>
                    </a:xfrm>
                    <a:custGeom>
                      <a:avLst/>
                      <a:gdLst>
                        <a:gd name="T0" fmla="*/ 44 w 58"/>
                        <a:gd name="T1" fmla="*/ 0 h 29"/>
                        <a:gd name="T2" fmla="*/ 15 w 58"/>
                        <a:gd name="T3" fmla="*/ 0 h 29"/>
                        <a:gd name="T4" fmla="*/ 0 w 58"/>
                        <a:gd name="T5" fmla="*/ 15 h 29"/>
                        <a:gd name="T6" fmla="*/ 15 w 58"/>
                        <a:gd name="T7" fmla="*/ 29 h 29"/>
                        <a:gd name="T8" fmla="*/ 44 w 58"/>
                        <a:gd name="T9" fmla="*/ 29 h 29"/>
                        <a:gd name="T10" fmla="*/ 58 w 58"/>
                        <a:gd name="T11" fmla="*/ 15 h 29"/>
                        <a:gd name="T12" fmla="*/ 44 w 58"/>
                        <a:gd name="T13" fmla="*/ 0 h 2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58" h="29">
                          <a:moveTo>
                            <a:pt x="44" y="0"/>
                          </a:moveTo>
                          <a:cubicBezTo>
                            <a:pt x="15" y="0"/>
                            <a:pt x="15" y="0"/>
                            <a:pt x="15" y="0"/>
                          </a:cubicBezTo>
                          <a:cubicBezTo>
                            <a:pt x="7" y="0"/>
                            <a:pt x="0" y="7"/>
                            <a:pt x="0" y="15"/>
                          </a:cubicBezTo>
                          <a:cubicBezTo>
                            <a:pt x="0" y="23"/>
                            <a:pt x="7" y="29"/>
                            <a:pt x="15" y="29"/>
                          </a:cubicBezTo>
                          <a:cubicBezTo>
                            <a:pt x="44" y="29"/>
                            <a:pt x="44" y="29"/>
                            <a:pt x="44" y="29"/>
                          </a:cubicBezTo>
                          <a:cubicBezTo>
                            <a:pt x="51" y="29"/>
                            <a:pt x="58" y="23"/>
                            <a:pt x="58" y="15"/>
                          </a:cubicBezTo>
                          <a:cubicBezTo>
                            <a:pt x="58" y="7"/>
                            <a:pt x="51" y="0"/>
                            <a:pt x="44" y="0"/>
                          </a:cubicBezTo>
                          <a:close/>
                        </a:path>
                      </a:pathLst>
                    </a:custGeom>
                    <a:solidFill>
                      <a:srgbClr val="4D4D4F"/>
                    </a:solidFill>
                    <a:ln>
                      <a:noFill/>
                    </a:ln>
                    <a:extLst>
                      <a:ext uri="{91240B29-F687-4f45-9708-019B960494DF}">
                        <a14:hiddenLine xmlns=""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algn="l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200" b="0" i="0" u="none" strike="noStrike" kern="0" cap="none" spc="0" normalizeH="0" baseline="0" noProof="0" dirty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Arial"/>
                        <a:cs typeface=""/>
                      </a:endParaRPr>
                    </a:p>
                  </p:txBody>
                </p:sp>
                <p:sp>
                  <p:nvSpPr>
                    <p:cNvPr id="432" name="Freeform 35"/>
                    <p:cNvSpPr>
                      <a:spLocks/>
                    </p:cNvSpPr>
                    <p:nvPr/>
                  </p:nvSpPr>
                  <p:spPr bwMode="auto">
                    <a:xfrm>
                      <a:off x="4625976" y="2478088"/>
                      <a:ext cx="52388" cy="25400"/>
                    </a:xfrm>
                    <a:custGeom>
                      <a:avLst/>
                      <a:gdLst>
                        <a:gd name="T0" fmla="*/ 43 w 58"/>
                        <a:gd name="T1" fmla="*/ 0 h 29"/>
                        <a:gd name="T2" fmla="*/ 15 w 58"/>
                        <a:gd name="T3" fmla="*/ 0 h 29"/>
                        <a:gd name="T4" fmla="*/ 0 w 58"/>
                        <a:gd name="T5" fmla="*/ 15 h 29"/>
                        <a:gd name="T6" fmla="*/ 15 w 58"/>
                        <a:gd name="T7" fmla="*/ 29 h 29"/>
                        <a:gd name="T8" fmla="*/ 43 w 58"/>
                        <a:gd name="T9" fmla="*/ 29 h 29"/>
                        <a:gd name="T10" fmla="*/ 58 w 58"/>
                        <a:gd name="T11" fmla="*/ 15 h 29"/>
                        <a:gd name="T12" fmla="*/ 43 w 58"/>
                        <a:gd name="T13" fmla="*/ 0 h 2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58" h="29">
                          <a:moveTo>
                            <a:pt x="43" y="0"/>
                          </a:moveTo>
                          <a:cubicBezTo>
                            <a:pt x="15" y="0"/>
                            <a:pt x="15" y="0"/>
                            <a:pt x="15" y="0"/>
                          </a:cubicBezTo>
                          <a:cubicBezTo>
                            <a:pt x="7" y="0"/>
                            <a:pt x="0" y="7"/>
                            <a:pt x="0" y="15"/>
                          </a:cubicBezTo>
                          <a:cubicBezTo>
                            <a:pt x="0" y="23"/>
                            <a:pt x="7" y="29"/>
                            <a:pt x="15" y="29"/>
                          </a:cubicBezTo>
                          <a:cubicBezTo>
                            <a:pt x="43" y="29"/>
                            <a:pt x="43" y="29"/>
                            <a:pt x="43" y="29"/>
                          </a:cubicBezTo>
                          <a:cubicBezTo>
                            <a:pt x="51" y="29"/>
                            <a:pt x="58" y="23"/>
                            <a:pt x="58" y="15"/>
                          </a:cubicBezTo>
                          <a:cubicBezTo>
                            <a:pt x="58" y="7"/>
                            <a:pt x="51" y="0"/>
                            <a:pt x="43" y="0"/>
                          </a:cubicBezTo>
                          <a:close/>
                        </a:path>
                      </a:pathLst>
                    </a:custGeom>
                    <a:solidFill>
                      <a:srgbClr val="4D4D4F"/>
                    </a:solidFill>
                    <a:ln>
                      <a:noFill/>
                    </a:ln>
                    <a:extLst>
                      <a:ext uri="{91240B29-F687-4f45-9708-019B960494DF}">
                        <a14:hiddenLine xmlns=""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algn="l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200" b="0" i="0" u="none" strike="noStrike" kern="0" cap="none" spc="0" normalizeH="0" baseline="0" noProof="0" dirty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Arial"/>
                        <a:cs typeface=""/>
                      </a:endParaRPr>
                    </a:p>
                  </p:txBody>
                </p:sp>
                <p:sp>
                  <p:nvSpPr>
                    <p:cNvPr id="433" name="Freeform 38"/>
                    <p:cNvSpPr>
                      <a:spLocks/>
                    </p:cNvSpPr>
                    <p:nvPr/>
                  </p:nvSpPr>
                  <p:spPr bwMode="auto">
                    <a:xfrm>
                      <a:off x="4859338" y="2473325"/>
                      <a:ext cx="52388" cy="30163"/>
                    </a:xfrm>
                    <a:custGeom>
                      <a:avLst/>
                      <a:gdLst>
                        <a:gd name="T0" fmla="*/ 39 w 58"/>
                        <a:gd name="T1" fmla="*/ 2 h 34"/>
                        <a:gd name="T2" fmla="*/ 14 w 58"/>
                        <a:gd name="T3" fmla="*/ 5 h 34"/>
                        <a:gd name="T4" fmla="*/ 0 w 58"/>
                        <a:gd name="T5" fmla="*/ 20 h 34"/>
                        <a:gd name="T6" fmla="*/ 14 w 58"/>
                        <a:gd name="T7" fmla="*/ 34 h 34"/>
                        <a:gd name="T8" fmla="*/ 14 w 58"/>
                        <a:gd name="T9" fmla="*/ 34 h 34"/>
                        <a:gd name="T10" fmla="*/ 46 w 58"/>
                        <a:gd name="T11" fmla="*/ 30 h 34"/>
                        <a:gd name="T12" fmla="*/ 56 w 58"/>
                        <a:gd name="T13" fmla="*/ 12 h 34"/>
                        <a:gd name="T14" fmla="*/ 39 w 58"/>
                        <a:gd name="T15" fmla="*/ 2 h 3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</a:cxnLst>
                      <a:rect l="0" t="0" r="r" b="b"/>
                      <a:pathLst>
                        <a:path w="58" h="34">
                          <a:moveTo>
                            <a:pt x="39" y="2"/>
                          </a:moveTo>
                          <a:cubicBezTo>
                            <a:pt x="31" y="4"/>
                            <a:pt x="22" y="5"/>
                            <a:pt x="14" y="5"/>
                          </a:cubicBezTo>
                          <a:cubicBezTo>
                            <a:pt x="6" y="5"/>
                            <a:pt x="0" y="12"/>
                            <a:pt x="0" y="20"/>
                          </a:cubicBezTo>
                          <a:cubicBezTo>
                            <a:pt x="0" y="28"/>
                            <a:pt x="6" y="34"/>
                            <a:pt x="14" y="34"/>
                          </a:cubicBezTo>
                          <a:cubicBezTo>
                            <a:pt x="14" y="34"/>
                            <a:pt x="14" y="34"/>
                            <a:pt x="14" y="34"/>
                          </a:cubicBezTo>
                          <a:cubicBezTo>
                            <a:pt x="25" y="34"/>
                            <a:pt x="36" y="32"/>
                            <a:pt x="46" y="30"/>
                          </a:cubicBezTo>
                          <a:cubicBezTo>
                            <a:pt x="54" y="28"/>
                            <a:pt x="58" y="20"/>
                            <a:pt x="56" y="12"/>
                          </a:cubicBezTo>
                          <a:cubicBezTo>
                            <a:pt x="55" y="5"/>
                            <a:pt x="47" y="0"/>
                            <a:pt x="39" y="2"/>
                          </a:cubicBezTo>
                          <a:close/>
                        </a:path>
                      </a:pathLst>
                    </a:custGeom>
                    <a:solidFill>
                      <a:srgbClr val="4D4D4F"/>
                    </a:solidFill>
                    <a:ln>
                      <a:noFill/>
                    </a:ln>
                    <a:extLst>
                      <a:ext uri="{91240B29-F687-4f45-9708-019B960494DF}">
                        <a14:hiddenLine xmlns=""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algn="l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200" b="0" i="0" u="none" strike="noStrike" kern="0" cap="none" spc="0" normalizeH="0" baseline="0" noProof="0" dirty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Arial"/>
                        <a:cs typeface=""/>
                      </a:endParaRPr>
                    </a:p>
                  </p:txBody>
                </p:sp>
              </p:grpSp>
              <p:sp>
                <p:nvSpPr>
                  <p:cNvPr id="410" name="Freeform 12"/>
                  <p:cNvSpPr>
                    <a:spLocks noEditPoints="1"/>
                  </p:cNvSpPr>
                  <p:nvPr/>
                </p:nvSpPr>
                <p:spPr bwMode="auto">
                  <a:xfrm>
                    <a:off x="5406483" y="2446478"/>
                    <a:ext cx="214941" cy="191168"/>
                  </a:xfrm>
                  <a:custGeom>
                    <a:avLst/>
                    <a:gdLst>
                      <a:gd name="T0" fmla="*/ 419 w 494"/>
                      <a:gd name="T1" fmla="*/ 299 h 448"/>
                      <a:gd name="T2" fmla="*/ 403 w 494"/>
                      <a:gd name="T3" fmla="*/ 301 h 448"/>
                      <a:gd name="T4" fmla="*/ 302 w 494"/>
                      <a:gd name="T5" fmla="*/ 126 h 448"/>
                      <a:gd name="T6" fmla="*/ 322 w 494"/>
                      <a:gd name="T7" fmla="*/ 75 h 448"/>
                      <a:gd name="T8" fmla="*/ 247 w 494"/>
                      <a:gd name="T9" fmla="*/ 0 h 448"/>
                      <a:gd name="T10" fmla="*/ 173 w 494"/>
                      <a:gd name="T11" fmla="*/ 75 h 448"/>
                      <a:gd name="T12" fmla="*/ 193 w 494"/>
                      <a:gd name="T13" fmla="*/ 126 h 448"/>
                      <a:gd name="T14" fmla="*/ 91 w 494"/>
                      <a:gd name="T15" fmla="*/ 301 h 448"/>
                      <a:gd name="T16" fmla="*/ 75 w 494"/>
                      <a:gd name="T17" fmla="*/ 299 h 448"/>
                      <a:gd name="T18" fmla="*/ 0 w 494"/>
                      <a:gd name="T19" fmla="*/ 373 h 448"/>
                      <a:gd name="T20" fmla="*/ 75 w 494"/>
                      <a:gd name="T21" fmla="*/ 448 h 448"/>
                      <a:gd name="T22" fmla="*/ 146 w 494"/>
                      <a:gd name="T23" fmla="*/ 395 h 448"/>
                      <a:gd name="T24" fmla="*/ 349 w 494"/>
                      <a:gd name="T25" fmla="*/ 395 h 448"/>
                      <a:gd name="T26" fmla="*/ 419 w 494"/>
                      <a:gd name="T27" fmla="*/ 448 h 448"/>
                      <a:gd name="T28" fmla="*/ 494 w 494"/>
                      <a:gd name="T29" fmla="*/ 373 h 448"/>
                      <a:gd name="T30" fmla="*/ 419 w 494"/>
                      <a:gd name="T31" fmla="*/ 299 h 448"/>
                      <a:gd name="T32" fmla="*/ 349 w 494"/>
                      <a:gd name="T33" fmla="*/ 351 h 448"/>
                      <a:gd name="T34" fmla="*/ 146 w 494"/>
                      <a:gd name="T35" fmla="*/ 351 h 448"/>
                      <a:gd name="T36" fmla="*/ 130 w 494"/>
                      <a:gd name="T37" fmla="*/ 323 h 448"/>
                      <a:gd name="T38" fmla="*/ 231 w 494"/>
                      <a:gd name="T39" fmla="*/ 148 h 448"/>
                      <a:gd name="T40" fmla="*/ 247 w 494"/>
                      <a:gd name="T41" fmla="*/ 150 h 448"/>
                      <a:gd name="T42" fmla="*/ 264 w 494"/>
                      <a:gd name="T43" fmla="*/ 148 h 448"/>
                      <a:gd name="T44" fmla="*/ 365 w 494"/>
                      <a:gd name="T45" fmla="*/ 323 h 448"/>
                      <a:gd name="T46" fmla="*/ 349 w 494"/>
                      <a:gd name="T47" fmla="*/ 351 h 44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</a:cxnLst>
                    <a:rect l="0" t="0" r="r" b="b"/>
                    <a:pathLst>
                      <a:path w="494" h="448">
                        <a:moveTo>
                          <a:pt x="419" y="299"/>
                        </a:moveTo>
                        <a:cubicBezTo>
                          <a:pt x="414" y="299"/>
                          <a:pt x="408" y="300"/>
                          <a:pt x="403" y="301"/>
                        </a:cubicBezTo>
                        <a:cubicBezTo>
                          <a:pt x="302" y="126"/>
                          <a:pt x="302" y="126"/>
                          <a:pt x="302" y="126"/>
                        </a:cubicBezTo>
                        <a:cubicBezTo>
                          <a:pt x="314" y="112"/>
                          <a:pt x="322" y="95"/>
                          <a:pt x="322" y="75"/>
                        </a:cubicBezTo>
                        <a:cubicBezTo>
                          <a:pt x="322" y="34"/>
                          <a:pt x="288" y="0"/>
                          <a:pt x="247" y="0"/>
                        </a:cubicBezTo>
                        <a:cubicBezTo>
                          <a:pt x="206" y="0"/>
                          <a:pt x="173" y="34"/>
                          <a:pt x="173" y="75"/>
                        </a:cubicBezTo>
                        <a:cubicBezTo>
                          <a:pt x="173" y="95"/>
                          <a:pt x="180" y="112"/>
                          <a:pt x="193" y="126"/>
                        </a:cubicBezTo>
                        <a:cubicBezTo>
                          <a:pt x="91" y="301"/>
                          <a:pt x="91" y="301"/>
                          <a:pt x="91" y="301"/>
                        </a:cubicBezTo>
                        <a:cubicBezTo>
                          <a:pt x="86" y="300"/>
                          <a:pt x="81" y="299"/>
                          <a:pt x="75" y="299"/>
                        </a:cubicBezTo>
                        <a:cubicBezTo>
                          <a:pt x="34" y="299"/>
                          <a:pt x="0" y="332"/>
                          <a:pt x="0" y="373"/>
                        </a:cubicBezTo>
                        <a:cubicBezTo>
                          <a:pt x="0" y="415"/>
                          <a:pt x="34" y="448"/>
                          <a:pt x="75" y="448"/>
                        </a:cubicBezTo>
                        <a:cubicBezTo>
                          <a:pt x="108" y="448"/>
                          <a:pt x="136" y="426"/>
                          <a:pt x="146" y="395"/>
                        </a:cubicBezTo>
                        <a:cubicBezTo>
                          <a:pt x="349" y="395"/>
                          <a:pt x="349" y="395"/>
                          <a:pt x="349" y="395"/>
                        </a:cubicBezTo>
                        <a:cubicBezTo>
                          <a:pt x="358" y="426"/>
                          <a:pt x="386" y="448"/>
                          <a:pt x="419" y="448"/>
                        </a:cubicBezTo>
                        <a:cubicBezTo>
                          <a:pt x="461" y="448"/>
                          <a:pt x="494" y="415"/>
                          <a:pt x="494" y="373"/>
                        </a:cubicBezTo>
                        <a:cubicBezTo>
                          <a:pt x="494" y="332"/>
                          <a:pt x="461" y="299"/>
                          <a:pt x="419" y="299"/>
                        </a:cubicBezTo>
                        <a:close/>
                        <a:moveTo>
                          <a:pt x="349" y="351"/>
                        </a:moveTo>
                        <a:cubicBezTo>
                          <a:pt x="146" y="351"/>
                          <a:pt x="146" y="351"/>
                          <a:pt x="146" y="351"/>
                        </a:cubicBezTo>
                        <a:cubicBezTo>
                          <a:pt x="142" y="341"/>
                          <a:pt x="137" y="331"/>
                          <a:pt x="130" y="323"/>
                        </a:cubicBezTo>
                        <a:cubicBezTo>
                          <a:pt x="231" y="148"/>
                          <a:pt x="231" y="148"/>
                          <a:pt x="231" y="148"/>
                        </a:cubicBezTo>
                        <a:cubicBezTo>
                          <a:pt x="236" y="149"/>
                          <a:pt x="242" y="150"/>
                          <a:pt x="247" y="150"/>
                        </a:cubicBezTo>
                        <a:cubicBezTo>
                          <a:pt x="253" y="150"/>
                          <a:pt x="258" y="149"/>
                          <a:pt x="264" y="148"/>
                        </a:cubicBezTo>
                        <a:cubicBezTo>
                          <a:pt x="365" y="323"/>
                          <a:pt x="365" y="323"/>
                          <a:pt x="365" y="323"/>
                        </a:cubicBezTo>
                        <a:cubicBezTo>
                          <a:pt x="358" y="331"/>
                          <a:pt x="352" y="341"/>
                          <a:pt x="349" y="351"/>
                        </a:cubicBezTo>
                        <a:close/>
                      </a:path>
                    </a:pathLst>
                  </a:custGeom>
                  <a:solidFill>
                    <a:sysClr val="window" lastClr="FFFFFF"/>
                  </a:solidFill>
                  <a:ln>
                    <a:noFill/>
                  </a:ln>
                  <a:extLst/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200" b="0" i="0" u="none" strike="noStrike" kern="0" cap="none" spc="0" normalizeH="0" baseline="0" noProof="0" dirty="0" smtClean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rial"/>
                      <a:cs typeface=""/>
                    </a:endParaRPr>
                  </a:p>
                </p:txBody>
              </p:sp>
            </p:grpSp>
            <p:sp>
              <p:nvSpPr>
                <p:cNvPr id="407" name="Rounded Rectangle 406"/>
                <p:cNvSpPr/>
                <p:nvPr/>
              </p:nvSpPr>
              <p:spPr>
                <a:xfrm>
                  <a:off x="5352784" y="2386601"/>
                  <a:ext cx="308105" cy="310923"/>
                </a:xfrm>
                <a:prstGeom prst="roundRect">
                  <a:avLst/>
                </a:prstGeom>
                <a:solidFill>
                  <a:srgbClr val="4F81BD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smtClean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/>
                    <a:ea typeface=""/>
                    <a:cs typeface=""/>
                  </a:endParaRPr>
                </a:p>
              </p:txBody>
            </p:sp>
            <p:sp>
              <p:nvSpPr>
                <p:cNvPr id="408" name="Freeform 12"/>
                <p:cNvSpPr>
                  <a:spLocks noEditPoints="1"/>
                </p:cNvSpPr>
                <p:nvPr/>
              </p:nvSpPr>
              <p:spPr bwMode="auto">
                <a:xfrm>
                  <a:off x="5388323" y="2435434"/>
                  <a:ext cx="214941" cy="191168"/>
                </a:xfrm>
                <a:custGeom>
                  <a:avLst/>
                  <a:gdLst>
                    <a:gd name="T0" fmla="*/ 419 w 494"/>
                    <a:gd name="T1" fmla="*/ 299 h 448"/>
                    <a:gd name="T2" fmla="*/ 403 w 494"/>
                    <a:gd name="T3" fmla="*/ 301 h 448"/>
                    <a:gd name="T4" fmla="*/ 302 w 494"/>
                    <a:gd name="T5" fmla="*/ 126 h 448"/>
                    <a:gd name="T6" fmla="*/ 322 w 494"/>
                    <a:gd name="T7" fmla="*/ 75 h 448"/>
                    <a:gd name="T8" fmla="*/ 247 w 494"/>
                    <a:gd name="T9" fmla="*/ 0 h 448"/>
                    <a:gd name="T10" fmla="*/ 173 w 494"/>
                    <a:gd name="T11" fmla="*/ 75 h 448"/>
                    <a:gd name="T12" fmla="*/ 193 w 494"/>
                    <a:gd name="T13" fmla="*/ 126 h 448"/>
                    <a:gd name="T14" fmla="*/ 91 w 494"/>
                    <a:gd name="T15" fmla="*/ 301 h 448"/>
                    <a:gd name="T16" fmla="*/ 75 w 494"/>
                    <a:gd name="T17" fmla="*/ 299 h 448"/>
                    <a:gd name="T18" fmla="*/ 0 w 494"/>
                    <a:gd name="T19" fmla="*/ 373 h 448"/>
                    <a:gd name="T20" fmla="*/ 75 w 494"/>
                    <a:gd name="T21" fmla="*/ 448 h 448"/>
                    <a:gd name="T22" fmla="*/ 146 w 494"/>
                    <a:gd name="T23" fmla="*/ 395 h 448"/>
                    <a:gd name="T24" fmla="*/ 349 w 494"/>
                    <a:gd name="T25" fmla="*/ 395 h 448"/>
                    <a:gd name="T26" fmla="*/ 419 w 494"/>
                    <a:gd name="T27" fmla="*/ 448 h 448"/>
                    <a:gd name="T28" fmla="*/ 494 w 494"/>
                    <a:gd name="T29" fmla="*/ 373 h 448"/>
                    <a:gd name="T30" fmla="*/ 419 w 494"/>
                    <a:gd name="T31" fmla="*/ 299 h 448"/>
                    <a:gd name="T32" fmla="*/ 349 w 494"/>
                    <a:gd name="T33" fmla="*/ 351 h 448"/>
                    <a:gd name="T34" fmla="*/ 146 w 494"/>
                    <a:gd name="T35" fmla="*/ 351 h 448"/>
                    <a:gd name="T36" fmla="*/ 130 w 494"/>
                    <a:gd name="T37" fmla="*/ 323 h 448"/>
                    <a:gd name="T38" fmla="*/ 231 w 494"/>
                    <a:gd name="T39" fmla="*/ 148 h 448"/>
                    <a:gd name="T40" fmla="*/ 247 w 494"/>
                    <a:gd name="T41" fmla="*/ 150 h 448"/>
                    <a:gd name="T42" fmla="*/ 264 w 494"/>
                    <a:gd name="T43" fmla="*/ 148 h 448"/>
                    <a:gd name="T44" fmla="*/ 365 w 494"/>
                    <a:gd name="T45" fmla="*/ 323 h 448"/>
                    <a:gd name="T46" fmla="*/ 349 w 494"/>
                    <a:gd name="T47" fmla="*/ 351 h 44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</a:cxnLst>
                  <a:rect l="0" t="0" r="r" b="b"/>
                  <a:pathLst>
                    <a:path w="494" h="448">
                      <a:moveTo>
                        <a:pt x="419" y="299"/>
                      </a:moveTo>
                      <a:cubicBezTo>
                        <a:pt x="414" y="299"/>
                        <a:pt x="408" y="300"/>
                        <a:pt x="403" y="301"/>
                      </a:cubicBezTo>
                      <a:cubicBezTo>
                        <a:pt x="302" y="126"/>
                        <a:pt x="302" y="126"/>
                        <a:pt x="302" y="126"/>
                      </a:cubicBezTo>
                      <a:cubicBezTo>
                        <a:pt x="314" y="112"/>
                        <a:pt x="322" y="95"/>
                        <a:pt x="322" y="75"/>
                      </a:cubicBezTo>
                      <a:cubicBezTo>
                        <a:pt x="322" y="34"/>
                        <a:pt x="288" y="0"/>
                        <a:pt x="247" y="0"/>
                      </a:cubicBezTo>
                      <a:cubicBezTo>
                        <a:pt x="206" y="0"/>
                        <a:pt x="173" y="34"/>
                        <a:pt x="173" y="75"/>
                      </a:cubicBezTo>
                      <a:cubicBezTo>
                        <a:pt x="173" y="95"/>
                        <a:pt x="180" y="112"/>
                        <a:pt x="193" y="126"/>
                      </a:cubicBezTo>
                      <a:cubicBezTo>
                        <a:pt x="91" y="301"/>
                        <a:pt x="91" y="301"/>
                        <a:pt x="91" y="301"/>
                      </a:cubicBezTo>
                      <a:cubicBezTo>
                        <a:pt x="86" y="300"/>
                        <a:pt x="81" y="299"/>
                        <a:pt x="75" y="299"/>
                      </a:cubicBezTo>
                      <a:cubicBezTo>
                        <a:pt x="34" y="299"/>
                        <a:pt x="0" y="332"/>
                        <a:pt x="0" y="373"/>
                      </a:cubicBezTo>
                      <a:cubicBezTo>
                        <a:pt x="0" y="415"/>
                        <a:pt x="34" y="448"/>
                        <a:pt x="75" y="448"/>
                      </a:cubicBezTo>
                      <a:cubicBezTo>
                        <a:pt x="108" y="448"/>
                        <a:pt x="136" y="426"/>
                        <a:pt x="146" y="395"/>
                      </a:cubicBezTo>
                      <a:cubicBezTo>
                        <a:pt x="349" y="395"/>
                        <a:pt x="349" y="395"/>
                        <a:pt x="349" y="395"/>
                      </a:cubicBezTo>
                      <a:cubicBezTo>
                        <a:pt x="358" y="426"/>
                        <a:pt x="386" y="448"/>
                        <a:pt x="419" y="448"/>
                      </a:cubicBezTo>
                      <a:cubicBezTo>
                        <a:pt x="461" y="448"/>
                        <a:pt x="494" y="415"/>
                        <a:pt x="494" y="373"/>
                      </a:cubicBezTo>
                      <a:cubicBezTo>
                        <a:pt x="494" y="332"/>
                        <a:pt x="461" y="299"/>
                        <a:pt x="419" y="299"/>
                      </a:cubicBezTo>
                      <a:close/>
                      <a:moveTo>
                        <a:pt x="349" y="351"/>
                      </a:moveTo>
                      <a:cubicBezTo>
                        <a:pt x="146" y="351"/>
                        <a:pt x="146" y="351"/>
                        <a:pt x="146" y="351"/>
                      </a:cubicBezTo>
                      <a:cubicBezTo>
                        <a:pt x="142" y="341"/>
                        <a:pt x="137" y="331"/>
                        <a:pt x="130" y="323"/>
                      </a:cubicBezTo>
                      <a:cubicBezTo>
                        <a:pt x="231" y="148"/>
                        <a:pt x="231" y="148"/>
                        <a:pt x="231" y="148"/>
                      </a:cubicBezTo>
                      <a:cubicBezTo>
                        <a:pt x="236" y="149"/>
                        <a:pt x="242" y="150"/>
                        <a:pt x="247" y="150"/>
                      </a:cubicBezTo>
                      <a:cubicBezTo>
                        <a:pt x="253" y="150"/>
                        <a:pt x="258" y="149"/>
                        <a:pt x="264" y="148"/>
                      </a:cubicBezTo>
                      <a:cubicBezTo>
                        <a:pt x="365" y="323"/>
                        <a:pt x="365" y="323"/>
                        <a:pt x="365" y="323"/>
                      </a:cubicBezTo>
                      <a:cubicBezTo>
                        <a:pt x="358" y="331"/>
                        <a:pt x="352" y="341"/>
                        <a:pt x="349" y="351"/>
                      </a:cubicBezTo>
                      <a:close/>
                    </a:path>
                  </a:pathLst>
                </a:custGeom>
                <a:solidFill>
                  <a:sysClr val="window" lastClr="FFFFFF"/>
                </a:solidFill>
                <a:ln>
                  <a:noFill/>
                </a:ln>
                <a:extLst/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2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/>
                    <a:cs typeface=""/>
                  </a:endParaRPr>
                </a:p>
              </p:txBody>
            </p:sp>
          </p:grpSp>
          <p:grpSp>
            <p:nvGrpSpPr>
              <p:cNvPr id="290" name="Group 289"/>
              <p:cNvGrpSpPr/>
              <p:nvPr/>
            </p:nvGrpSpPr>
            <p:grpSpPr>
              <a:xfrm>
                <a:off x="4156334" y="2753364"/>
                <a:ext cx="309858" cy="281520"/>
                <a:chOff x="5310724" y="2352924"/>
                <a:chExt cx="398754" cy="374816"/>
              </a:xfrm>
            </p:grpSpPr>
            <p:grpSp>
              <p:nvGrpSpPr>
                <p:cNvPr id="378" name="Group 377"/>
                <p:cNvGrpSpPr/>
                <p:nvPr/>
              </p:nvGrpSpPr>
              <p:grpSpPr>
                <a:xfrm>
                  <a:off x="5310724" y="2352924"/>
                  <a:ext cx="398754" cy="374816"/>
                  <a:chOff x="5310724" y="2352924"/>
                  <a:chExt cx="398754" cy="374816"/>
                </a:xfrm>
              </p:grpSpPr>
              <p:grpSp>
                <p:nvGrpSpPr>
                  <p:cNvPr id="381" name="Group 380"/>
                  <p:cNvGrpSpPr/>
                  <p:nvPr/>
                </p:nvGrpSpPr>
                <p:grpSpPr>
                  <a:xfrm rot="5400000">
                    <a:off x="5322693" y="2340955"/>
                    <a:ext cx="374816" cy="398754"/>
                    <a:chOff x="4471988" y="1985963"/>
                    <a:chExt cx="527051" cy="517525"/>
                  </a:xfrm>
                </p:grpSpPr>
                <p:sp>
                  <p:nvSpPr>
                    <p:cNvPr id="383" name="Freeform 13"/>
                    <p:cNvSpPr>
                      <a:spLocks/>
                    </p:cNvSpPr>
                    <p:nvPr/>
                  </p:nvSpPr>
                  <p:spPr bwMode="auto">
                    <a:xfrm>
                      <a:off x="4471988" y="2117725"/>
                      <a:ext cx="25400" cy="50800"/>
                    </a:xfrm>
                    <a:custGeom>
                      <a:avLst/>
                      <a:gdLst>
                        <a:gd name="T0" fmla="*/ 14 w 29"/>
                        <a:gd name="T1" fmla="*/ 57 h 57"/>
                        <a:gd name="T2" fmla="*/ 29 w 29"/>
                        <a:gd name="T3" fmla="*/ 43 h 57"/>
                        <a:gd name="T4" fmla="*/ 29 w 29"/>
                        <a:gd name="T5" fmla="*/ 14 h 57"/>
                        <a:gd name="T6" fmla="*/ 14 w 29"/>
                        <a:gd name="T7" fmla="*/ 0 h 57"/>
                        <a:gd name="T8" fmla="*/ 0 w 29"/>
                        <a:gd name="T9" fmla="*/ 14 h 57"/>
                        <a:gd name="T10" fmla="*/ 0 w 29"/>
                        <a:gd name="T11" fmla="*/ 43 h 57"/>
                        <a:gd name="T12" fmla="*/ 14 w 29"/>
                        <a:gd name="T13" fmla="*/ 57 h 5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29" h="57">
                          <a:moveTo>
                            <a:pt x="14" y="57"/>
                          </a:moveTo>
                          <a:cubicBezTo>
                            <a:pt x="22" y="57"/>
                            <a:pt x="29" y="51"/>
                            <a:pt x="29" y="43"/>
                          </a:cubicBezTo>
                          <a:cubicBezTo>
                            <a:pt x="29" y="14"/>
                            <a:pt x="29" y="14"/>
                            <a:pt x="29" y="14"/>
                          </a:cubicBezTo>
                          <a:cubicBezTo>
                            <a:pt x="29" y="6"/>
                            <a:pt x="22" y="0"/>
                            <a:pt x="14" y="0"/>
                          </a:cubicBezTo>
                          <a:cubicBezTo>
                            <a:pt x="7" y="0"/>
                            <a:pt x="0" y="6"/>
                            <a:pt x="0" y="14"/>
                          </a:cubicBezTo>
                          <a:cubicBezTo>
                            <a:pt x="0" y="43"/>
                            <a:pt x="0" y="43"/>
                            <a:pt x="0" y="43"/>
                          </a:cubicBezTo>
                          <a:cubicBezTo>
                            <a:pt x="0" y="51"/>
                            <a:pt x="7" y="57"/>
                            <a:pt x="14" y="57"/>
                          </a:cubicBezTo>
                          <a:close/>
                        </a:path>
                      </a:pathLst>
                    </a:custGeom>
                    <a:solidFill>
                      <a:srgbClr val="4D4D4F"/>
                    </a:solidFill>
                    <a:ln>
                      <a:noFill/>
                    </a:ln>
                    <a:extLst>
                      <a:ext uri="{91240B29-F687-4f45-9708-019B960494DF}">
                        <a14:hiddenLine xmlns=""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algn="l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200" b="0" i="0" u="none" strike="noStrike" kern="0" cap="none" spc="0" normalizeH="0" baseline="0" noProof="0" dirty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Arial"/>
                        <a:cs typeface=""/>
                      </a:endParaRPr>
                    </a:p>
                  </p:txBody>
                </p:sp>
                <p:sp>
                  <p:nvSpPr>
                    <p:cNvPr id="384" name="Freeform 14"/>
                    <p:cNvSpPr>
                      <a:spLocks/>
                    </p:cNvSpPr>
                    <p:nvPr/>
                  </p:nvSpPr>
                  <p:spPr bwMode="auto">
                    <a:xfrm>
                      <a:off x="4471988" y="2271713"/>
                      <a:ext cx="25400" cy="52388"/>
                    </a:xfrm>
                    <a:custGeom>
                      <a:avLst/>
                      <a:gdLst>
                        <a:gd name="T0" fmla="*/ 14 w 29"/>
                        <a:gd name="T1" fmla="*/ 58 h 58"/>
                        <a:gd name="T2" fmla="*/ 29 w 29"/>
                        <a:gd name="T3" fmla="*/ 43 h 58"/>
                        <a:gd name="T4" fmla="*/ 29 w 29"/>
                        <a:gd name="T5" fmla="*/ 15 h 58"/>
                        <a:gd name="T6" fmla="*/ 14 w 29"/>
                        <a:gd name="T7" fmla="*/ 0 h 58"/>
                        <a:gd name="T8" fmla="*/ 0 w 29"/>
                        <a:gd name="T9" fmla="*/ 15 h 58"/>
                        <a:gd name="T10" fmla="*/ 0 w 29"/>
                        <a:gd name="T11" fmla="*/ 43 h 58"/>
                        <a:gd name="T12" fmla="*/ 14 w 29"/>
                        <a:gd name="T13" fmla="*/ 58 h 5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29" h="58">
                          <a:moveTo>
                            <a:pt x="14" y="58"/>
                          </a:moveTo>
                          <a:cubicBezTo>
                            <a:pt x="22" y="58"/>
                            <a:pt x="29" y="51"/>
                            <a:pt x="29" y="43"/>
                          </a:cubicBezTo>
                          <a:cubicBezTo>
                            <a:pt x="29" y="15"/>
                            <a:pt x="29" y="15"/>
                            <a:pt x="29" y="15"/>
                          </a:cubicBezTo>
                          <a:cubicBezTo>
                            <a:pt x="29" y="7"/>
                            <a:pt x="22" y="0"/>
                            <a:pt x="14" y="0"/>
                          </a:cubicBezTo>
                          <a:cubicBezTo>
                            <a:pt x="7" y="0"/>
                            <a:pt x="0" y="7"/>
                            <a:pt x="0" y="15"/>
                          </a:cubicBezTo>
                          <a:cubicBezTo>
                            <a:pt x="0" y="43"/>
                            <a:pt x="0" y="43"/>
                            <a:pt x="0" y="43"/>
                          </a:cubicBezTo>
                          <a:cubicBezTo>
                            <a:pt x="0" y="51"/>
                            <a:pt x="7" y="58"/>
                            <a:pt x="14" y="58"/>
                          </a:cubicBezTo>
                          <a:close/>
                        </a:path>
                      </a:pathLst>
                    </a:custGeom>
                    <a:solidFill>
                      <a:srgbClr val="4D4D4F"/>
                    </a:solidFill>
                    <a:ln>
                      <a:noFill/>
                    </a:ln>
                    <a:extLst>
                      <a:ext uri="{91240B29-F687-4f45-9708-019B960494DF}">
                        <a14:hiddenLine xmlns=""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algn="l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200" b="0" i="0" u="none" strike="noStrike" kern="0" cap="none" spc="0" normalizeH="0" baseline="0" noProof="0" dirty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Arial"/>
                        <a:cs typeface=""/>
                      </a:endParaRPr>
                    </a:p>
                  </p:txBody>
                </p:sp>
                <p:sp>
                  <p:nvSpPr>
                    <p:cNvPr id="385" name="Freeform 15"/>
                    <p:cNvSpPr>
                      <a:spLocks/>
                    </p:cNvSpPr>
                    <p:nvPr/>
                  </p:nvSpPr>
                  <p:spPr bwMode="auto">
                    <a:xfrm>
                      <a:off x="4487863" y="2422525"/>
                      <a:ext cx="44450" cy="47625"/>
                    </a:xfrm>
                    <a:custGeom>
                      <a:avLst/>
                      <a:gdLst>
                        <a:gd name="T0" fmla="*/ 29 w 50"/>
                        <a:gd name="T1" fmla="*/ 8 h 53"/>
                        <a:gd name="T2" fmla="*/ 9 w 50"/>
                        <a:gd name="T3" fmla="*/ 4 h 53"/>
                        <a:gd name="T4" fmla="*/ 4 w 50"/>
                        <a:gd name="T5" fmla="*/ 24 h 53"/>
                        <a:gd name="T6" fmla="*/ 24 w 50"/>
                        <a:gd name="T7" fmla="*/ 49 h 53"/>
                        <a:gd name="T8" fmla="*/ 34 w 50"/>
                        <a:gd name="T9" fmla="*/ 53 h 53"/>
                        <a:gd name="T10" fmla="*/ 45 w 50"/>
                        <a:gd name="T11" fmla="*/ 49 h 53"/>
                        <a:gd name="T12" fmla="*/ 45 w 50"/>
                        <a:gd name="T13" fmla="*/ 28 h 53"/>
                        <a:gd name="T14" fmla="*/ 29 w 50"/>
                        <a:gd name="T15" fmla="*/ 8 h 5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</a:cxnLst>
                      <a:rect l="0" t="0" r="r" b="b"/>
                      <a:pathLst>
                        <a:path w="50" h="53">
                          <a:moveTo>
                            <a:pt x="29" y="8"/>
                          </a:moveTo>
                          <a:cubicBezTo>
                            <a:pt x="24" y="2"/>
                            <a:pt x="15" y="0"/>
                            <a:pt x="9" y="4"/>
                          </a:cubicBezTo>
                          <a:cubicBezTo>
                            <a:pt x="2" y="8"/>
                            <a:pt x="0" y="17"/>
                            <a:pt x="4" y="24"/>
                          </a:cubicBezTo>
                          <a:cubicBezTo>
                            <a:pt x="10" y="33"/>
                            <a:pt x="17" y="41"/>
                            <a:pt x="24" y="49"/>
                          </a:cubicBezTo>
                          <a:cubicBezTo>
                            <a:pt x="27" y="51"/>
                            <a:pt x="31" y="53"/>
                            <a:pt x="34" y="53"/>
                          </a:cubicBezTo>
                          <a:cubicBezTo>
                            <a:pt x="38" y="53"/>
                            <a:pt x="42" y="51"/>
                            <a:pt x="45" y="49"/>
                          </a:cubicBezTo>
                          <a:cubicBezTo>
                            <a:pt x="50" y="43"/>
                            <a:pt x="50" y="34"/>
                            <a:pt x="45" y="28"/>
                          </a:cubicBezTo>
                          <a:cubicBezTo>
                            <a:pt x="39" y="22"/>
                            <a:pt x="33" y="15"/>
                            <a:pt x="29" y="8"/>
                          </a:cubicBezTo>
                          <a:close/>
                        </a:path>
                      </a:pathLst>
                    </a:custGeom>
                    <a:solidFill>
                      <a:srgbClr val="4D4D4F"/>
                    </a:solidFill>
                    <a:ln>
                      <a:noFill/>
                    </a:ln>
                    <a:extLst>
                      <a:ext uri="{91240B29-F687-4f45-9708-019B960494DF}">
                        <a14:hiddenLine xmlns=""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algn="l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200" b="0" i="0" u="none" strike="noStrike" kern="0" cap="none" spc="0" normalizeH="0" baseline="0" noProof="0" dirty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Arial"/>
                        <a:cs typeface=""/>
                      </a:endParaRPr>
                    </a:p>
                  </p:txBody>
                </p:sp>
                <p:sp>
                  <p:nvSpPr>
                    <p:cNvPr id="386" name="Freeform 16"/>
                    <p:cNvSpPr>
                      <a:spLocks/>
                    </p:cNvSpPr>
                    <p:nvPr/>
                  </p:nvSpPr>
                  <p:spPr bwMode="auto">
                    <a:xfrm>
                      <a:off x="4471988" y="2193925"/>
                      <a:ext cx="25400" cy="52388"/>
                    </a:xfrm>
                    <a:custGeom>
                      <a:avLst/>
                      <a:gdLst>
                        <a:gd name="T0" fmla="*/ 14 w 29"/>
                        <a:gd name="T1" fmla="*/ 58 h 58"/>
                        <a:gd name="T2" fmla="*/ 29 w 29"/>
                        <a:gd name="T3" fmla="*/ 43 h 58"/>
                        <a:gd name="T4" fmla="*/ 29 w 29"/>
                        <a:gd name="T5" fmla="*/ 14 h 58"/>
                        <a:gd name="T6" fmla="*/ 14 w 29"/>
                        <a:gd name="T7" fmla="*/ 0 h 58"/>
                        <a:gd name="T8" fmla="*/ 0 w 29"/>
                        <a:gd name="T9" fmla="*/ 14 h 58"/>
                        <a:gd name="T10" fmla="*/ 0 w 29"/>
                        <a:gd name="T11" fmla="*/ 43 h 58"/>
                        <a:gd name="T12" fmla="*/ 14 w 29"/>
                        <a:gd name="T13" fmla="*/ 58 h 5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29" h="58">
                          <a:moveTo>
                            <a:pt x="14" y="58"/>
                          </a:moveTo>
                          <a:cubicBezTo>
                            <a:pt x="22" y="58"/>
                            <a:pt x="29" y="51"/>
                            <a:pt x="29" y="43"/>
                          </a:cubicBezTo>
                          <a:cubicBezTo>
                            <a:pt x="29" y="14"/>
                            <a:pt x="29" y="14"/>
                            <a:pt x="29" y="14"/>
                          </a:cubicBezTo>
                          <a:cubicBezTo>
                            <a:pt x="29" y="6"/>
                            <a:pt x="22" y="0"/>
                            <a:pt x="14" y="0"/>
                          </a:cubicBezTo>
                          <a:cubicBezTo>
                            <a:pt x="7" y="0"/>
                            <a:pt x="0" y="6"/>
                            <a:pt x="0" y="14"/>
                          </a:cubicBezTo>
                          <a:cubicBezTo>
                            <a:pt x="0" y="43"/>
                            <a:pt x="0" y="43"/>
                            <a:pt x="0" y="43"/>
                          </a:cubicBezTo>
                          <a:cubicBezTo>
                            <a:pt x="0" y="51"/>
                            <a:pt x="7" y="58"/>
                            <a:pt x="14" y="58"/>
                          </a:cubicBezTo>
                          <a:close/>
                        </a:path>
                      </a:pathLst>
                    </a:custGeom>
                    <a:solidFill>
                      <a:srgbClr val="4D4D4F"/>
                    </a:solidFill>
                    <a:ln>
                      <a:noFill/>
                    </a:ln>
                    <a:extLst>
                      <a:ext uri="{91240B29-F687-4f45-9708-019B960494DF}">
                        <a14:hiddenLine xmlns=""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algn="l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200" b="0" i="0" u="none" strike="noStrike" kern="0" cap="none" spc="0" normalizeH="0" baseline="0" noProof="0" dirty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Arial"/>
                        <a:cs typeface=""/>
                      </a:endParaRPr>
                    </a:p>
                  </p:txBody>
                </p:sp>
                <p:sp>
                  <p:nvSpPr>
                    <p:cNvPr id="387" name="Freeform 17"/>
                    <p:cNvSpPr>
                      <a:spLocks/>
                    </p:cNvSpPr>
                    <p:nvPr/>
                  </p:nvSpPr>
                  <p:spPr bwMode="auto">
                    <a:xfrm>
                      <a:off x="4830763" y="1985963"/>
                      <a:ext cx="50800" cy="26988"/>
                    </a:xfrm>
                    <a:custGeom>
                      <a:avLst/>
                      <a:gdLst>
                        <a:gd name="T0" fmla="*/ 15 w 57"/>
                        <a:gd name="T1" fmla="*/ 29 h 29"/>
                        <a:gd name="T2" fmla="*/ 44 w 57"/>
                        <a:gd name="T3" fmla="*/ 29 h 29"/>
                        <a:gd name="T4" fmla="*/ 57 w 57"/>
                        <a:gd name="T5" fmla="*/ 15 h 29"/>
                        <a:gd name="T6" fmla="*/ 43 w 57"/>
                        <a:gd name="T7" fmla="*/ 0 h 29"/>
                        <a:gd name="T8" fmla="*/ 15 w 57"/>
                        <a:gd name="T9" fmla="*/ 0 h 29"/>
                        <a:gd name="T10" fmla="*/ 0 w 57"/>
                        <a:gd name="T11" fmla="*/ 15 h 29"/>
                        <a:gd name="T12" fmla="*/ 15 w 57"/>
                        <a:gd name="T13" fmla="*/ 29 h 2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57" h="29">
                          <a:moveTo>
                            <a:pt x="15" y="29"/>
                          </a:moveTo>
                          <a:cubicBezTo>
                            <a:pt x="44" y="29"/>
                            <a:pt x="44" y="29"/>
                            <a:pt x="44" y="29"/>
                          </a:cubicBezTo>
                          <a:cubicBezTo>
                            <a:pt x="51" y="29"/>
                            <a:pt x="57" y="23"/>
                            <a:pt x="57" y="15"/>
                          </a:cubicBezTo>
                          <a:cubicBezTo>
                            <a:pt x="57" y="7"/>
                            <a:pt x="50" y="0"/>
                            <a:pt x="43" y="0"/>
                          </a:cubicBezTo>
                          <a:cubicBezTo>
                            <a:pt x="15" y="0"/>
                            <a:pt x="15" y="0"/>
                            <a:pt x="15" y="0"/>
                          </a:cubicBezTo>
                          <a:cubicBezTo>
                            <a:pt x="7" y="0"/>
                            <a:pt x="0" y="7"/>
                            <a:pt x="0" y="15"/>
                          </a:cubicBezTo>
                          <a:cubicBezTo>
                            <a:pt x="0" y="23"/>
                            <a:pt x="7" y="29"/>
                            <a:pt x="15" y="29"/>
                          </a:cubicBezTo>
                          <a:close/>
                        </a:path>
                      </a:pathLst>
                    </a:custGeom>
                    <a:solidFill>
                      <a:srgbClr val="4D4D4F"/>
                    </a:solidFill>
                    <a:ln>
                      <a:noFill/>
                    </a:ln>
                    <a:extLst>
                      <a:ext uri="{91240B29-F687-4f45-9708-019B960494DF}">
                        <a14:hiddenLine xmlns=""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algn="l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200" b="0" i="0" u="none" strike="noStrike" kern="0" cap="none" spc="0" normalizeH="0" baseline="0" noProof="0" dirty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Arial"/>
                        <a:cs typeface=""/>
                      </a:endParaRPr>
                    </a:p>
                  </p:txBody>
                </p:sp>
                <p:sp>
                  <p:nvSpPr>
                    <p:cNvPr id="388" name="Freeform 18"/>
                    <p:cNvSpPr>
                      <a:spLocks/>
                    </p:cNvSpPr>
                    <p:nvPr/>
                  </p:nvSpPr>
                  <p:spPr bwMode="auto">
                    <a:xfrm>
                      <a:off x="4905376" y="1997075"/>
                      <a:ext cx="50800" cy="41275"/>
                    </a:xfrm>
                    <a:custGeom>
                      <a:avLst/>
                      <a:gdLst>
                        <a:gd name="T0" fmla="*/ 10 w 56"/>
                        <a:gd name="T1" fmla="*/ 30 h 47"/>
                        <a:gd name="T2" fmla="*/ 31 w 56"/>
                        <a:gd name="T3" fmla="*/ 43 h 47"/>
                        <a:gd name="T4" fmla="*/ 40 w 56"/>
                        <a:gd name="T5" fmla="*/ 47 h 47"/>
                        <a:gd name="T6" fmla="*/ 51 w 56"/>
                        <a:gd name="T7" fmla="*/ 41 h 47"/>
                        <a:gd name="T8" fmla="*/ 49 w 56"/>
                        <a:gd name="T9" fmla="*/ 21 h 47"/>
                        <a:gd name="T10" fmla="*/ 22 w 56"/>
                        <a:gd name="T11" fmla="*/ 4 h 47"/>
                        <a:gd name="T12" fmla="*/ 3 w 56"/>
                        <a:gd name="T13" fmla="*/ 11 h 47"/>
                        <a:gd name="T14" fmla="*/ 10 w 56"/>
                        <a:gd name="T15" fmla="*/ 30 h 4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</a:cxnLst>
                      <a:rect l="0" t="0" r="r" b="b"/>
                      <a:pathLst>
                        <a:path w="56" h="47">
                          <a:moveTo>
                            <a:pt x="10" y="30"/>
                          </a:moveTo>
                          <a:cubicBezTo>
                            <a:pt x="17" y="33"/>
                            <a:pt x="25" y="38"/>
                            <a:pt x="31" y="43"/>
                          </a:cubicBezTo>
                          <a:cubicBezTo>
                            <a:pt x="34" y="46"/>
                            <a:pt x="37" y="47"/>
                            <a:pt x="40" y="47"/>
                          </a:cubicBezTo>
                          <a:cubicBezTo>
                            <a:pt x="44" y="47"/>
                            <a:pt x="49" y="45"/>
                            <a:pt x="51" y="41"/>
                          </a:cubicBezTo>
                          <a:cubicBezTo>
                            <a:pt x="56" y="35"/>
                            <a:pt x="55" y="26"/>
                            <a:pt x="49" y="21"/>
                          </a:cubicBezTo>
                          <a:cubicBezTo>
                            <a:pt x="41" y="14"/>
                            <a:pt x="32" y="9"/>
                            <a:pt x="22" y="4"/>
                          </a:cubicBezTo>
                          <a:cubicBezTo>
                            <a:pt x="15" y="0"/>
                            <a:pt x="7" y="3"/>
                            <a:pt x="3" y="11"/>
                          </a:cubicBezTo>
                          <a:cubicBezTo>
                            <a:pt x="0" y="18"/>
                            <a:pt x="3" y="26"/>
                            <a:pt x="10" y="30"/>
                          </a:cubicBezTo>
                          <a:close/>
                        </a:path>
                      </a:pathLst>
                    </a:custGeom>
                    <a:solidFill>
                      <a:srgbClr val="4D4D4F"/>
                    </a:solidFill>
                    <a:ln>
                      <a:noFill/>
                    </a:ln>
                    <a:extLst>
                      <a:ext uri="{91240B29-F687-4f45-9708-019B960494DF}">
                        <a14:hiddenLine xmlns=""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algn="l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200" b="0" i="0" u="none" strike="noStrike" kern="0" cap="none" spc="0" normalizeH="0" baseline="0" noProof="0" dirty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Arial"/>
                        <a:cs typeface=""/>
                      </a:endParaRPr>
                    </a:p>
                  </p:txBody>
                </p:sp>
                <p:sp>
                  <p:nvSpPr>
                    <p:cNvPr id="389" name="Freeform 19"/>
                    <p:cNvSpPr>
                      <a:spLocks/>
                    </p:cNvSpPr>
                    <p:nvPr/>
                  </p:nvSpPr>
                  <p:spPr bwMode="auto">
                    <a:xfrm>
                      <a:off x="4476751" y="2039938"/>
                      <a:ext cx="39688" cy="52388"/>
                    </a:xfrm>
                    <a:custGeom>
                      <a:avLst/>
                      <a:gdLst>
                        <a:gd name="T0" fmla="*/ 12 w 45"/>
                        <a:gd name="T1" fmla="*/ 56 h 57"/>
                        <a:gd name="T2" fmla="*/ 16 w 45"/>
                        <a:gd name="T3" fmla="*/ 57 h 57"/>
                        <a:gd name="T4" fmla="*/ 30 w 45"/>
                        <a:gd name="T5" fmla="*/ 47 h 57"/>
                        <a:gd name="T6" fmla="*/ 41 w 45"/>
                        <a:gd name="T7" fmla="*/ 24 h 57"/>
                        <a:gd name="T8" fmla="*/ 36 w 45"/>
                        <a:gd name="T9" fmla="*/ 4 h 57"/>
                        <a:gd name="T10" fmla="*/ 16 w 45"/>
                        <a:gd name="T11" fmla="*/ 9 h 57"/>
                        <a:gd name="T12" fmla="*/ 3 w 45"/>
                        <a:gd name="T13" fmla="*/ 38 h 57"/>
                        <a:gd name="T14" fmla="*/ 12 w 45"/>
                        <a:gd name="T15" fmla="*/ 56 h 5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</a:cxnLst>
                      <a:rect l="0" t="0" r="r" b="b"/>
                      <a:pathLst>
                        <a:path w="45" h="57">
                          <a:moveTo>
                            <a:pt x="12" y="56"/>
                          </a:moveTo>
                          <a:cubicBezTo>
                            <a:pt x="13" y="57"/>
                            <a:pt x="15" y="57"/>
                            <a:pt x="16" y="57"/>
                          </a:cubicBezTo>
                          <a:cubicBezTo>
                            <a:pt x="22" y="57"/>
                            <a:pt x="28" y="53"/>
                            <a:pt x="30" y="47"/>
                          </a:cubicBezTo>
                          <a:cubicBezTo>
                            <a:pt x="33" y="39"/>
                            <a:pt x="36" y="32"/>
                            <a:pt x="41" y="24"/>
                          </a:cubicBezTo>
                          <a:cubicBezTo>
                            <a:pt x="45" y="17"/>
                            <a:pt x="43" y="9"/>
                            <a:pt x="36" y="4"/>
                          </a:cubicBezTo>
                          <a:cubicBezTo>
                            <a:pt x="29" y="0"/>
                            <a:pt x="21" y="2"/>
                            <a:pt x="16" y="9"/>
                          </a:cubicBezTo>
                          <a:cubicBezTo>
                            <a:pt x="11" y="18"/>
                            <a:pt x="6" y="28"/>
                            <a:pt x="3" y="38"/>
                          </a:cubicBezTo>
                          <a:cubicBezTo>
                            <a:pt x="0" y="45"/>
                            <a:pt x="4" y="54"/>
                            <a:pt x="12" y="56"/>
                          </a:cubicBezTo>
                          <a:close/>
                        </a:path>
                      </a:pathLst>
                    </a:custGeom>
                    <a:solidFill>
                      <a:srgbClr val="4D4D4F"/>
                    </a:solidFill>
                    <a:ln>
                      <a:noFill/>
                    </a:ln>
                    <a:extLst>
                      <a:ext uri="{91240B29-F687-4f45-9708-019B960494DF}">
                        <a14:hiddenLine xmlns=""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algn="l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200" b="0" i="0" u="none" strike="noStrike" kern="0" cap="none" spc="0" normalizeH="0" baseline="0" noProof="0" dirty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Arial"/>
                        <a:cs typeface=""/>
                      </a:endParaRPr>
                    </a:p>
                  </p:txBody>
                </p:sp>
                <p:sp>
                  <p:nvSpPr>
                    <p:cNvPr id="390" name="Freeform 20"/>
                    <p:cNvSpPr>
                      <a:spLocks/>
                    </p:cNvSpPr>
                    <p:nvPr/>
                  </p:nvSpPr>
                  <p:spPr bwMode="auto">
                    <a:xfrm>
                      <a:off x="4522788" y="1992313"/>
                      <a:ext cx="52388" cy="39688"/>
                    </a:xfrm>
                    <a:custGeom>
                      <a:avLst/>
                      <a:gdLst>
                        <a:gd name="T0" fmla="*/ 55 w 58"/>
                        <a:gd name="T1" fmla="*/ 11 h 43"/>
                        <a:gd name="T2" fmla="*/ 37 w 58"/>
                        <a:gd name="T3" fmla="*/ 2 h 43"/>
                        <a:gd name="T4" fmla="*/ 9 w 58"/>
                        <a:gd name="T5" fmla="*/ 17 h 43"/>
                        <a:gd name="T6" fmla="*/ 4 w 58"/>
                        <a:gd name="T7" fmla="*/ 37 h 43"/>
                        <a:gd name="T8" fmla="*/ 16 w 58"/>
                        <a:gd name="T9" fmla="*/ 43 h 43"/>
                        <a:gd name="T10" fmla="*/ 24 w 58"/>
                        <a:gd name="T11" fmla="*/ 41 h 43"/>
                        <a:gd name="T12" fmla="*/ 47 w 58"/>
                        <a:gd name="T13" fmla="*/ 29 h 43"/>
                        <a:gd name="T14" fmla="*/ 55 w 58"/>
                        <a:gd name="T15" fmla="*/ 11 h 4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</a:cxnLst>
                      <a:rect l="0" t="0" r="r" b="b"/>
                      <a:pathLst>
                        <a:path w="58" h="43">
                          <a:moveTo>
                            <a:pt x="55" y="11"/>
                          </a:moveTo>
                          <a:cubicBezTo>
                            <a:pt x="53" y="3"/>
                            <a:pt x="44" y="0"/>
                            <a:pt x="37" y="2"/>
                          </a:cubicBezTo>
                          <a:cubicBezTo>
                            <a:pt x="27" y="6"/>
                            <a:pt x="17" y="11"/>
                            <a:pt x="9" y="17"/>
                          </a:cubicBezTo>
                          <a:cubicBezTo>
                            <a:pt x="2" y="21"/>
                            <a:pt x="0" y="30"/>
                            <a:pt x="4" y="37"/>
                          </a:cubicBezTo>
                          <a:cubicBezTo>
                            <a:pt x="7" y="41"/>
                            <a:pt x="12" y="43"/>
                            <a:pt x="16" y="43"/>
                          </a:cubicBezTo>
                          <a:cubicBezTo>
                            <a:pt x="19" y="43"/>
                            <a:pt x="22" y="43"/>
                            <a:pt x="24" y="41"/>
                          </a:cubicBezTo>
                          <a:cubicBezTo>
                            <a:pt x="31" y="36"/>
                            <a:pt x="39" y="32"/>
                            <a:pt x="47" y="29"/>
                          </a:cubicBezTo>
                          <a:cubicBezTo>
                            <a:pt x="54" y="27"/>
                            <a:pt x="58" y="18"/>
                            <a:pt x="55" y="11"/>
                          </a:cubicBezTo>
                          <a:close/>
                        </a:path>
                      </a:pathLst>
                    </a:custGeom>
                    <a:solidFill>
                      <a:srgbClr val="4D4D4F"/>
                    </a:solidFill>
                    <a:ln>
                      <a:noFill/>
                    </a:ln>
                    <a:extLst>
                      <a:ext uri="{91240B29-F687-4f45-9708-019B960494DF}">
                        <a14:hiddenLine xmlns=""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algn="l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200" b="0" i="0" u="none" strike="noStrike" kern="0" cap="none" spc="0" normalizeH="0" baseline="0" noProof="0" dirty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Arial"/>
                        <a:cs typeface=""/>
                      </a:endParaRPr>
                    </a:p>
                  </p:txBody>
                </p:sp>
                <p:sp>
                  <p:nvSpPr>
                    <p:cNvPr id="391" name="Freeform 21"/>
                    <p:cNvSpPr>
                      <a:spLocks/>
                    </p:cNvSpPr>
                    <p:nvPr/>
                  </p:nvSpPr>
                  <p:spPr bwMode="auto">
                    <a:xfrm>
                      <a:off x="4959351" y="2051050"/>
                      <a:ext cx="36513" cy="52388"/>
                    </a:xfrm>
                    <a:custGeom>
                      <a:avLst/>
                      <a:gdLst>
                        <a:gd name="T0" fmla="*/ 13 w 42"/>
                        <a:gd name="T1" fmla="*/ 47 h 58"/>
                        <a:gd name="T2" fmla="*/ 27 w 42"/>
                        <a:gd name="T3" fmla="*/ 58 h 58"/>
                        <a:gd name="T4" fmla="*/ 30 w 42"/>
                        <a:gd name="T5" fmla="*/ 57 h 58"/>
                        <a:gd name="T6" fmla="*/ 41 w 42"/>
                        <a:gd name="T7" fmla="*/ 40 h 58"/>
                        <a:gd name="T8" fmla="*/ 30 w 42"/>
                        <a:gd name="T9" fmla="*/ 10 h 58"/>
                        <a:gd name="T10" fmla="*/ 11 w 42"/>
                        <a:gd name="T11" fmla="*/ 4 h 58"/>
                        <a:gd name="T12" fmla="*/ 4 w 42"/>
                        <a:gd name="T13" fmla="*/ 23 h 58"/>
                        <a:gd name="T14" fmla="*/ 13 w 42"/>
                        <a:gd name="T15" fmla="*/ 47 h 5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</a:cxnLst>
                      <a:rect l="0" t="0" r="r" b="b"/>
                      <a:pathLst>
                        <a:path w="42" h="58">
                          <a:moveTo>
                            <a:pt x="13" y="47"/>
                          </a:moveTo>
                          <a:cubicBezTo>
                            <a:pt x="14" y="53"/>
                            <a:pt x="20" y="58"/>
                            <a:pt x="27" y="58"/>
                          </a:cubicBezTo>
                          <a:cubicBezTo>
                            <a:pt x="28" y="58"/>
                            <a:pt x="29" y="58"/>
                            <a:pt x="30" y="57"/>
                          </a:cubicBezTo>
                          <a:cubicBezTo>
                            <a:pt x="38" y="56"/>
                            <a:pt x="42" y="48"/>
                            <a:pt x="41" y="40"/>
                          </a:cubicBezTo>
                          <a:cubicBezTo>
                            <a:pt x="38" y="30"/>
                            <a:pt x="35" y="20"/>
                            <a:pt x="30" y="10"/>
                          </a:cubicBezTo>
                          <a:cubicBezTo>
                            <a:pt x="26" y="3"/>
                            <a:pt x="18" y="0"/>
                            <a:pt x="11" y="4"/>
                          </a:cubicBezTo>
                          <a:cubicBezTo>
                            <a:pt x="3" y="7"/>
                            <a:pt x="0" y="16"/>
                            <a:pt x="4" y="23"/>
                          </a:cubicBezTo>
                          <a:cubicBezTo>
                            <a:pt x="8" y="31"/>
                            <a:pt x="11" y="39"/>
                            <a:pt x="13" y="47"/>
                          </a:cubicBezTo>
                          <a:close/>
                        </a:path>
                      </a:pathLst>
                    </a:custGeom>
                    <a:solidFill>
                      <a:srgbClr val="4D4D4F"/>
                    </a:solidFill>
                    <a:ln>
                      <a:noFill/>
                    </a:ln>
                    <a:extLst>
                      <a:ext uri="{91240B29-F687-4f45-9708-019B960494DF}">
                        <a14:hiddenLine xmlns=""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algn="l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200" b="0" i="0" u="none" strike="noStrike" kern="0" cap="none" spc="0" normalizeH="0" baseline="0" noProof="0" dirty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Arial"/>
                        <a:cs typeface=""/>
                      </a:endParaRPr>
                    </a:p>
                  </p:txBody>
                </p:sp>
                <p:sp>
                  <p:nvSpPr>
                    <p:cNvPr id="392" name="Freeform 22"/>
                    <p:cNvSpPr>
                      <a:spLocks/>
                    </p:cNvSpPr>
                    <p:nvPr/>
                  </p:nvSpPr>
                  <p:spPr bwMode="auto">
                    <a:xfrm>
                      <a:off x="4598988" y="1985963"/>
                      <a:ext cx="52388" cy="26988"/>
                    </a:xfrm>
                    <a:custGeom>
                      <a:avLst/>
                      <a:gdLst>
                        <a:gd name="T0" fmla="*/ 14 w 58"/>
                        <a:gd name="T1" fmla="*/ 29 h 29"/>
                        <a:gd name="T2" fmla="*/ 43 w 58"/>
                        <a:gd name="T3" fmla="*/ 29 h 29"/>
                        <a:gd name="T4" fmla="*/ 58 w 58"/>
                        <a:gd name="T5" fmla="*/ 15 h 29"/>
                        <a:gd name="T6" fmla="*/ 43 w 58"/>
                        <a:gd name="T7" fmla="*/ 0 h 29"/>
                        <a:gd name="T8" fmla="*/ 14 w 58"/>
                        <a:gd name="T9" fmla="*/ 0 h 29"/>
                        <a:gd name="T10" fmla="*/ 0 w 58"/>
                        <a:gd name="T11" fmla="*/ 15 h 29"/>
                        <a:gd name="T12" fmla="*/ 14 w 58"/>
                        <a:gd name="T13" fmla="*/ 29 h 2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58" h="29">
                          <a:moveTo>
                            <a:pt x="14" y="29"/>
                          </a:moveTo>
                          <a:cubicBezTo>
                            <a:pt x="43" y="29"/>
                            <a:pt x="43" y="29"/>
                            <a:pt x="43" y="29"/>
                          </a:cubicBezTo>
                          <a:cubicBezTo>
                            <a:pt x="51" y="29"/>
                            <a:pt x="58" y="23"/>
                            <a:pt x="58" y="15"/>
                          </a:cubicBezTo>
                          <a:cubicBezTo>
                            <a:pt x="58" y="7"/>
                            <a:pt x="51" y="0"/>
                            <a:pt x="43" y="0"/>
                          </a:cubicBezTo>
                          <a:cubicBezTo>
                            <a:pt x="14" y="0"/>
                            <a:pt x="14" y="0"/>
                            <a:pt x="14" y="0"/>
                          </a:cubicBezTo>
                          <a:cubicBezTo>
                            <a:pt x="6" y="0"/>
                            <a:pt x="0" y="7"/>
                            <a:pt x="0" y="15"/>
                          </a:cubicBezTo>
                          <a:cubicBezTo>
                            <a:pt x="0" y="23"/>
                            <a:pt x="6" y="29"/>
                            <a:pt x="14" y="29"/>
                          </a:cubicBezTo>
                          <a:close/>
                        </a:path>
                      </a:pathLst>
                    </a:custGeom>
                    <a:solidFill>
                      <a:srgbClr val="4D4D4F"/>
                    </a:solidFill>
                    <a:ln>
                      <a:noFill/>
                    </a:ln>
                    <a:extLst>
                      <a:ext uri="{91240B29-F687-4f45-9708-019B960494DF}">
                        <a14:hiddenLine xmlns=""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algn="l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200" b="0" i="0" u="none" strike="noStrike" kern="0" cap="none" spc="0" normalizeH="0" baseline="0" noProof="0" dirty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Arial"/>
                        <a:cs typeface=""/>
                      </a:endParaRPr>
                    </a:p>
                  </p:txBody>
                </p:sp>
                <p:sp>
                  <p:nvSpPr>
                    <p:cNvPr id="393" name="Freeform 23"/>
                    <p:cNvSpPr>
                      <a:spLocks/>
                    </p:cNvSpPr>
                    <p:nvPr/>
                  </p:nvSpPr>
                  <p:spPr bwMode="auto">
                    <a:xfrm>
                      <a:off x="4676776" y="1985963"/>
                      <a:ext cx="50800" cy="26988"/>
                    </a:xfrm>
                    <a:custGeom>
                      <a:avLst/>
                      <a:gdLst>
                        <a:gd name="T0" fmla="*/ 15 w 58"/>
                        <a:gd name="T1" fmla="*/ 29 h 29"/>
                        <a:gd name="T2" fmla="*/ 43 w 58"/>
                        <a:gd name="T3" fmla="*/ 29 h 29"/>
                        <a:gd name="T4" fmla="*/ 58 w 58"/>
                        <a:gd name="T5" fmla="*/ 15 h 29"/>
                        <a:gd name="T6" fmla="*/ 43 w 58"/>
                        <a:gd name="T7" fmla="*/ 0 h 29"/>
                        <a:gd name="T8" fmla="*/ 15 w 58"/>
                        <a:gd name="T9" fmla="*/ 0 h 29"/>
                        <a:gd name="T10" fmla="*/ 0 w 58"/>
                        <a:gd name="T11" fmla="*/ 15 h 29"/>
                        <a:gd name="T12" fmla="*/ 15 w 58"/>
                        <a:gd name="T13" fmla="*/ 29 h 2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58" h="29">
                          <a:moveTo>
                            <a:pt x="15" y="29"/>
                          </a:moveTo>
                          <a:cubicBezTo>
                            <a:pt x="43" y="29"/>
                            <a:pt x="43" y="29"/>
                            <a:pt x="43" y="29"/>
                          </a:cubicBezTo>
                          <a:cubicBezTo>
                            <a:pt x="51" y="29"/>
                            <a:pt x="58" y="23"/>
                            <a:pt x="58" y="15"/>
                          </a:cubicBezTo>
                          <a:cubicBezTo>
                            <a:pt x="58" y="7"/>
                            <a:pt x="51" y="0"/>
                            <a:pt x="43" y="0"/>
                          </a:cubicBezTo>
                          <a:cubicBezTo>
                            <a:pt x="15" y="0"/>
                            <a:pt x="15" y="0"/>
                            <a:pt x="15" y="0"/>
                          </a:cubicBezTo>
                          <a:cubicBezTo>
                            <a:pt x="7" y="0"/>
                            <a:pt x="0" y="7"/>
                            <a:pt x="0" y="15"/>
                          </a:cubicBezTo>
                          <a:cubicBezTo>
                            <a:pt x="0" y="23"/>
                            <a:pt x="7" y="29"/>
                            <a:pt x="15" y="29"/>
                          </a:cubicBezTo>
                          <a:close/>
                        </a:path>
                      </a:pathLst>
                    </a:custGeom>
                    <a:solidFill>
                      <a:srgbClr val="4D4D4F"/>
                    </a:solidFill>
                    <a:ln>
                      <a:noFill/>
                    </a:ln>
                    <a:extLst>
                      <a:ext uri="{91240B29-F687-4f45-9708-019B960494DF}">
                        <a14:hiddenLine xmlns=""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algn="l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200" b="0" i="0" u="none" strike="noStrike" kern="0" cap="none" spc="0" normalizeH="0" baseline="0" noProof="0" dirty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Arial"/>
                        <a:cs typeface=""/>
                      </a:endParaRPr>
                    </a:p>
                  </p:txBody>
                </p:sp>
                <p:sp>
                  <p:nvSpPr>
                    <p:cNvPr id="394" name="Freeform 24"/>
                    <p:cNvSpPr>
                      <a:spLocks/>
                    </p:cNvSpPr>
                    <p:nvPr/>
                  </p:nvSpPr>
                  <p:spPr bwMode="auto">
                    <a:xfrm>
                      <a:off x="4752976" y="1985963"/>
                      <a:ext cx="52388" cy="26988"/>
                    </a:xfrm>
                    <a:custGeom>
                      <a:avLst/>
                      <a:gdLst>
                        <a:gd name="T0" fmla="*/ 15 w 58"/>
                        <a:gd name="T1" fmla="*/ 29 h 29"/>
                        <a:gd name="T2" fmla="*/ 43 w 58"/>
                        <a:gd name="T3" fmla="*/ 29 h 29"/>
                        <a:gd name="T4" fmla="*/ 58 w 58"/>
                        <a:gd name="T5" fmla="*/ 15 h 29"/>
                        <a:gd name="T6" fmla="*/ 43 w 58"/>
                        <a:gd name="T7" fmla="*/ 0 h 29"/>
                        <a:gd name="T8" fmla="*/ 15 w 58"/>
                        <a:gd name="T9" fmla="*/ 0 h 29"/>
                        <a:gd name="T10" fmla="*/ 0 w 58"/>
                        <a:gd name="T11" fmla="*/ 15 h 29"/>
                        <a:gd name="T12" fmla="*/ 15 w 58"/>
                        <a:gd name="T13" fmla="*/ 29 h 2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58" h="29">
                          <a:moveTo>
                            <a:pt x="15" y="29"/>
                          </a:moveTo>
                          <a:cubicBezTo>
                            <a:pt x="43" y="29"/>
                            <a:pt x="43" y="29"/>
                            <a:pt x="43" y="29"/>
                          </a:cubicBezTo>
                          <a:cubicBezTo>
                            <a:pt x="51" y="29"/>
                            <a:pt x="58" y="23"/>
                            <a:pt x="58" y="15"/>
                          </a:cubicBezTo>
                          <a:cubicBezTo>
                            <a:pt x="58" y="7"/>
                            <a:pt x="51" y="0"/>
                            <a:pt x="43" y="0"/>
                          </a:cubicBezTo>
                          <a:cubicBezTo>
                            <a:pt x="15" y="0"/>
                            <a:pt x="15" y="0"/>
                            <a:pt x="15" y="0"/>
                          </a:cubicBezTo>
                          <a:cubicBezTo>
                            <a:pt x="7" y="0"/>
                            <a:pt x="0" y="7"/>
                            <a:pt x="0" y="15"/>
                          </a:cubicBezTo>
                          <a:cubicBezTo>
                            <a:pt x="0" y="23"/>
                            <a:pt x="7" y="29"/>
                            <a:pt x="15" y="29"/>
                          </a:cubicBezTo>
                          <a:close/>
                        </a:path>
                      </a:pathLst>
                    </a:custGeom>
                    <a:solidFill>
                      <a:srgbClr val="4D4D4F"/>
                    </a:solidFill>
                    <a:ln>
                      <a:noFill/>
                    </a:ln>
                    <a:extLst>
                      <a:ext uri="{91240B29-F687-4f45-9708-019B960494DF}">
                        <a14:hiddenLine xmlns=""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algn="l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200" b="0" i="0" u="none" strike="noStrike" kern="0" cap="none" spc="0" normalizeH="0" baseline="0" noProof="0" dirty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Arial"/>
                        <a:cs typeface=""/>
                      </a:endParaRPr>
                    </a:p>
                  </p:txBody>
                </p:sp>
                <p:sp>
                  <p:nvSpPr>
                    <p:cNvPr id="395" name="Freeform 25"/>
                    <p:cNvSpPr>
                      <a:spLocks/>
                    </p:cNvSpPr>
                    <p:nvPr/>
                  </p:nvSpPr>
                  <p:spPr bwMode="auto">
                    <a:xfrm>
                      <a:off x="4471988" y="2349500"/>
                      <a:ext cx="26988" cy="52388"/>
                    </a:xfrm>
                    <a:custGeom>
                      <a:avLst/>
                      <a:gdLst>
                        <a:gd name="T0" fmla="*/ 30 w 31"/>
                        <a:gd name="T1" fmla="*/ 42 h 58"/>
                        <a:gd name="T2" fmla="*/ 29 w 31"/>
                        <a:gd name="T3" fmla="*/ 28 h 58"/>
                        <a:gd name="T4" fmla="*/ 29 w 31"/>
                        <a:gd name="T5" fmla="*/ 15 h 58"/>
                        <a:gd name="T6" fmla="*/ 14 w 31"/>
                        <a:gd name="T7" fmla="*/ 0 h 58"/>
                        <a:gd name="T8" fmla="*/ 0 w 31"/>
                        <a:gd name="T9" fmla="*/ 15 h 58"/>
                        <a:gd name="T10" fmla="*/ 0 w 31"/>
                        <a:gd name="T11" fmla="*/ 28 h 58"/>
                        <a:gd name="T12" fmla="*/ 1 w 31"/>
                        <a:gd name="T13" fmla="*/ 45 h 58"/>
                        <a:gd name="T14" fmla="*/ 15 w 31"/>
                        <a:gd name="T15" fmla="*/ 58 h 58"/>
                        <a:gd name="T16" fmla="*/ 17 w 31"/>
                        <a:gd name="T17" fmla="*/ 58 h 58"/>
                        <a:gd name="T18" fmla="*/ 30 w 31"/>
                        <a:gd name="T19" fmla="*/ 42 h 5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</a:cxnLst>
                      <a:rect l="0" t="0" r="r" b="b"/>
                      <a:pathLst>
                        <a:path w="31" h="58">
                          <a:moveTo>
                            <a:pt x="30" y="42"/>
                          </a:moveTo>
                          <a:cubicBezTo>
                            <a:pt x="29" y="37"/>
                            <a:pt x="29" y="33"/>
                            <a:pt x="29" y="28"/>
                          </a:cubicBezTo>
                          <a:cubicBezTo>
                            <a:pt x="29" y="15"/>
                            <a:pt x="29" y="15"/>
                            <a:pt x="29" y="15"/>
                          </a:cubicBezTo>
                          <a:cubicBezTo>
                            <a:pt x="29" y="7"/>
                            <a:pt x="22" y="0"/>
                            <a:pt x="14" y="0"/>
                          </a:cubicBezTo>
                          <a:cubicBezTo>
                            <a:pt x="7" y="0"/>
                            <a:pt x="0" y="7"/>
                            <a:pt x="0" y="15"/>
                          </a:cubicBezTo>
                          <a:cubicBezTo>
                            <a:pt x="0" y="28"/>
                            <a:pt x="0" y="28"/>
                            <a:pt x="0" y="28"/>
                          </a:cubicBezTo>
                          <a:cubicBezTo>
                            <a:pt x="0" y="34"/>
                            <a:pt x="0" y="39"/>
                            <a:pt x="1" y="45"/>
                          </a:cubicBezTo>
                          <a:cubicBezTo>
                            <a:pt x="2" y="52"/>
                            <a:pt x="8" y="58"/>
                            <a:pt x="15" y="58"/>
                          </a:cubicBezTo>
                          <a:cubicBezTo>
                            <a:pt x="16" y="58"/>
                            <a:pt x="17" y="58"/>
                            <a:pt x="17" y="58"/>
                          </a:cubicBezTo>
                          <a:cubicBezTo>
                            <a:pt x="25" y="57"/>
                            <a:pt x="31" y="50"/>
                            <a:pt x="30" y="42"/>
                          </a:cubicBezTo>
                          <a:close/>
                        </a:path>
                      </a:pathLst>
                    </a:custGeom>
                    <a:solidFill>
                      <a:srgbClr val="4D4D4F"/>
                    </a:solidFill>
                    <a:ln>
                      <a:noFill/>
                    </a:ln>
                    <a:extLst>
                      <a:ext uri="{91240B29-F687-4f45-9708-019B960494DF}">
                        <a14:hiddenLine xmlns=""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algn="l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200" b="0" i="0" u="none" strike="noStrike" kern="0" cap="none" spc="0" normalizeH="0" baseline="0" noProof="0" dirty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Arial"/>
                        <a:cs typeface=""/>
                      </a:endParaRPr>
                    </a:p>
                  </p:txBody>
                </p:sp>
                <p:sp>
                  <p:nvSpPr>
                    <p:cNvPr id="396" name="Freeform 26"/>
                    <p:cNvSpPr>
                      <a:spLocks/>
                    </p:cNvSpPr>
                    <p:nvPr/>
                  </p:nvSpPr>
                  <p:spPr bwMode="auto">
                    <a:xfrm>
                      <a:off x="4973638" y="2282825"/>
                      <a:ext cx="25400" cy="52388"/>
                    </a:xfrm>
                    <a:custGeom>
                      <a:avLst/>
                      <a:gdLst>
                        <a:gd name="T0" fmla="*/ 14 w 29"/>
                        <a:gd name="T1" fmla="*/ 0 h 58"/>
                        <a:gd name="T2" fmla="*/ 0 w 29"/>
                        <a:gd name="T3" fmla="*/ 15 h 58"/>
                        <a:gd name="T4" fmla="*/ 0 w 29"/>
                        <a:gd name="T5" fmla="*/ 44 h 58"/>
                        <a:gd name="T6" fmla="*/ 14 w 29"/>
                        <a:gd name="T7" fmla="*/ 58 h 58"/>
                        <a:gd name="T8" fmla="*/ 29 w 29"/>
                        <a:gd name="T9" fmla="*/ 44 h 58"/>
                        <a:gd name="T10" fmla="*/ 29 w 29"/>
                        <a:gd name="T11" fmla="*/ 15 h 58"/>
                        <a:gd name="T12" fmla="*/ 14 w 29"/>
                        <a:gd name="T13" fmla="*/ 0 h 5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29" h="58">
                          <a:moveTo>
                            <a:pt x="14" y="0"/>
                          </a:moveTo>
                          <a:cubicBezTo>
                            <a:pt x="6" y="0"/>
                            <a:pt x="0" y="7"/>
                            <a:pt x="0" y="15"/>
                          </a:cubicBezTo>
                          <a:cubicBezTo>
                            <a:pt x="0" y="44"/>
                            <a:pt x="0" y="44"/>
                            <a:pt x="0" y="44"/>
                          </a:cubicBezTo>
                          <a:cubicBezTo>
                            <a:pt x="0" y="52"/>
                            <a:pt x="6" y="58"/>
                            <a:pt x="14" y="58"/>
                          </a:cubicBezTo>
                          <a:cubicBezTo>
                            <a:pt x="22" y="58"/>
                            <a:pt x="29" y="52"/>
                            <a:pt x="29" y="44"/>
                          </a:cubicBezTo>
                          <a:cubicBezTo>
                            <a:pt x="29" y="15"/>
                            <a:pt x="29" y="15"/>
                            <a:pt x="29" y="15"/>
                          </a:cubicBezTo>
                          <a:cubicBezTo>
                            <a:pt x="29" y="7"/>
                            <a:pt x="22" y="0"/>
                            <a:pt x="14" y="0"/>
                          </a:cubicBezTo>
                          <a:close/>
                        </a:path>
                      </a:pathLst>
                    </a:custGeom>
                    <a:solidFill>
                      <a:srgbClr val="4D4D4F"/>
                    </a:solidFill>
                    <a:ln>
                      <a:noFill/>
                    </a:ln>
                    <a:extLst>
                      <a:ext uri="{91240B29-F687-4f45-9708-019B960494DF}">
                        <a14:hiddenLine xmlns=""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algn="l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200" b="0" i="0" u="none" strike="noStrike" kern="0" cap="none" spc="0" normalizeH="0" baseline="0" noProof="0" dirty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Arial"/>
                        <a:cs typeface=""/>
                      </a:endParaRPr>
                    </a:p>
                  </p:txBody>
                </p:sp>
                <p:sp>
                  <p:nvSpPr>
                    <p:cNvPr id="397" name="Freeform 28"/>
                    <p:cNvSpPr>
                      <a:spLocks/>
                    </p:cNvSpPr>
                    <p:nvPr/>
                  </p:nvSpPr>
                  <p:spPr bwMode="auto">
                    <a:xfrm>
                      <a:off x="4927601" y="2432050"/>
                      <a:ext cx="47625" cy="46038"/>
                    </a:xfrm>
                    <a:custGeom>
                      <a:avLst/>
                      <a:gdLst>
                        <a:gd name="T0" fmla="*/ 25 w 53"/>
                        <a:gd name="T1" fmla="*/ 7 h 51"/>
                        <a:gd name="T2" fmla="*/ 7 w 53"/>
                        <a:gd name="T3" fmla="*/ 25 h 51"/>
                        <a:gd name="T4" fmla="*/ 5 w 53"/>
                        <a:gd name="T5" fmla="*/ 45 h 51"/>
                        <a:gd name="T6" fmla="*/ 16 w 53"/>
                        <a:gd name="T7" fmla="*/ 51 h 51"/>
                        <a:gd name="T8" fmla="*/ 25 w 53"/>
                        <a:gd name="T9" fmla="*/ 47 h 51"/>
                        <a:gd name="T10" fmla="*/ 48 w 53"/>
                        <a:gd name="T11" fmla="*/ 25 h 51"/>
                        <a:gd name="T12" fmla="*/ 45 w 53"/>
                        <a:gd name="T13" fmla="*/ 5 h 51"/>
                        <a:gd name="T14" fmla="*/ 25 w 53"/>
                        <a:gd name="T15" fmla="*/ 7 h 5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</a:cxnLst>
                      <a:rect l="0" t="0" r="r" b="b"/>
                      <a:pathLst>
                        <a:path w="53" h="51">
                          <a:moveTo>
                            <a:pt x="25" y="7"/>
                          </a:moveTo>
                          <a:cubicBezTo>
                            <a:pt x="20" y="14"/>
                            <a:pt x="14" y="20"/>
                            <a:pt x="7" y="25"/>
                          </a:cubicBezTo>
                          <a:cubicBezTo>
                            <a:pt x="1" y="30"/>
                            <a:pt x="0" y="39"/>
                            <a:pt x="5" y="45"/>
                          </a:cubicBezTo>
                          <a:cubicBezTo>
                            <a:pt x="8" y="49"/>
                            <a:pt x="12" y="51"/>
                            <a:pt x="16" y="51"/>
                          </a:cubicBezTo>
                          <a:cubicBezTo>
                            <a:pt x="20" y="51"/>
                            <a:pt x="23" y="50"/>
                            <a:pt x="25" y="47"/>
                          </a:cubicBezTo>
                          <a:cubicBezTo>
                            <a:pt x="34" y="41"/>
                            <a:pt x="41" y="33"/>
                            <a:pt x="48" y="25"/>
                          </a:cubicBezTo>
                          <a:cubicBezTo>
                            <a:pt x="53" y="19"/>
                            <a:pt x="52" y="9"/>
                            <a:pt x="45" y="5"/>
                          </a:cubicBezTo>
                          <a:cubicBezTo>
                            <a:pt x="39" y="0"/>
                            <a:pt x="30" y="1"/>
                            <a:pt x="25" y="7"/>
                          </a:cubicBezTo>
                          <a:close/>
                        </a:path>
                      </a:pathLst>
                    </a:custGeom>
                    <a:solidFill>
                      <a:srgbClr val="4D4D4F"/>
                    </a:solidFill>
                    <a:ln>
                      <a:noFill/>
                    </a:ln>
                    <a:extLst>
                      <a:ext uri="{91240B29-F687-4f45-9708-019B960494DF}">
                        <a14:hiddenLine xmlns=""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algn="l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200" b="0" i="0" u="none" strike="noStrike" kern="0" cap="none" spc="0" normalizeH="0" baseline="0" noProof="0" dirty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Arial"/>
                        <a:cs typeface=""/>
                      </a:endParaRPr>
                    </a:p>
                  </p:txBody>
                </p:sp>
                <p:sp>
                  <p:nvSpPr>
                    <p:cNvPr id="398" name="Freeform 29"/>
                    <p:cNvSpPr>
                      <a:spLocks/>
                    </p:cNvSpPr>
                    <p:nvPr/>
                  </p:nvSpPr>
                  <p:spPr bwMode="auto">
                    <a:xfrm>
                      <a:off x="4968876" y="2360613"/>
                      <a:ext cx="30163" cy="52388"/>
                    </a:xfrm>
                    <a:custGeom>
                      <a:avLst/>
                      <a:gdLst>
                        <a:gd name="T0" fmla="*/ 19 w 34"/>
                        <a:gd name="T1" fmla="*/ 0 h 58"/>
                        <a:gd name="T2" fmla="*/ 5 w 34"/>
                        <a:gd name="T3" fmla="*/ 15 h 58"/>
                        <a:gd name="T4" fmla="*/ 2 w 34"/>
                        <a:gd name="T5" fmla="*/ 40 h 58"/>
                        <a:gd name="T6" fmla="*/ 13 w 34"/>
                        <a:gd name="T7" fmla="*/ 58 h 58"/>
                        <a:gd name="T8" fmla="*/ 16 w 34"/>
                        <a:gd name="T9" fmla="*/ 58 h 58"/>
                        <a:gd name="T10" fmla="*/ 30 w 34"/>
                        <a:gd name="T11" fmla="*/ 47 h 58"/>
                        <a:gd name="T12" fmla="*/ 34 w 34"/>
                        <a:gd name="T13" fmla="*/ 15 h 58"/>
                        <a:gd name="T14" fmla="*/ 34 w 34"/>
                        <a:gd name="T15" fmla="*/ 14 h 58"/>
                        <a:gd name="T16" fmla="*/ 19 w 34"/>
                        <a:gd name="T17" fmla="*/ 0 h 5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</a:cxnLst>
                      <a:rect l="0" t="0" r="r" b="b"/>
                      <a:pathLst>
                        <a:path w="34" h="58">
                          <a:moveTo>
                            <a:pt x="19" y="0"/>
                          </a:moveTo>
                          <a:cubicBezTo>
                            <a:pt x="11" y="0"/>
                            <a:pt x="5" y="7"/>
                            <a:pt x="5" y="15"/>
                          </a:cubicBezTo>
                          <a:cubicBezTo>
                            <a:pt x="5" y="24"/>
                            <a:pt x="4" y="32"/>
                            <a:pt x="2" y="40"/>
                          </a:cubicBezTo>
                          <a:cubicBezTo>
                            <a:pt x="0" y="48"/>
                            <a:pt x="5" y="56"/>
                            <a:pt x="13" y="58"/>
                          </a:cubicBezTo>
                          <a:cubicBezTo>
                            <a:pt x="14" y="58"/>
                            <a:pt x="15" y="58"/>
                            <a:pt x="16" y="58"/>
                          </a:cubicBezTo>
                          <a:cubicBezTo>
                            <a:pt x="23" y="58"/>
                            <a:pt x="29" y="53"/>
                            <a:pt x="30" y="47"/>
                          </a:cubicBezTo>
                          <a:cubicBezTo>
                            <a:pt x="32" y="36"/>
                            <a:pt x="34" y="26"/>
                            <a:pt x="34" y="15"/>
                          </a:cubicBezTo>
                          <a:cubicBezTo>
                            <a:pt x="34" y="14"/>
                            <a:pt x="34" y="14"/>
                            <a:pt x="34" y="14"/>
                          </a:cubicBezTo>
                          <a:cubicBezTo>
                            <a:pt x="34" y="6"/>
                            <a:pt x="27" y="0"/>
                            <a:pt x="19" y="0"/>
                          </a:cubicBezTo>
                          <a:close/>
                        </a:path>
                      </a:pathLst>
                    </a:custGeom>
                    <a:solidFill>
                      <a:srgbClr val="4D4D4F"/>
                    </a:solidFill>
                    <a:ln>
                      <a:noFill/>
                    </a:ln>
                    <a:extLst>
                      <a:ext uri="{91240B29-F687-4f45-9708-019B960494DF}">
                        <a14:hiddenLine xmlns=""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algn="l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200" b="0" i="0" u="none" strike="noStrike" kern="0" cap="none" spc="0" normalizeH="0" baseline="0" noProof="0" dirty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Arial"/>
                        <a:cs typeface=""/>
                      </a:endParaRPr>
                    </a:p>
                  </p:txBody>
                </p:sp>
                <p:sp>
                  <p:nvSpPr>
                    <p:cNvPr id="399" name="Freeform 30"/>
                    <p:cNvSpPr>
                      <a:spLocks/>
                    </p:cNvSpPr>
                    <p:nvPr/>
                  </p:nvSpPr>
                  <p:spPr bwMode="auto">
                    <a:xfrm>
                      <a:off x="4973638" y="2205038"/>
                      <a:ext cx="25400" cy="52388"/>
                    </a:xfrm>
                    <a:custGeom>
                      <a:avLst/>
                      <a:gdLst>
                        <a:gd name="T0" fmla="*/ 14 w 29"/>
                        <a:gd name="T1" fmla="*/ 0 h 58"/>
                        <a:gd name="T2" fmla="*/ 0 w 29"/>
                        <a:gd name="T3" fmla="*/ 15 h 58"/>
                        <a:gd name="T4" fmla="*/ 0 w 29"/>
                        <a:gd name="T5" fmla="*/ 43 h 58"/>
                        <a:gd name="T6" fmla="*/ 14 w 29"/>
                        <a:gd name="T7" fmla="*/ 58 h 58"/>
                        <a:gd name="T8" fmla="*/ 29 w 29"/>
                        <a:gd name="T9" fmla="*/ 43 h 58"/>
                        <a:gd name="T10" fmla="*/ 29 w 29"/>
                        <a:gd name="T11" fmla="*/ 15 h 58"/>
                        <a:gd name="T12" fmla="*/ 14 w 29"/>
                        <a:gd name="T13" fmla="*/ 0 h 5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29" h="58">
                          <a:moveTo>
                            <a:pt x="14" y="0"/>
                          </a:moveTo>
                          <a:cubicBezTo>
                            <a:pt x="6" y="0"/>
                            <a:pt x="0" y="7"/>
                            <a:pt x="0" y="15"/>
                          </a:cubicBezTo>
                          <a:cubicBezTo>
                            <a:pt x="0" y="43"/>
                            <a:pt x="0" y="43"/>
                            <a:pt x="0" y="43"/>
                          </a:cubicBezTo>
                          <a:cubicBezTo>
                            <a:pt x="0" y="51"/>
                            <a:pt x="6" y="58"/>
                            <a:pt x="14" y="58"/>
                          </a:cubicBezTo>
                          <a:cubicBezTo>
                            <a:pt x="22" y="58"/>
                            <a:pt x="29" y="51"/>
                            <a:pt x="29" y="43"/>
                          </a:cubicBezTo>
                          <a:cubicBezTo>
                            <a:pt x="29" y="15"/>
                            <a:pt x="29" y="15"/>
                            <a:pt x="29" y="15"/>
                          </a:cubicBezTo>
                          <a:cubicBezTo>
                            <a:pt x="29" y="7"/>
                            <a:pt x="22" y="0"/>
                            <a:pt x="14" y="0"/>
                          </a:cubicBezTo>
                          <a:close/>
                        </a:path>
                      </a:pathLst>
                    </a:custGeom>
                    <a:solidFill>
                      <a:srgbClr val="4D4D4F"/>
                    </a:solidFill>
                    <a:ln>
                      <a:noFill/>
                    </a:ln>
                    <a:extLst>
                      <a:ext uri="{91240B29-F687-4f45-9708-019B960494DF}">
                        <a14:hiddenLine xmlns=""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algn="l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200" b="0" i="0" u="none" strike="noStrike" kern="0" cap="none" spc="0" normalizeH="0" baseline="0" noProof="0" dirty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Arial"/>
                        <a:cs typeface=""/>
                      </a:endParaRPr>
                    </a:p>
                  </p:txBody>
                </p:sp>
                <p:sp>
                  <p:nvSpPr>
                    <p:cNvPr id="400" name="Freeform 31"/>
                    <p:cNvSpPr>
                      <a:spLocks/>
                    </p:cNvSpPr>
                    <p:nvPr/>
                  </p:nvSpPr>
                  <p:spPr bwMode="auto">
                    <a:xfrm>
                      <a:off x="4973638" y="2127250"/>
                      <a:ext cx="25400" cy="52388"/>
                    </a:xfrm>
                    <a:custGeom>
                      <a:avLst/>
                      <a:gdLst>
                        <a:gd name="T0" fmla="*/ 14 w 29"/>
                        <a:gd name="T1" fmla="*/ 0 h 58"/>
                        <a:gd name="T2" fmla="*/ 0 w 29"/>
                        <a:gd name="T3" fmla="*/ 15 h 58"/>
                        <a:gd name="T4" fmla="*/ 0 w 29"/>
                        <a:gd name="T5" fmla="*/ 43 h 58"/>
                        <a:gd name="T6" fmla="*/ 14 w 29"/>
                        <a:gd name="T7" fmla="*/ 58 h 58"/>
                        <a:gd name="T8" fmla="*/ 29 w 29"/>
                        <a:gd name="T9" fmla="*/ 43 h 58"/>
                        <a:gd name="T10" fmla="*/ 29 w 29"/>
                        <a:gd name="T11" fmla="*/ 15 h 58"/>
                        <a:gd name="T12" fmla="*/ 14 w 29"/>
                        <a:gd name="T13" fmla="*/ 0 h 5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29" h="58">
                          <a:moveTo>
                            <a:pt x="14" y="0"/>
                          </a:moveTo>
                          <a:cubicBezTo>
                            <a:pt x="6" y="0"/>
                            <a:pt x="0" y="7"/>
                            <a:pt x="0" y="15"/>
                          </a:cubicBezTo>
                          <a:cubicBezTo>
                            <a:pt x="0" y="43"/>
                            <a:pt x="0" y="43"/>
                            <a:pt x="0" y="43"/>
                          </a:cubicBezTo>
                          <a:cubicBezTo>
                            <a:pt x="0" y="51"/>
                            <a:pt x="6" y="58"/>
                            <a:pt x="14" y="58"/>
                          </a:cubicBezTo>
                          <a:cubicBezTo>
                            <a:pt x="22" y="58"/>
                            <a:pt x="29" y="51"/>
                            <a:pt x="29" y="43"/>
                          </a:cubicBezTo>
                          <a:cubicBezTo>
                            <a:pt x="29" y="15"/>
                            <a:pt x="29" y="15"/>
                            <a:pt x="29" y="15"/>
                          </a:cubicBezTo>
                          <a:cubicBezTo>
                            <a:pt x="29" y="7"/>
                            <a:pt x="22" y="0"/>
                            <a:pt x="14" y="0"/>
                          </a:cubicBezTo>
                          <a:close/>
                        </a:path>
                      </a:pathLst>
                    </a:custGeom>
                    <a:solidFill>
                      <a:srgbClr val="4D4D4F"/>
                    </a:solidFill>
                    <a:ln>
                      <a:noFill/>
                    </a:ln>
                    <a:extLst>
                      <a:ext uri="{91240B29-F687-4f45-9708-019B960494DF}">
                        <a14:hiddenLine xmlns=""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algn="l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200" b="0" i="0" u="none" strike="noStrike" kern="0" cap="none" spc="0" normalizeH="0" baseline="0" noProof="0" dirty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Arial"/>
                        <a:cs typeface=""/>
                      </a:endParaRPr>
                    </a:p>
                  </p:txBody>
                </p:sp>
                <p:sp>
                  <p:nvSpPr>
                    <p:cNvPr id="401" name="Freeform 32"/>
                    <p:cNvSpPr>
                      <a:spLocks/>
                    </p:cNvSpPr>
                    <p:nvPr/>
                  </p:nvSpPr>
                  <p:spPr bwMode="auto">
                    <a:xfrm>
                      <a:off x="4546601" y="2470150"/>
                      <a:ext cx="53975" cy="33338"/>
                    </a:xfrm>
                    <a:custGeom>
                      <a:avLst/>
                      <a:gdLst>
                        <a:gd name="T0" fmla="*/ 46 w 60"/>
                        <a:gd name="T1" fmla="*/ 8 h 37"/>
                        <a:gd name="T2" fmla="*/ 21 w 60"/>
                        <a:gd name="T3" fmla="*/ 2 h 37"/>
                        <a:gd name="T4" fmla="*/ 3 w 60"/>
                        <a:gd name="T5" fmla="*/ 11 h 37"/>
                        <a:gd name="T6" fmla="*/ 12 w 60"/>
                        <a:gd name="T7" fmla="*/ 30 h 37"/>
                        <a:gd name="T8" fmla="*/ 43 w 60"/>
                        <a:gd name="T9" fmla="*/ 37 h 37"/>
                        <a:gd name="T10" fmla="*/ 44 w 60"/>
                        <a:gd name="T11" fmla="*/ 37 h 37"/>
                        <a:gd name="T12" fmla="*/ 59 w 60"/>
                        <a:gd name="T13" fmla="*/ 24 h 37"/>
                        <a:gd name="T14" fmla="*/ 46 w 60"/>
                        <a:gd name="T15" fmla="*/ 8 h 3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</a:cxnLst>
                      <a:rect l="0" t="0" r="r" b="b"/>
                      <a:pathLst>
                        <a:path w="60" h="37">
                          <a:moveTo>
                            <a:pt x="46" y="8"/>
                          </a:moveTo>
                          <a:cubicBezTo>
                            <a:pt x="38" y="7"/>
                            <a:pt x="29" y="5"/>
                            <a:pt x="21" y="2"/>
                          </a:cubicBezTo>
                          <a:cubicBezTo>
                            <a:pt x="14" y="0"/>
                            <a:pt x="6" y="4"/>
                            <a:pt x="3" y="11"/>
                          </a:cubicBezTo>
                          <a:cubicBezTo>
                            <a:pt x="0" y="19"/>
                            <a:pt x="4" y="27"/>
                            <a:pt x="12" y="30"/>
                          </a:cubicBezTo>
                          <a:cubicBezTo>
                            <a:pt x="22" y="33"/>
                            <a:pt x="32" y="36"/>
                            <a:pt x="43" y="37"/>
                          </a:cubicBezTo>
                          <a:cubicBezTo>
                            <a:pt x="43" y="37"/>
                            <a:pt x="44" y="37"/>
                            <a:pt x="44" y="37"/>
                          </a:cubicBezTo>
                          <a:cubicBezTo>
                            <a:pt x="51" y="37"/>
                            <a:pt x="58" y="32"/>
                            <a:pt x="59" y="24"/>
                          </a:cubicBezTo>
                          <a:cubicBezTo>
                            <a:pt x="60" y="16"/>
                            <a:pt x="54" y="9"/>
                            <a:pt x="46" y="8"/>
                          </a:cubicBezTo>
                          <a:close/>
                        </a:path>
                      </a:pathLst>
                    </a:custGeom>
                    <a:solidFill>
                      <a:srgbClr val="4D4D4F"/>
                    </a:solidFill>
                    <a:ln>
                      <a:noFill/>
                    </a:ln>
                    <a:extLst>
                      <a:ext uri="{91240B29-F687-4f45-9708-019B960494DF}">
                        <a14:hiddenLine xmlns=""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algn="l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200" b="0" i="0" u="none" strike="noStrike" kern="0" cap="none" spc="0" normalizeH="0" baseline="0" noProof="0" dirty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Arial"/>
                        <a:cs typeface=""/>
                      </a:endParaRPr>
                    </a:p>
                  </p:txBody>
                </p:sp>
                <p:sp>
                  <p:nvSpPr>
                    <p:cNvPr id="402" name="Freeform 33"/>
                    <p:cNvSpPr>
                      <a:spLocks/>
                    </p:cNvSpPr>
                    <p:nvPr/>
                  </p:nvSpPr>
                  <p:spPr bwMode="auto">
                    <a:xfrm>
                      <a:off x="4781551" y="2478088"/>
                      <a:ext cx="50800" cy="25400"/>
                    </a:xfrm>
                    <a:custGeom>
                      <a:avLst/>
                      <a:gdLst>
                        <a:gd name="T0" fmla="*/ 43 w 57"/>
                        <a:gd name="T1" fmla="*/ 0 h 29"/>
                        <a:gd name="T2" fmla="*/ 14 w 57"/>
                        <a:gd name="T3" fmla="*/ 0 h 29"/>
                        <a:gd name="T4" fmla="*/ 0 w 57"/>
                        <a:gd name="T5" fmla="*/ 15 h 29"/>
                        <a:gd name="T6" fmla="*/ 14 w 57"/>
                        <a:gd name="T7" fmla="*/ 29 h 29"/>
                        <a:gd name="T8" fmla="*/ 43 w 57"/>
                        <a:gd name="T9" fmla="*/ 29 h 29"/>
                        <a:gd name="T10" fmla="*/ 57 w 57"/>
                        <a:gd name="T11" fmla="*/ 15 h 29"/>
                        <a:gd name="T12" fmla="*/ 43 w 57"/>
                        <a:gd name="T13" fmla="*/ 0 h 2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57" h="29">
                          <a:moveTo>
                            <a:pt x="43" y="0"/>
                          </a:moveTo>
                          <a:cubicBezTo>
                            <a:pt x="14" y="0"/>
                            <a:pt x="14" y="0"/>
                            <a:pt x="14" y="0"/>
                          </a:cubicBezTo>
                          <a:cubicBezTo>
                            <a:pt x="6" y="0"/>
                            <a:pt x="0" y="7"/>
                            <a:pt x="0" y="15"/>
                          </a:cubicBezTo>
                          <a:cubicBezTo>
                            <a:pt x="0" y="23"/>
                            <a:pt x="6" y="29"/>
                            <a:pt x="14" y="29"/>
                          </a:cubicBezTo>
                          <a:cubicBezTo>
                            <a:pt x="43" y="29"/>
                            <a:pt x="43" y="29"/>
                            <a:pt x="43" y="29"/>
                          </a:cubicBezTo>
                          <a:cubicBezTo>
                            <a:pt x="51" y="29"/>
                            <a:pt x="57" y="23"/>
                            <a:pt x="57" y="15"/>
                          </a:cubicBezTo>
                          <a:cubicBezTo>
                            <a:pt x="57" y="7"/>
                            <a:pt x="51" y="0"/>
                            <a:pt x="43" y="0"/>
                          </a:cubicBezTo>
                          <a:close/>
                        </a:path>
                      </a:pathLst>
                    </a:custGeom>
                    <a:solidFill>
                      <a:srgbClr val="4D4D4F"/>
                    </a:solidFill>
                    <a:ln>
                      <a:noFill/>
                    </a:ln>
                    <a:extLst>
                      <a:ext uri="{91240B29-F687-4f45-9708-019B960494DF}">
                        <a14:hiddenLine xmlns=""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algn="l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200" b="0" i="0" u="none" strike="noStrike" kern="0" cap="none" spc="0" normalizeH="0" baseline="0" noProof="0" dirty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Arial"/>
                        <a:cs typeface=""/>
                      </a:endParaRPr>
                    </a:p>
                  </p:txBody>
                </p:sp>
                <p:sp>
                  <p:nvSpPr>
                    <p:cNvPr id="403" name="Freeform 34"/>
                    <p:cNvSpPr>
                      <a:spLocks/>
                    </p:cNvSpPr>
                    <p:nvPr/>
                  </p:nvSpPr>
                  <p:spPr bwMode="auto">
                    <a:xfrm>
                      <a:off x="4703763" y="2478088"/>
                      <a:ext cx="50800" cy="25400"/>
                    </a:xfrm>
                    <a:custGeom>
                      <a:avLst/>
                      <a:gdLst>
                        <a:gd name="T0" fmla="*/ 44 w 58"/>
                        <a:gd name="T1" fmla="*/ 0 h 29"/>
                        <a:gd name="T2" fmla="*/ 15 w 58"/>
                        <a:gd name="T3" fmla="*/ 0 h 29"/>
                        <a:gd name="T4" fmla="*/ 0 w 58"/>
                        <a:gd name="T5" fmla="*/ 15 h 29"/>
                        <a:gd name="T6" fmla="*/ 15 w 58"/>
                        <a:gd name="T7" fmla="*/ 29 h 29"/>
                        <a:gd name="T8" fmla="*/ 44 w 58"/>
                        <a:gd name="T9" fmla="*/ 29 h 29"/>
                        <a:gd name="T10" fmla="*/ 58 w 58"/>
                        <a:gd name="T11" fmla="*/ 15 h 29"/>
                        <a:gd name="T12" fmla="*/ 44 w 58"/>
                        <a:gd name="T13" fmla="*/ 0 h 2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58" h="29">
                          <a:moveTo>
                            <a:pt x="44" y="0"/>
                          </a:moveTo>
                          <a:cubicBezTo>
                            <a:pt x="15" y="0"/>
                            <a:pt x="15" y="0"/>
                            <a:pt x="15" y="0"/>
                          </a:cubicBezTo>
                          <a:cubicBezTo>
                            <a:pt x="7" y="0"/>
                            <a:pt x="0" y="7"/>
                            <a:pt x="0" y="15"/>
                          </a:cubicBezTo>
                          <a:cubicBezTo>
                            <a:pt x="0" y="23"/>
                            <a:pt x="7" y="29"/>
                            <a:pt x="15" y="29"/>
                          </a:cubicBezTo>
                          <a:cubicBezTo>
                            <a:pt x="44" y="29"/>
                            <a:pt x="44" y="29"/>
                            <a:pt x="44" y="29"/>
                          </a:cubicBezTo>
                          <a:cubicBezTo>
                            <a:pt x="51" y="29"/>
                            <a:pt x="58" y="23"/>
                            <a:pt x="58" y="15"/>
                          </a:cubicBezTo>
                          <a:cubicBezTo>
                            <a:pt x="58" y="7"/>
                            <a:pt x="51" y="0"/>
                            <a:pt x="44" y="0"/>
                          </a:cubicBezTo>
                          <a:close/>
                        </a:path>
                      </a:pathLst>
                    </a:custGeom>
                    <a:solidFill>
                      <a:srgbClr val="4D4D4F"/>
                    </a:solidFill>
                    <a:ln>
                      <a:noFill/>
                    </a:ln>
                    <a:extLst>
                      <a:ext uri="{91240B29-F687-4f45-9708-019B960494DF}">
                        <a14:hiddenLine xmlns=""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algn="l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200" b="0" i="0" u="none" strike="noStrike" kern="0" cap="none" spc="0" normalizeH="0" baseline="0" noProof="0" dirty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Arial"/>
                        <a:cs typeface=""/>
                      </a:endParaRPr>
                    </a:p>
                  </p:txBody>
                </p:sp>
                <p:sp>
                  <p:nvSpPr>
                    <p:cNvPr id="404" name="Freeform 35"/>
                    <p:cNvSpPr>
                      <a:spLocks/>
                    </p:cNvSpPr>
                    <p:nvPr/>
                  </p:nvSpPr>
                  <p:spPr bwMode="auto">
                    <a:xfrm>
                      <a:off x="4625976" y="2478088"/>
                      <a:ext cx="52388" cy="25400"/>
                    </a:xfrm>
                    <a:custGeom>
                      <a:avLst/>
                      <a:gdLst>
                        <a:gd name="T0" fmla="*/ 43 w 58"/>
                        <a:gd name="T1" fmla="*/ 0 h 29"/>
                        <a:gd name="T2" fmla="*/ 15 w 58"/>
                        <a:gd name="T3" fmla="*/ 0 h 29"/>
                        <a:gd name="T4" fmla="*/ 0 w 58"/>
                        <a:gd name="T5" fmla="*/ 15 h 29"/>
                        <a:gd name="T6" fmla="*/ 15 w 58"/>
                        <a:gd name="T7" fmla="*/ 29 h 29"/>
                        <a:gd name="T8" fmla="*/ 43 w 58"/>
                        <a:gd name="T9" fmla="*/ 29 h 29"/>
                        <a:gd name="T10" fmla="*/ 58 w 58"/>
                        <a:gd name="T11" fmla="*/ 15 h 29"/>
                        <a:gd name="T12" fmla="*/ 43 w 58"/>
                        <a:gd name="T13" fmla="*/ 0 h 2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58" h="29">
                          <a:moveTo>
                            <a:pt x="43" y="0"/>
                          </a:moveTo>
                          <a:cubicBezTo>
                            <a:pt x="15" y="0"/>
                            <a:pt x="15" y="0"/>
                            <a:pt x="15" y="0"/>
                          </a:cubicBezTo>
                          <a:cubicBezTo>
                            <a:pt x="7" y="0"/>
                            <a:pt x="0" y="7"/>
                            <a:pt x="0" y="15"/>
                          </a:cubicBezTo>
                          <a:cubicBezTo>
                            <a:pt x="0" y="23"/>
                            <a:pt x="7" y="29"/>
                            <a:pt x="15" y="29"/>
                          </a:cubicBezTo>
                          <a:cubicBezTo>
                            <a:pt x="43" y="29"/>
                            <a:pt x="43" y="29"/>
                            <a:pt x="43" y="29"/>
                          </a:cubicBezTo>
                          <a:cubicBezTo>
                            <a:pt x="51" y="29"/>
                            <a:pt x="58" y="23"/>
                            <a:pt x="58" y="15"/>
                          </a:cubicBezTo>
                          <a:cubicBezTo>
                            <a:pt x="58" y="7"/>
                            <a:pt x="51" y="0"/>
                            <a:pt x="43" y="0"/>
                          </a:cubicBezTo>
                          <a:close/>
                        </a:path>
                      </a:pathLst>
                    </a:custGeom>
                    <a:solidFill>
                      <a:srgbClr val="4D4D4F"/>
                    </a:solidFill>
                    <a:ln>
                      <a:noFill/>
                    </a:ln>
                    <a:extLst>
                      <a:ext uri="{91240B29-F687-4f45-9708-019B960494DF}">
                        <a14:hiddenLine xmlns=""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algn="l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200" b="0" i="0" u="none" strike="noStrike" kern="0" cap="none" spc="0" normalizeH="0" baseline="0" noProof="0" dirty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Arial"/>
                        <a:cs typeface=""/>
                      </a:endParaRPr>
                    </a:p>
                  </p:txBody>
                </p:sp>
                <p:sp>
                  <p:nvSpPr>
                    <p:cNvPr id="405" name="Freeform 38"/>
                    <p:cNvSpPr>
                      <a:spLocks/>
                    </p:cNvSpPr>
                    <p:nvPr/>
                  </p:nvSpPr>
                  <p:spPr bwMode="auto">
                    <a:xfrm>
                      <a:off x="4859338" y="2473325"/>
                      <a:ext cx="52388" cy="30163"/>
                    </a:xfrm>
                    <a:custGeom>
                      <a:avLst/>
                      <a:gdLst>
                        <a:gd name="T0" fmla="*/ 39 w 58"/>
                        <a:gd name="T1" fmla="*/ 2 h 34"/>
                        <a:gd name="T2" fmla="*/ 14 w 58"/>
                        <a:gd name="T3" fmla="*/ 5 h 34"/>
                        <a:gd name="T4" fmla="*/ 0 w 58"/>
                        <a:gd name="T5" fmla="*/ 20 h 34"/>
                        <a:gd name="T6" fmla="*/ 14 w 58"/>
                        <a:gd name="T7" fmla="*/ 34 h 34"/>
                        <a:gd name="T8" fmla="*/ 14 w 58"/>
                        <a:gd name="T9" fmla="*/ 34 h 34"/>
                        <a:gd name="T10" fmla="*/ 46 w 58"/>
                        <a:gd name="T11" fmla="*/ 30 h 34"/>
                        <a:gd name="T12" fmla="*/ 56 w 58"/>
                        <a:gd name="T13" fmla="*/ 12 h 34"/>
                        <a:gd name="T14" fmla="*/ 39 w 58"/>
                        <a:gd name="T15" fmla="*/ 2 h 3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</a:cxnLst>
                      <a:rect l="0" t="0" r="r" b="b"/>
                      <a:pathLst>
                        <a:path w="58" h="34">
                          <a:moveTo>
                            <a:pt x="39" y="2"/>
                          </a:moveTo>
                          <a:cubicBezTo>
                            <a:pt x="31" y="4"/>
                            <a:pt x="22" y="5"/>
                            <a:pt x="14" y="5"/>
                          </a:cubicBezTo>
                          <a:cubicBezTo>
                            <a:pt x="6" y="5"/>
                            <a:pt x="0" y="12"/>
                            <a:pt x="0" y="20"/>
                          </a:cubicBezTo>
                          <a:cubicBezTo>
                            <a:pt x="0" y="28"/>
                            <a:pt x="6" y="34"/>
                            <a:pt x="14" y="34"/>
                          </a:cubicBezTo>
                          <a:cubicBezTo>
                            <a:pt x="14" y="34"/>
                            <a:pt x="14" y="34"/>
                            <a:pt x="14" y="34"/>
                          </a:cubicBezTo>
                          <a:cubicBezTo>
                            <a:pt x="25" y="34"/>
                            <a:pt x="36" y="32"/>
                            <a:pt x="46" y="30"/>
                          </a:cubicBezTo>
                          <a:cubicBezTo>
                            <a:pt x="54" y="28"/>
                            <a:pt x="58" y="20"/>
                            <a:pt x="56" y="12"/>
                          </a:cubicBezTo>
                          <a:cubicBezTo>
                            <a:pt x="55" y="5"/>
                            <a:pt x="47" y="0"/>
                            <a:pt x="39" y="2"/>
                          </a:cubicBezTo>
                          <a:close/>
                        </a:path>
                      </a:pathLst>
                    </a:custGeom>
                    <a:solidFill>
                      <a:srgbClr val="4D4D4F"/>
                    </a:solidFill>
                    <a:ln>
                      <a:noFill/>
                    </a:ln>
                    <a:extLst>
                      <a:ext uri="{91240B29-F687-4f45-9708-019B960494DF}">
                        <a14:hiddenLine xmlns=""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algn="l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200" b="0" i="0" u="none" strike="noStrike" kern="0" cap="none" spc="0" normalizeH="0" baseline="0" noProof="0" dirty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Arial"/>
                        <a:cs typeface=""/>
                      </a:endParaRPr>
                    </a:p>
                  </p:txBody>
                </p:sp>
              </p:grpSp>
              <p:sp>
                <p:nvSpPr>
                  <p:cNvPr id="382" name="Freeform 12"/>
                  <p:cNvSpPr>
                    <a:spLocks noEditPoints="1"/>
                  </p:cNvSpPr>
                  <p:nvPr/>
                </p:nvSpPr>
                <p:spPr bwMode="auto">
                  <a:xfrm>
                    <a:off x="5406483" y="2446478"/>
                    <a:ext cx="214941" cy="191168"/>
                  </a:xfrm>
                  <a:custGeom>
                    <a:avLst/>
                    <a:gdLst>
                      <a:gd name="T0" fmla="*/ 419 w 494"/>
                      <a:gd name="T1" fmla="*/ 299 h 448"/>
                      <a:gd name="T2" fmla="*/ 403 w 494"/>
                      <a:gd name="T3" fmla="*/ 301 h 448"/>
                      <a:gd name="T4" fmla="*/ 302 w 494"/>
                      <a:gd name="T5" fmla="*/ 126 h 448"/>
                      <a:gd name="T6" fmla="*/ 322 w 494"/>
                      <a:gd name="T7" fmla="*/ 75 h 448"/>
                      <a:gd name="T8" fmla="*/ 247 w 494"/>
                      <a:gd name="T9" fmla="*/ 0 h 448"/>
                      <a:gd name="T10" fmla="*/ 173 w 494"/>
                      <a:gd name="T11" fmla="*/ 75 h 448"/>
                      <a:gd name="T12" fmla="*/ 193 w 494"/>
                      <a:gd name="T13" fmla="*/ 126 h 448"/>
                      <a:gd name="T14" fmla="*/ 91 w 494"/>
                      <a:gd name="T15" fmla="*/ 301 h 448"/>
                      <a:gd name="T16" fmla="*/ 75 w 494"/>
                      <a:gd name="T17" fmla="*/ 299 h 448"/>
                      <a:gd name="T18" fmla="*/ 0 w 494"/>
                      <a:gd name="T19" fmla="*/ 373 h 448"/>
                      <a:gd name="T20" fmla="*/ 75 w 494"/>
                      <a:gd name="T21" fmla="*/ 448 h 448"/>
                      <a:gd name="T22" fmla="*/ 146 w 494"/>
                      <a:gd name="T23" fmla="*/ 395 h 448"/>
                      <a:gd name="T24" fmla="*/ 349 w 494"/>
                      <a:gd name="T25" fmla="*/ 395 h 448"/>
                      <a:gd name="T26" fmla="*/ 419 w 494"/>
                      <a:gd name="T27" fmla="*/ 448 h 448"/>
                      <a:gd name="T28" fmla="*/ 494 w 494"/>
                      <a:gd name="T29" fmla="*/ 373 h 448"/>
                      <a:gd name="T30" fmla="*/ 419 w 494"/>
                      <a:gd name="T31" fmla="*/ 299 h 448"/>
                      <a:gd name="T32" fmla="*/ 349 w 494"/>
                      <a:gd name="T33" fmla="*/ 351 h 448"/>
                      <a:gd name="T34" fmla="*/ 146 w 494"/>
                      <a:gd name="T35" fmla="*/ 351 h 448"/>
                      <a:gd name="T36" fmla="*/ 130 w 494"/>
                      <a:gd name="T37" fmla="*/ 323 h 448"/>
                      <a:gd name="T38" fmla="*/ 231 w 494"/>
                      <a:gd name="T39" fmla="*/ 148 h 448"/>
                      <a:gd name="T40" fmla="*/ 247 w 494"/>
                      <a:gd name="T41" fmla="*/ 150 h 448"/>
                      <a:gd name="T42" fmla="*/ 264 w 494"/>
                      <a:gd name="T43" fmla="*/ 148 h 448"/>
                      <a:gd name="T44" fmla="*/ 365 w 494"/>
                      <a:gd name="T45" fmla="*/ 323 h 448"/>
                      <a:gd name="T46" fmla="*/ 349 w 494"/>
                      <a:gd name="T47" fmla="*/ 351 h 44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</a:cxnLst>
                    <a:rect l="0" t="0" r="r" b="b"/>
                    <a:pathLst>
                      <a:path w="494" h="448">
                        <a:moveTo>
                          <a:pt x="419" y="299"/>
                        </a:moveTo>
                        <a:cubicBezTo>
                          <a:pt x="414" y="299"/>
                          <a:pt x="408" y="300"/>
                          <a:pt x="403" y="301"/>
                        </a:cubicBezTo>
                        <a:cubicBezTo>
                          <a:pt x="302" y="126"/>
                          <a:pt x="302" y="126"/>
                          <a:pt x="302" y="126"/>
                        </a:cubicBezTo>
                        <a:cubicBezTo>
                          <a:pt x="314" y="112"/>
                          <a:pt x="322" y="95"/>
                          <a:pt x="322" y="75"/>
                        </a:cubicBezTo>
                        <a:cubicBezTo>
                          <a:pt x="322" y="34"/>
                          <a:pt x="288" y="0"/>
                          <a:pt x="247" y="0"/>
                        </a:cubicBezTo>
                        <a:cubicBezTo>
                          <a:pt x="206" y="0"/>
                          <a:pt x="173" y="34"/>
                          <a:pt x="173" y="75"/>
                        </a:cubicBezTo>
                        <a:cubicBezTo>
                          <a:pt x="173" y="95"/>
                          <a:pt x="180" y="112"/>
                          <a:pt x="193" y="126"/>
                        </a:cubicBezTo>
                        <a:cubicBezTo>
                          <a:pt x="91" y="301"/>
                          <a:pt x="91" y="301"/>
                          <a:pt x="91" y="301"/>
                        </a:cubicBezTo>
                        <a:cubicBezTo>
                          <a:pt x="86" y="300"/>
                          <a:pt x="81" y="299"/>
                          <a:pt x="75" y="299"/>
                        </a:cubicBezTo>
                        <a:cubicBezTo>
                          <a:pt x="34" y="299"/>
                          <a:pt x="0" y="332"/>
                          <a:pt x="0" y="373"/>
                        </a:cubicBezTo>
                        <a:cubicBezTo>
                          <a:pt x="0" y="415"/>
                          <a:pt x="34" y="448"/>
                          <a:pt x="75" y="448"/>
                        </a:cubicBezTo>
                        <a:cubicBezTo>
                          <a:pt x="108" y="448"/>
                          <a:pt x="136" y="426"/>
                          <a:pt x="146" y="395"/>
                        </a:cubicBezTo>
                        <a:cubicBezTo>
                          <a:pt x="349" y="395"/>
                          <a:pt x="349" y="395"/>
                          <a:pt x="349" y="395"/>
                        </a:cubicBezTo>
                        <a:cubicBezTo>
                          <a:pt x="358" y="426"/>
                          <a:pt x="386" y="448"/>
                          <a:pt x="419" y="448"/>
                        </a:cubicBezTo>
                        <a:cubicBezTo>
                          <a:pt x="461" y="448"/>
                          <a:pt x="494" y="415"/>
                          <a:pt x="494" y="373"/>
                        </a:cubicBezTo>
                        <a:cubicBezTo>
                          <a:pt x="494" y="332"/>
                          <a:pt x="461" y="299"/>
                          <a:pt x="419" y="299"/>
                        </a:cubicBezTo>
                        <a:close/>
                        <a:moveTo>
                          <a:pt x="349" y="351"/>
                        </a:moveTo>
                        <a:cubicBezTo>
                          <a:pt x="146" y="351"/>
                          <a:pt x="146" y="351"/>
                          <a:pt x="146" y="351"/>
                        </a:cubicBezTo>
                        <a:cubicBezTo>
                          <a:pt x="142" y="341"/>
                          <a:pt x="137" y="331"/>
                          <a:pt x="130" y="323"/>
                        </a:cubicBezTo>
                        <a:cubicBezTo>
                          <a:pt x="231" y="148"/>
                          <a:pt x="231" y="148"/>
                          <a:pt x="231" y="148"/>
                        </a:cubicBezTo>
                        <a:cubicBezTo>
                          <a:pt x="236" y="149"/>
                          <a:pt x="242" y="150"/>
                          <a:pt x="247" y="150"/>
                        </a:cubicBezTo>
                        <a:cubicBezTo>
                          <a:pt x="253" y="150"/>
                          <a:pt x="258" y="149"/>
                          <a:pt x="264" y="148"/>
                        </a:cubicBezTo>
                        <a:cubicBezTo>
                          <a:pt x="365" y="323"/>
                          <a:pt x="365" y="323"/>
                          <a:pt x="365" y="323"/>
                        </a:cubicBezTo>
                        <a:cubicBezTo>
                          <a:pt x="358" y="331"/>
                          <a:pt x="352" y="341"/>
                          <a:pt x="349" y="351"/>
                        </a:cubicBezTo>
                        <a:close/>
                      </a:path>
                    </a:pathLst>
                  </a:custGeom>
                  <a:solidFill>
                    <a:sysClr val="window" lastClr="FFFFFF"/>
                  </a:solidFill>
                  <a:ln>
                    <a:noFill/>
                  </a:ln>
                  <a:extLst/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200" b="0" i="0" u="none" strike="noStrike" kern="0" cap="none" spc="0" normalizeH="0" baseline="0" noProof="0" dirty="0" smtClean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rial"/>
                      <a:cs typeface=""/>
                    </a:endParaRPr>
                  </a:p>
                </p:txBody>
              </p:sp>
            </p:grpSp>
            <p:sp>
              <p:nvSpPr>
                <p:cNvPr id="379" name="Rounded Rectangle 378"/>
                <p:cNvSpPr/>
                <p:nvPr/>
              </p:nvSpPr>
              <p:spPr>
                <a:xfrm>
                  <a:off x="5352784" y="2386601"/>
                  <a:ext cx="308105" cy="310923"/>
                </a:xfrm>
                <a:prstGeom prst="roundRect">
                  <a:avLst/>
                </a:prstGeom>
                <a:solidFill>
                  <a:srgbClr val="4F81BD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smtClean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/>
                    <a:ea typeface=""/>
                    <a:cs typeface=""/>
                  </a:endParaRPr>
                </a:p>
              </p:txBody>
            </p:sp>
            <p:sp>
              <p:nvSpPr>
                <p:cNvPr id="380" name="Freeform 12"/>
                <p:cNvSpPr>
                  <a:spLocks noEditPoints="1"/>
                </p:cNvSpPr>
                <p:nvPr/>
              </p:nvSpPr>
              <p:spPr bwMode="auto">
                <a:xfrm>
                  <a:off x="5388323" y="2435434"/>
                  <a:ext cx="214941" cy="191168"/>
                </a:xfrm>
                <a:custGeom>
                  <a:avLst/>
                  <a:gdLst>
                    <a:gd name="T0" fmla="*/ 419 w 494"/>
                    <a:gd name="T1" fmla="*/ 299 h 448"/>
                    <a:gd name="T2" fmla="*/ 403 w 494"/>
                    <a:gd name="T3" fmla="*/ 301 h 448"/>
                    <a:gd name="T4" fmla="*/ 302 w 494"/>
                    <a:gd name="T5" fmla="*/ 126 h 448"/>
                    <a:gd name="T6" fmla="*/ 322 w 494"/>
                    <a:gd name="T7" fmla="*/ 75 h 448"/>
                    <a:gd name="T8" fmla="*/ 247 w 494"/>
                    <a:gd name="T9" fmla="*/ 0 h 448"/>
                    <a:gd name="T10" fmla="*/ 173 w 494"/>
                    <a:gd name="T11" fmla="*/ 75 h 448"/>
                    <a:gd name="T12" fmla="*/ 193 w 494"/>
                    <a:gd name="T13" fmla="*/ 126 h 448"/>
                    <a:gd name="T14" fmla="*/ 91 w 494"/>
                    <a:gd name="T15" fmla="*/ 301 h 448"/>
                    <a:gd name="T16" fmla="*/ 75 w 494"/>
                    <a:gd name="T17" fmla="*/ 299 h 448"/>
                    <a:gd name="T18" fmla="*/ 0 w 494"/>
                    <a:gd name="T19" fmla="*/ 373 h 448"/>
                    <a:gd name="T20" fmla="*/ 75 w 494"/>
                    <a:gd name="T21" fmla="*/ 448 h 448"/>
                    <a:gd name="T22" fmla="*/ 146 w 494"/>
                    <a:gd name="T23" fmla="*/ 395 h 448"/>
                    <a:gd name="T24" fmla="*/ 349 w 494"/>
                    <a:gd name="T25" fmla="*/ 395 h 448"/>
                    <a:gd name="T26" fmla="*/ 419 w 494"/>
                    <a:gd name="T27" fmla="*/ 448 h 448"/>
                    <a:gd name="T28" fmla="*/ 494 w 494"/>
                    <a:gd name="T29" fmla="*/ 373 h 448"/>
                    <a:gd name="T30" fmla="*/ 419 w 494"/>
                    <a:gd name="T31" fmla="*/ 299 h 448"/>
                    <a:gd name="T32" fmla="*/ 349 w 494"/>
                    <a:gd name="T33" fmla="*/ 351 h 448"/>
                    <a:gd name="T34" fmla="*/ 146 w 494"/>
                    <a:gd name="T35" fmla="*/ 351 h 448"/>
                    <a:gd name="T36" fmla="*/ 130 w 494"/>
                    <a:gd name="T37" fmla="*/ 323 h 448"/>
                    <a:gd name="T38" fmla="*/ 231 w 494"/>
                    <a:gd name="T39" fmla="*/ 148 h 448"/>
                    <a:gd name="T40" fmla="*/ 247 w 494"/>
                    <a:gd name="T41" fmla="*/ 150 h 448"/>
                    <a:gd name="T42" fmla="*/ 264 w 494"/>
                    <a:gd name="T43" fmla="*/ 148 h 448"/>
                    <a:gd name="T44" fmla="*/ 365 w 494"/>
                    <a:gd name="T45" fmla="*/ 323 h 448"/>
                    <a:gd name="T46" fmla="*/ 349 w 494"/>
                    <a:gd name="T47" fmla="*/ 351 h 44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</a:cxnLst>
                  <a:rect l="0" t="0" r="r" b="b"/>
                  <a:pathLst>
                    <a:path w="494" h="448">
                      <a:moveTo>
                        <a:pt x="419" y="299"/>
                      </a:moveTo>
                      <a:cubicBezTo>
                        <a:pt x="414" y="299"/>
                        <a:pt x="408" y="300"/>
                        <a:pt x="403" y="301"/>
                      </a:cubicBezTo>
                      <a:cubicBezTo>
                        <a:pt x="302" y="126"/>
                        <a:pt x="302" y="126"/>
                        <a:pt x="302" y="126"/>
                      </a:cubicBezTo>
                      <a:cubicBezTo>
                        <a:pt x="314" y="112"/>
                        <a:pt x="322" y="95"/>
                        <a:pt x="322" y="75"/>
                      </a:cubicBezTo>
                      <a:cubicBezTo>
                        <a:pt x="322" y="34"/>
                        <a:pt x="288" y="0"/>
                        <a:pt x="247" y="0"/>
                      </a:cubicBezTo>
                      <a:cubicBezTo>
                        <a:pt x="206" y="0"/>
                        <a:pt x="173" y="34"/>
                        <a:pt x="173" y="75"/>
                      </a:cubicBezTo>
                      <a:cubicBezTo>
                        <a:pt x="173" y="95"/>
                        <a:pt x="180" y="112"/>
                        <a:pt x="193" y="126"/>
                      </a:cubicBezTo>
                      <a:cubicBezTo>
                        <a:pt x="91" y="301"/>
                        <a:pt x="91" y="301"/>
                        <a:pt x="91" y="301"/>
                      </a:cubicBezTo>
                      <a:cubicBezTo>
                        <a:pt x="86" y="300"/>
                        <a:pt x="81" y="299"/>
                        <a:pt x="75" y="299"/>
                      </a:cubicBezTo>
                      <a:cubicBezTo>
                        <a:pt x="34" y="299"/>
                        <a:pt x="0" y="332"/>
                        <a:pt x="0" y="373"/>
                      </a:cubicBezTo>
                      <a:cubicBezTo>
                        <a:pt x="0" y="415"/>
                        <a:pt x="34" y="448"/>
                        <a:pt x="75" y="448"/>
                      </a:cubicBezTo>
                      <a:cubicBezTo>
                        <a:pt x="108" y="448"/>
                        <a:pt x="136" y="426"/>
                        <a:pt x="146" y="395"/>
                      </a:cubicBezTo>
                      <a:cubicBezTo>
                        <a:pt x="349" y="395"/>
                        <a:pt x="349" y="395"/>
                        <a:pt x="349" y="395"/>
                      </a:cubicBezTo>
                      <a:cubicBezTo>
                        <a:pt x="358" y="426"/>
                        <a:pt x="386" y="448"/>
                        <a:pt x="419" y="448"/>
                      </a:cubicBezTo>
                      <a:cubicBezTo>
                        <a:pt x="461" y="448"/>
                        <a:pt x="494" y="415"/>
                        <a:pt x="494" y="373"/>
                      </a:cubicBezTo>
                      <a:cubicBezTo>
                        <a:pt x="494" y="332"/>
                        <a:pt x="461" y="299"/>
                        <a:pt x="419" y="299"/>
                      </a:cubicBezTo>
                      <a:close/>
                      <a:moveTo>
                        <a:pt x="349" y="351"/>
                      </a:moveTo>
                      <a:cubicBezTo>
                        <a:pt x="146" y="351"/>
                        <a:pt x="146" y="351"/>
                        <a:pt x="146" y="351"/>
                      </a:cubicBezTo>
                      <a:cubicBezTo>
                        <a:pt x="142" y="341"/>
                        <a:pt x="137" y="331"/>
                        <a:pt x="130" y="323"/>
                      </a:cubicBezTo>
                      <a:cubicBezTo>
                        <a:pt x="231" y="148"/>
                        <a:pt x="231" y="148"/>
                        <a:pt x="231" y="148"/>
                      </a:cubicBezTo>
                      <a:cubicBezTo>
                        <a:pt x="236" y="149"/>
                        <a:pt x="242" y="150"/>
                        <a:pt x="247" y="150"/>
                      </a:cubicBezTo>
                      <a:cubicBezTo>
                        <a:pt x="253" y="150"/>
                        <a:pt x="258" y="149"/>
                        <a:pt x="264" y="148"/>
                      </a:cubicBezTo>
                      <a:cubicBezTo>
                        <a:pt x="365" y="323"/>
                        <a:pt x="365" y="323"/>
                        <a:pt x="365" y="323"/>
                      </a:cubicBezTo>
                      <a:cubicBezTo>
                        <a:pt x="358" y="331"/>
                        <a:pt x="352" y="341"/>
                        <a:pt x="349" y="351"/>
                      </a:cubicBezTo>
                      <a:close/>
                    </a:path>
                  </a:pathLst>
                </a:custGeom>
                <a:solidFill>
                  <a:sysClr val="window" lastClr="FFFFFF"/>
                </a:solidFill>
                <a:ln>
                  <a:noFill/>
                </a:ln>
                <a:extLst/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2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/>
                    <a:cs typeface=""/>
                  </a:endParaRPr>
                </a:p>
              </p:txBody>
            </p:sp>
          </p:grpSp>
          <p:grpSp>
            <p:nvGrpSpPr>
              <p:cNvPr id="291" name="Group 290"/>
              <p:cNvGrpSpPr/>
              <p:nvPr/>
            </p:nvGrpSpPr>
            <p:grpSpPr>
              <a:xfrm>
                <a:off x="3558071" y="3040864"/>
                <a:ext cx="309858" cy="281520"/>
                <a:chOff x="5310724" y="2352924"/>
                <a:chExt cx="398754" cy="374816"/>
              </a:xfrm>
            </p:grpSpPr>
            <p:grpSp>
              <p:nvGrpSpPr>
                <p:cNvPr id="350" name="Group 349"/>
                <p:cNvGrpSpPr/>
                <p:nvPr/>
              </p:nvGrpSpPr>
              <p:grpSpPr>
                <a:xfrm>
                  <a:off x="5310724" y="2352924"/>
                  <a:ext cx="398754" cy="374816"/>
                  <a:chOff x="5310724" y="2352924"/>
                  <a:chExt cx="398754" cy="374816"/>
                </a:xfrm>
              </p:grpSpPr>
              <p:grpSp>
                <p:nvGrpSpPr>
                  <p:cNvPr id="353" name="Group 352"/>
                  <p:cNvGrpSpPr/>
                  <p:nvPr/>
                </p:nvGrpSpPr>
                <p:grpSpPr>
                  <a:xfrm rot="5400000">
                    <a:off x="5322693" y="2340955"/>
                    <a:ext cx="374816" cy="398754"/>
                    <a:chOff x="4471988" y="1985963"/>
                    <a:chExt cx="527051" cy="517525"/>
                  </a:xfrm>
                </p:grpSpPr>
                <p:sp>
                  <p:nvSpPr>
                    <p:cNvPr id="355" name="Freeform 13"/>
                    <p:cNvSpPr>
                      <a:spLocks/>
                    </p:cNvSpPr>
                    <p:nvPr/>
                  </p:nvSpPr>
                  <p:spPr bwMode="auto">
                    <a:xfrm>
                      <a:off x="4471988" y="2117725"/>
                      <a:ext cx="25400" cy="50800"/>
                    </a:xfrm>
                    <a:custGeom>
                      <a:avLst/>
                      <a:gdLst>
                        <a:gd name="T0" fmla="*/ 14 w 29"/>
                        <a:gd name="T1" fmla="*/ 57 h 57"/>
                        <a:gd name="T2" fmla="*/ 29 w 29"/>
                        <a:gd name="T3" fmla="*/ 43 h 57"/>
                        <a:gd name="T4" fmla="*/ 29 w 29"/>
                        <a:gd name="T5" fmla="*/ 14 h 57"/>
                        <a:gd name="T6" fmla="*/ 14 w 29"/>
                        <a:gd name="T7" fmla="*/ 0 h 57"/>
                        <a:gd name="T8" fmla="*/ 0 w 29"/>
                        <a:gd name="T9" fmla="*/ 14 h 57"/>
                        <a:gd name="T10" fmla="*/ 0 w 29"/>
                        <a:gd name="T11" fmla="*/ 43 h 57"/>
                        <a:gd name="T12" fmla="*/ 14 w 29"/>
                        <a:gd name="T13" fmla="*/ 57 h 5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29" h="57">
                          <a:moveTo>
                            <a:pt x="14" y="57"/>
                          </a:moveTo>
                          <a:cubicBezTo>
                            <a:pt x="22" y="57"/>
                            <a:pt x="29" y="51"/>
                            <a:pt x="29" y="43"/>
                          </a:cubicBezTo>
                          <a:cubicBezTo>
                            <a:pt x="29" y="14"/>
                            <a:pt x="29" y="14"/>
                            <a:pt x="29" y="14"/>
                          </a:cubicBezTo>
                          <a:cubicBezTo>
                            <a:pt x="29" y="6"/>
                            <a:pt x="22" y="0"/>
                            <a:pt x="14" y="0"/>
                          </a:cubicBezTo>
                          <a:cubicBezTo>
                            <a:pt x="7" y="0"/>
                            <a:pt x="0" y="6"/>
                            <a:pt x="0" y="14"/>
                          </a:cubicBezTo>
                          <a:cubicBezTo>
                            <a:pt x="0" y="43"/>
                            <a:pt x="0" y="43"/>
                            <a:pt x="0" y="43"/>
                          </a:cubicBezTo>
                          <a:cubicBezTo>
                            <a:pt x="0" y="51"/>
                            <a:pt x="7" y="57"/>
                            <a:pt x="14" y="57"/>
                          </a:cubicBezTo>
                          <a:close/>
                        </a:path>
                      </a:pathLst>
                    </a:custGeom>
                    <a:solidFill>
                      <a:srgbClr val="4D4D4F"/>
                    </a:solidFill>
                    <a:ln>
                      <a:noFill/>
                    </a:ln>
                    <a:extLst>
                      <a:ext uri="{91240B29-F687-4f45-9708-019B960494DF}">
                        <a14:hiddenLine xmlns=""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algn="l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200" b="0" i="0" u="none" strike="noStrike" kern="0" cap="none" spc="0" normalizeH="0" baseline="0" noProof="0" dirty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Arial"/>
                        <a:cs typeface=""/>
                      </a:endParaRPr>
                    </a:p>
                  </p:txBody>
                </p:sp>
                <p:sp>
                  <p:nvSpPr>
                    <p:cNvPr id="356" name="Freeform 14"/>
                    <p:cNvSpPr>
                      <a:spLocks/>
                    </p:cNvSpPr>
                    <p:nvPr/>
                  </p:nvSpPr>
                  <p:spPr bwMode="auto">
                    <a:xfrm>
                      <a:off x="4471988" y="2271713"/>
                      <a:ext cx="25400" cy="52388"/>
                    </a:xfrm>
                    <a:custGeom>
                      <a:avLst/>
                      <a:gdLst>
                        <a:gd name="T0" fmla="*/ 14 w 29"/>
                        <a:gd name="T1" fmla="*/ 58 h 58"/>
                        <a:gd name="T2" fmla="*/ 29 w 29"/>
                        <a:gd name="T3" fmla="*/ 43 h 58"/>
                        <a:gd name="T4" fmla="*/ 29 w 29"/>
                        <a:gd name="T5" fmla="*/ 15 h 58"/>
                        <a:gd name="T6" fmla="*/ 14 w 29"/>
                        <a:gd name="T7" fmla="*/ 0 h 58"/>
                        <a:gd name="T8" fmla="*/ 0 w 29"/>
                        <a:gd name="T9" fmla="*/ 15 h 58"/>
                        <a:gd name="T10" fmla="*/ 0 w 29"/>
                        <a:gd name="T11" fmla="*/ 43 h 58"/>
                        <a:gd name="T12" fmla="*/ 14 w 29"/>
                        <a:gd name="T13" fmla="*/ 58 h 5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29" h="58">
                          <a:moveTo>
                            <a:pt x="14" y="58"/>
                          </a:moveTo>
                          <a:cubicBezTo>
                            <a:pt x="22" y="58"/>
                            <a:pt x="29" y="51"/>
                            <a:pt x="29" y="43"/>
                          </a:cubicBezTo>
                          <a:cubicBezTo>
                            <a:pt x="29" y="15"/>
                            <a:pt x="29" y="15"/>
                            <a:pt x="29" y="15"/>
                          </a:cubicBezTo>
                          <a:cubicBezTo>
                            <a:pt x="29" y="7"/>
                            <a:pt x="22" y="0"/>
                            <a:pt x="14" y="0"/>
                          </a:cubicBezTo>
                          <a:cubicBezTo>
                            <a:pt x="7" y="0"/>
                            <a:pt x="0" y="7"/>
                            <a:pt x="0" y="15"/>
                          </a:cubicBezTo>
                          <a:cubicBezTo>
                            <a:pt x="0" y="43"/>
                            <a:pt x="0" y="43"/>
                            <a:pt x="0" y="43"/>
                          </a:cubicBezTo>
                          <a:cubicBezTo>
                            <a:pt x="0" y="51"/>
                            <a:pt x="7" y="58"/>
                            <a:pt x="14" y="58"/>
                          </a:cubicBezTo>
                          <a:close/>
                        </a:path>
                      </a:pathLst>
                    </a:custGeom>
                    <a:solidFill>
                      <a:srgbClr val="4D4D4F"/>
                    </a:solidFill>
                    <a:ln>
                      <a:noFill/>
                    </a:ln>
                    <a:extLst>
                      <a:ext uri="{91240B29-F687-4f45-9708-019B960494DF}">
                        <a14:hiddenLine xmlns=""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algn="l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200" b="0" i="0" u="none" strike="noStrike" kern="0" cap="none" spc="0" normalizeH="0" baseline="0" noProof="0" dirty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Arial"/>
                        <a:cs typeface=""/>
                      </a:endParaRPr>
                    </a:p>
                  </p:txBody>
                </p:sp>
                <p:sp>
                  <p:nvSpPr>
                    <p:cNvPr id="357" name="Freeform 15"/>
                    <p:cNvSpPr>
                      <a:spLocks/>
                    </p:cNvSpPr>
                    <p:nvPr/>
                  </p:nvSpPr>
                  <p:spPr bwMode="auto">
                    <a:xfrm>
                      <a:off x="4487863" y="2422525"/>
                      <a:ext cx="44450" cy="47625"/>
                    </a:xfrm>
                    <a:custGeom>
                      <a:avLst/>
                      <a:gdLst>
                        <a:gd name="T0" fmla="*/ 29 w 50"/>
                        <a:gd name="T1" fmla="*/ 8 h 53"/>
                        <a:gd name="T2" fmla="*/ 9 w 50"/>
                        <a:gd name="T3" fmla="*/ 4 h 53"/>
                        <a:gd name="T4" fmla="*/ 4 w 50"/>
                        <a:gd name="T5" fmla="*/ 24 h 53"/>
                        <a:gd name="T6" fmla="*/ 24 w 50"/>
                        <a:gd name="T7" fmla="*/ 49 h 53"/>
                        <a:gd name="T8" fmla="*/ 34 w 50"/>
                        <a:gd name="T9" fmla="*/ 53 h 53"/>
                        <a:gd name="T10" fmla="*/ 45 w 50"/>
                        <a:gd name="T11" fmla="*/ 49 h 53"/>
                        <a:gd name="T12" fmla="*/ 45 w 50"/>
                        <a:gd name="T13" fmla="*/ 28 h 53"/>
                        <a:gd name="T14" fmla="*/ 29 w 50"/>
                        <a:gd name="T15" fmla="*/ 8 h 5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</a:cxnLst>
                      <a:rect l="0" t="0" r="r" b="b"/>
                      <a:pathLst>
                        <a:path w="50" h="53">
                          <a:moveTo>
                            <a:pt x="29" y="8"/>
                          </a:moveTo>
                          <a:cubicBezTo>
                            <a:pt x="24" y="2"/>
                            <a:pt x="15" y="0"/>
                            <a:pt x="9" y="4"/>
                          </a:cubicBezTo>
                          <a:cubicBezTo>
                            <a:pt x="2" y="8"/>
                            <a:pt x="0" y="17"/>
                            <a:pt x="4" y="24"/>
                          </a:cubicBezTo>
                          <a:cubicBezTo>
                            <a:pt x="10" y="33"/>
                            <a:pt x="17" y="41"/>
                            <a:pt x="24" y="49"/>
                          </a:cubicBezTo>
                          <a:cubicBezTo>
                            <a:pt x="27" y="51"/>
                            <a:pt x="31" y="53"/>
                            <a:pt x="34" y="53"/>
                          </a:cubicBezTo>
                          <a:cubicBezTo>
                            <a:pt x="38" y="53"/>
                            <a:pt x="42" y="51"/>
                            <a:pt x="45" y="49"/>
                          </a:cubicBezTo>
                          <a:cubicBezTo>
                            <a:pt x="50" y="43"/>
                            <a:pt x="50" y="34"/>
                            <a:pt x="45" y="28"/>
                          </a:cubicBezTo>
                          <a:cubicBezTo>
                            <a:pt x="39" y="22"/>
                            <a:pt x="33" y="15"/>
                            <a:pt x="29" y="8"/>
                          </a:cubicBezTo>
                          <a:close/>
                        </a:path>
                      </a:pathLst>
                    </a:custGeom>
                    <a:solidFill>
                      <a:srgbClr val="4D4D4F"/>
                    </a:solidFill>
                    <a:ln>
                      <a:noFill/>
                    </a:ln>
                    <a:extLst>
                      <a:ext uri="{91240B29-F687-4f45-9708-019B960494DF}">
                        <a14:hiddenLine xmlns=""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algn="l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200" b="0" i="0" u="none" strike="noStrike" kern="0" cap="none" spc="0" normalizeH="0" baseline="0" noProof="0" dirty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Arial"/>
                        <a:cs typeface=""/>
                      </a:endParaRPr>
                    </a:p>
                  </p:txBody>
                </p:sp>
                <p:sp>
                  <p:nvSpPr>
                    <p:cNvPr id="358" name="Freeform 16"/>
                    <p:cNvSpPr>
                      <a:spLocks/>
                    </p:cNvSpPr>
                    <p:nvPr/>
                  </p:nvSpPr>
                  <p:spPr bwMode="auto">
                    <a:xfrm>
                      <a:off x="4471988" y="2193925"/>
                      <a:ext cx="25400" cy="52388"/>
                    </a:xfrm>
                    <a:custGeom>
                      <a:avLst/>
                      <a:gdLst>
                        <a:gd name="T0" fmla="*/ 14 w 29"/>
                        <a:gd name="T1" fmla="*/ 58 h 58"/>
                        <a:gd name="T2" fmla="*/ 29 w 29"/>
                        <a:gd name="T3" fmla="*/ 43 h 58"/>
                        <a:gd name="T4" fmla="*/ 29 w 29"/>
                        <a:gd name="T5" fmla="*/ 14 h 58"/>
                        <a:gd name="T6" fmla="*/ 14 w 29"/>
                        <a:gd name="T7" fmla="*/ 0 h 58"/>
                        <a:gd name="T8" fmla="*/ 0 w 29"/>
                        <a:gd name="T9" fmla="*/ 14 h 58"/>
                        <a:gd name="T10" fmla="*/ 0 w 29"/>
                        <a:gd name="T11" fmla="*/ 43 h 58"/>
                        <a:gd name="T12" fmla="*/ 14 w 29"/>
                        <a:gd name="T13" fmla="*/ 58 h 5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29" h="58">
                          <a:moveTo>
                            <a:pt x="14" y="58"/>
                          </a:moveTo>
                          <a:cubicBezTo>
                            <a:pt x="22" y="58"/>
                            <a:pt x="29" y="51"/>
                            <a:pt x="29" y="43"/>
                          </a:cubicBezTo>
                          <a:cubicBezTo>
                            <a:pt x="29" y="14"/>
                            <a:pt x="29" y="14"/>
                            <a:pt x="29" y="14"/>
                          </a:cubicBezTo>
                          <a:cubicBezTo>
                            <a:pt x="29" y="6"/>
                            <a:pt x="22" y="0"/>
                            <a:pt x="14" y="0"/>
                          </a:cubicBezTo>
                          <a:cubicBezTo>
                            <a:pt x="7" y="0"/>
                            <a:pt x="0" y="6"/>
                            <a:pt x="0" y="14"/>
                          </a:cubicBezTo>
                          <a:cubicBezTo>
                            <a:pt x="0" y="43"/>
                            <a:pt x="0" y="43"/>
                            <a:pt x="0" y="43"/>
                          </a:cubicBezTo>
                          <a:cubicBezTo>
                            <a:pt x="0" y="51"/>
                            <a:pt x="7" y="58"/>
                            <a:pt x="14" y="58"/>
                          </a:cubicBezTo>
                          <a:close/>
                        </a:path>
                      </a:pathLst>
                    </a:custGeom>
                    <a:solidFill>
                      <a:srgbClr val="4D4D4F"/>
                    </a:solidFill>
                    <a:ln>
                      <a:noFill/>
                    </a:ln>
                    <a:extLst>
                      <a:ext uri="{91240B29-F687-4f45-9708-019B960494DF}">
                        <a14:hiddenLine xmlns=""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algn="l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200" b="0" i="0" u="none" strike="noStrike" kern="0" cap="none" spc="0" normalizeH="0" baseline="0" noProof="0" dirty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Arial"/>
                        <a:cs typeface=""/>
                      </a:endParaRPr>
                    </a:p>
                  </p:txBody>
                </p:sp>
                <p:sp>
                  <p:nvSpPr>
                    <p:cNvPr id="359" name="Freeform 17"/>
                    <p:cNvSpPr>
                      <a:spLocks/>
                    </p:cNvSpPr>
                    <p:nvPr/>
                  </p:nvSpPr>
                  <p:spPr bwMode="auto">
                    <a:xfrm>
                      <a:off x="4830763" y="1985963"/>
                      <a:ext cx="50800" cy="26988"/>
                    </a:xfrm>
                    <a:custGeom>
                      <a:avLst/>
                      <a:gdLst>
                        <a:gd name="T0" fmla="*/ 15 w 57"/>
                        <a:gd name="T1" fmla="*/ 29 h 29"/>
                        <a:gd name="T2" fmla="*/ 44 w 57"/>
                        <a:gd name="T3" fmla="*/ 29 h 29"/>
                        <a:gd name="T4" fmla="*/ 57 w 57"/>
                        <a:gd name="T5" fmla="*/ 15 h 29"/>
                        <a:gd name="T6" fmla="*/ 43 w 57"/>
                        <a:gd name="T7" fmla="*/ 0 h 29"/>
                        <a:gd name="T8" fmla="*/ 15 w 57"/>
                        <a:gd name="T9" fmla="*/ 0 h 29"/>
                        <a:gd name="T10" fmla="*/ 0 w 57"/>
                        <a:gd name="T11" fmla="*/ 15 h 29"/>
                        <a:gd name="T12" fmla="*/ 15 w 57"/>
                        <a:gd name="T13" fmla="*/ 29 h 2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57" h="29">
                          <a:moveTo>
                            <a:pt x="15" y="29"/>
                          </a:moveTo>
                          <a:cubicBezTo>
                            <a:pt x="44" y="29"/>
                            <a:pt x="44" y="29"/>
                            <a:pt x="44" y="29"/>
                          </a:cubicBezTo>
                          <a:cubicBezTo>
                            <a:pt x="51" y="29"/>
                            <a:pt x="57" y="23"/>
                            <a:pt x="57" y="15"/>
                          </a:cubicBezTo>
                          <a:cubicBezTo>
                            <a:pt x="57" y="7"/>
                            <a:pt x="50" y="0"/>
                            <a:pt x="43" y="0"/>
                          </a:cubicBezTo>
                          <a:cubicBezTo>
                            <a:pt x="15" y="0"/>
                            <a:pt x="15" y="0"/>
                            <a:pt x="15" y="0"/>
                          </a:cubicBezTo>
                          <a:cubicBezTo>
                            <a:pt x="7" y="0"/>
                            <a:pt x="0" y="7"/>
                            <a:pt x="0" y="15"/>
                          </a:cubicBezTo>
                          <a:cubicBezTo>
                            <a:pt x="0" y="23"/>
                            <a:pt x="7" y="29"/>
                            <a:pt x="15" y="29"/>
                          </a:cubicBezTo>
                          <a:close/>
                        </a:path>
                      </a:pathLst>
                    </a:custGeom>
                    <a:solidFill>
                      <a:srgbClr val="4D4D4F"/>
                    </a:solidFill>
                    <a:ln>
                      <a:noFill/>
                    </a:ln>
                    <a:extLst>
                      <a:ext uri="{91240B29-F687-4f45-9708-019B960494DF}">
                        <a14:hiddenLine xmlns=""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algn="l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200" b="0" i="0" u="none" strike="noStrike" kern="0" cap="none" spc="0" normalizeH="0" baseline="0" noProof="0" dirty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Arial"/>
                        <a:cs typeface=""/>
                      </a:endParaRPr>
                    </a:p>
                  </p:txBody>
                </p:sp>
                <p:sp>
                  <p:nvSpPr>
                    <p:cNvPr id="360" name="Freeform 18"/>
                    <p:cNvSpPr>
                      <a:spLocks/>
                    </p:cNvSpPr>
                    <p:nvPr/>
                  </p:nvSpPr>
                  <p:spPr bwMode="auto">
                    <a:xfrm>
                      <a:off x="4905376" y="1997075"/>
                      <a:ext cx="50800" cy="41275"/>
                    </a:xfrm>
                    <a:custGeom>
                      <a:avLst/>
                      <a:gdLst>
                        <a:gd name="T0" fmla="*/ 10 w 56"/>
                        <a:gd name="T1" fmla="*/ 30 h 47"/>
                        <a:gd name="T2" fmla="*/ 31 w 56"/>
                        <a:gd name="T3" fmla="*/ 43 h 47"/>
                        <a:gd name="T4" fmla="*/ 40 w 56"/>
                        <a:gd name="T5" fmla="*/ 47 h 47"/>
                        <a:gd name="T6" fmla="*/ 51 w 56"/>
                        <a:gd name="T7" fmla="*/ 41 h 47"/>
                        <a:gd name="T8" fmla="*/ 49 w 56"/>
                        <a:gd name="T9" fmla="*/ 21 h 47"/>
                        <a:gd name="T10" fmla="*/ 22 w 56"/>
                        <a:gd name="T11" fmla="*/ 4 h 47"/>
                        <a:gd name="T12" fmla="*/ 3 w 56"/>
                        <a:gd name="T13" fmla="*/ 11 h 47"/>
                        <a:gd name="T14" fmla="*/ 10 w 56"/>
                        <a:gd name="T15" fmla="*/ 30 h 4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</a:cxnLst>
                      <a:rect l="0" t="0" r="r" b="b"/>
                      <a:pathLst>
                        <a:path w="56" h="47">
                          <a:moveTo>
                            <a:pt x="10" y="30"/>
                          </a:moveTo>
                          <a:cubicBezTo>
                            <a:pt x="17" y="33"/>
                            <a:pt x="25" y="38"/>
                            <a:pt x="31" y="43"/>
                          </a:cubicBezTo>
                          <a:cubicBezTo>
                            <a:pt x="34" y="46"/>
                            <a:pt x="37" y="47"/>
                            <a:pt x="40" y="47"/>
                          </a:cubicBezTo>
                          <a:cubicBezTo>
                            <a:pt x="44" y="47"/>
                            <a:pt x="49" y="45"/>
                            <a:pt x="51" y="41"/>
                          </a:cubicBezTo>
                          <a:cubicBezTo>
                            <a:pt x="56" y="35"/>
                            <a:pt x="55" y="26"/>
                            <a:pt x="49" y="21"/>
                          </a:cubicBezTo>
                          <a:cubicBezTo>
                            <a:pt x="41" y="14"/>
                            <a:pt x="32" y="9"/>
                            <a:pt x="22" y="4"/>
                          </a:cubicBezTo>
                          <a:cubicBezTo>
                            <a:pt x="15" y="0"/>
                            <a:pt x="7" y="3"/>
                            <a:pt x="3" y="11"/>
                          </a:cubicBezTo>
                          <a:cubicBezTo>
                            <a:pt x="0" y="18"/>
                            <a:pt x="3" y="26"/>
                            <a:pt x="10" y="30"/>
                          </a:cubicBezTo>
                          <a:close/>
                        </a:path>
                      </a:pathLst>
                    </a:custGeom>
                    <a:solidFill>
                      <a:srgbClr val="4D4D4F"/>
                    </a:solidFill>
                    <a:ln>
                      <a:noFill/>
                    </a:ln>
                    <a:extLst>
                      <a:ext uri="{91240B29-F687-4f45-9708-019B960494DF}">
                        <a14:hiddenLine xmlns=""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algn="l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200" b="0" i="0" u="none" strike="noStrike" kern="0" cap="none" spc="0" normalizeH="0" baseline="0" noProof="0" dirty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Arial"/>
                        <a:cs typeface=""/>
                      </a:endParaRPr>
                    </a:p>
                  </p:txBody>
                </p:sp>
                <p:sp>
                  <p:nvSpPr>
                    <p:cNvPr id="361" name="Freeform 19"/>
                    <p:cNvSpPr>
                      <a:spLocks/>
                    </p:cNvSpPr>
                    <p:nvPr/>
                  </p:nvSpPr>
                  <p:spPr bwMode="auto">
                    <a:xfrm>
                      <a:off x="4476751" y="2039938"/>
                      <a:ext cx="39688" cy="52388"/>
                    </a:xfrm>
                    <a:custGeom>
                      <a:avLst/>
                      <a:gdLst>
                        <a:gd name="T0" fmla="*/ 12 w 45"/>
                        <a:gd name="T1" fmla="*/ 56 h 57"/>
                        <a:gd name="T2" fmla="*/ 16 w 45"/>
                        <a:gd name="T3" fmla="*/ 57 h 57"/>
                        <a:gd name="T4" fmla="*/ 30 w 45"/>
                        <a:gd name="T5" fmla="*/ 47 h 57"/>
                        <a:gd name="T6" fmla="*/ 41 w 45"/>
                        <a:gd name="T7" fmla="*/ 24 h 57"/>
                        <a:gd name="T8" fmla="*/ 36 w 45"/>
                        <a:gd name="T9" fmla="*/ 4 h 57"/>
                        <a:gd name="T10" fmla="*/ 16 w 45"/>
                        <a:gd name="T11" fmla="*/ 9 h 57"/>
                        <a:gd name="T12" fmla="*/ 3 w 45"/>
                        <a:gd name="T13" fmla="*/ 38 h 57"/>
                        <a:gd name="T14" fmla="*/ 12 w 45"/>
                        <a:gd name="T15" fmla="*/ 56 h 5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</a:cxnLst>
                      <a:rect l="0" t="0" r="r" b="b"/>
                      <a:pathLst>
                        <a:path w="45" h="57">
                          <a:moveTo>
                            <a:pt x="12" y="56"/>
                          </a:moveTo>
                          <a:cubicBezTo>
                            <a:pt x="13" y="57"/>
                            <a:pt x="15" y="57"/>
                            <a:pt x="16" y="57"/>
                          </a:cubicBezTo>
                          <a:cubicBezTo>
                            <a:pt x="22" y="57"/>
                            <a:pt x="28" y="53"/>
                            <a:pt x="30" y="47"/>
                          </a:cubicBezTo>
                          <a:cubicBezTo>
                            <a:pt x="33" y="39"/>
                            <a:pt x="36" y="32"/>
                            <a:pt x="41" y="24"/>
                          </a:cubicBezTo>
                          <a:cubicBezTo>
                            <a:pt x="45" y="17"/>
                            <a:pt x="43" y="9"/>
                            <a:pt x="36" y="4"/>
                          </a:cubicBezTo>
                          <a:cubicBezTo>
                            <a:pt x="29" y="0"/>
                            <a:pt x="21" y="2"/>
                            <a:pt x="16" y="9"/>
                          </a:cubicBezTo>
                          <a:cubicBezTo>
                            <a:pt x="11" y="18"/>
                            <a:pt x="6" y="28"/>
                            <a:pt x="3" y="38"/>
                          </a:cubicBezTo>
                          <a:cubicBezTo>
                            <a:pt x="0" y="45"/>
                            <a:pt x="4" y="54"/>
                            <a:pt x="12" y="56"/>
                          </a:cubicBezTo>
                          <a:close/>
                        </a:path>
                      </a:pathLst>
                    </a:custGeom>
                    <a:solidFill>
                      <a:srgbClr val="4D4D4F"/>
                    </a:solidFill>
                    <a:ln>
                      <a:noFill/>
                    </a:ln>
                    <a:extLst>
                      <a:ext uri="{91240B29-F687-4f45-9708-019B960494DF}">
                        <a14:hiddenLine xmlns=""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algn="l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200" b="0" i="0" u="none" strike="noStrike" kern="0" cap="none" spc="0" normalizeH="0" baseline="0" noProof="0" dirty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Arial"/>
                        <a:cs typeface=""/>
                      </a:endParaRPr>
                    </a:p>
                  </p:txBody>
                </p:sp>
                <p:sp>
                  <p:nvSpPr>
                    <p:cNvPr id="362" name="Freeform 20"/>
                    <p:cNvSpPr>
                      <a:spLocks/>
                    </p:cNvSpPr>
                    <p:nvPr/>
                  </p:nvSpPr>
                  <p:spPr bwMode="auto">
                    <a:xfrm>
                      <a:off x="4522788" y="1992313"/>
                      <a:ext cx="52388" cy="39688"/>
                    </a:xfrm>
                    <a:custGeom>
                      <a:avLst/>
                      <a:gdLst>
                        <a:gd name="T0" fmla="*/ 55 w 58"/>
                        <a:gd name="T1" fmla="*/ 11 h 43"/>
                        <a:gd name="T2" fmla="*/ 37 w 58"/>
                        <a:gd name="T3" fmla="*/ 2 h 43"/>
                        <a:gd name="T4" fmla="*/ 9 w 58"/>
                        <a:gd name="T5" fmla="*/ 17 h 43"/>
                        <a:gd name="T6" fmla="*/ 4 w 58"/>
                        <a:gd name="T7" fmla="*/ 37 h 43"/>
                        <a:gd name="T8" fmla="*/ 16 w 58"/>
                        <a:gd name="T9" fmla="*/ 43 h 43"/>
                        <a:gd name="T10" fmla="*/ 24 w 58"/>
                        <a:gd name="T11" fmla="*/ 41 h 43"/>
                        <a:gd name="T12" fmla="*/ 47 w 58"/>
                        <a:gd name="T13" fmla="*/ 29 h 43"/>
                        <a:gd name="T14" fmla="*/ 55 w 58"/>
                        <a:gd name="T15" fmla="*/ 11 h 4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</a:cxnLst>
                      <a:rect l="0" t="0" r="r" b="b"/>
                      <a:pathLst>
                        <a:path w="58" h="43">
                          <a:moveTo>
                            <a:pt x="55" y="11"/>
                          </a:moveTo>
                          <a:cubicBezTo>
                            <a:pt x="53" y="3"/>
                            <a:pt x="44" y="0"/>
                            <a:pt x="37" y="2"/>
                          </a:cubicBezTo>
                          <a:cubicBezTo>
                            <a:pt x="27" y="6"/>
                            <a:pt x="17" y="11"/>
                            <a:pt x="9" y="17"/>
                          </a:cubicBezTo>
                          <a:cubicBezTo>
                            <a:pt x="2" y="21"/>
                            <a:pt x="0" y="30"/>
                            <a:pt x="4" y="37"/>
                          </a:cubicBezTo>
                          <a:cubicBezTo>
                            <a:pt x="7" y="41"/>
                            <a:pt x="12" y="43"/>
                            <a:pt x="16" y="43"/>
                          </a:cubicBezTo>
                          <a:cubicBezTo>
                            <a:pt x="19" y="43"/>
                            <a:pt x="22" y="43"/>
                            <a:pt x="24" y="41"/>
                          </a:cubicBezTo>
                          <a:cubicBezTo>
                            <a:pt x="31" y="36"/>
                            <a:pt x="39" y="32"/>
                            <a:pt x="47" y="29"/>
                          </a:cubicBezTo>
                          <a:cubicBezTo>
                            <a:pt x="54" y="27"/>
                            <a:pt x="58" y="18"/>
                            <a:pt x="55" y="11"/>
                          </a:cubicBezTo>
                          <a:close/>
                        </a:path>
                      </a:pathLst>
                    </a:custGeom>
                    <a:solidFill>
                      <a:srgbClr val="4D4D4F"/>
                    </a:solidFill>
                    <a:ln>
                      <a:noFill/>
                    </a:ln>
                    <a:extLst>
                      <a:ext uri="{91240B29-F687-4f45-9708-019B960494DF}">
                        <a14:hiddenLine xmlns=""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algn="l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200" b="0" i="0" u="none" strike="noStrike" kern="0" cap="none" spc="0" normalizeH="0" baseline="0" noProof="0" dirty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Arial"/>
                        <a:cs typeface=""/>
                      </a:endParaRPr>
                    </a:p>
                  </p:txBody>
                </p:sp>
                <p:sp>
                  <p:nvSpPr>
                    <p:cNvPr id="363" name="Freeform 21"/>
                    <p:cNvSpPr>
                      <a:spLocks/>
                    </p:cNvSpPr>
                    <p:nvPr/>
                  </p:nvSpPr>
                  <p:spPr bwMode="auto">
                    <a:xfrm>
                      <a:off x="4959351" y="2051050"/>
                      <a:ext cx="36513" cy="52388"/>
                    </a:xfrm>
                    <a:custGeom>
                      <a:avLst/>
                      <a:gdLst>
                        <a:gd name="T0" fmla="*/ 13 w 42"/>
                        <a:gd name="T1" fmla="*/ 47 h 58"/>
                        <a:gd name="T2" fmla="*/ 27 w 42"/>
                        <a:gd name="T3" fmla="*/ 58 h 58"/>
                        <a:gd name="T4" fmla="*/ 30 w 42"/>
                        <a:gd name="T5" fmla="*/ 57 h 58"/>
                        <a:gd name="T6" fmla="*/ 41 w 42"/>
                        <a:gd name="T7" fmla="*/ 40 h 58"/>
                        <a:gd name="T8" fmla="*/ 30 w 42"/>
                        <a:gd name="T9" fmla="*/ 10 h 58"/>
                        <a:gd name="T10" fmla="*/ 11 w 42"/>
                        <a:gd name="T11" fmla="*/ 4 h 58"/>
                        <a:gd name="T12" fmla="*/ 4 w 42"/>
                        <a:gd name="T13" fmla="*/ 23 h 58"/>
                        <a:gd name="T14" fmla="*/ 13 w 42"/>
                        <a:gd name="T15" fmla="*/ 47 h 5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</a:cxnLst>
                      <a:rect l="0" t="0" r="r" b="b"/>
                      <a:pathLst>
                        <a:path w="42" h="58">
                          <a:moveTo>
                            <a:pt x="13" y="47"/>
                          </a:moveTo>
                          <a:cubicBezTo>
                            <a:pt x="14" y="53"/>
                            <a:pt x="20" y="58"/>
                            <a:pt x="27" y="58"/>
                          </a:cubicBezTo>
                          <a:cubicBezTo>
                            <a:pt x="28" y="58"/>
                            <a:pt x="29" y="58"/>
                            <a:pt x="30" y="57"/>
                          </a:cubicBezTo>
                          <a:cubicBezTo>
                            <a:pt x="38" y="56"/>
                            <a:pt x="42" y="48"/>
                            <a:pt x="41" y="40"/>
                          </a:cubicBezTo>
                          <a:cubicBezTo>
                            <a:pt x="38" y="30"/>
                            <a:pt x="35" y="20"/>
                            <a:pt x="30" y="10"/>
                          </a:cubicBezTo>
                          <a:cubicBezTo>
                            <a:pt x="26" y="3"/>
                            <a:pt x="18" y="0"/>
                            <a:pt x="11" y="4"/>
                          </a:cubicBezTo>
                          <a:cubicBezTo>
                            <a:pt x="3" y="7"/>
                            <a:pt x="0" y="16"/>
                            <a:pt x="4" y="23"/>
                          </a:cubicBezTo>
                          <a:cubicBezTo>
                            <a:pt x="8" y="31"/>
                            <a:pt x="11" y="39"/>
                            <a:pt x="13" y="47"/>
                          </a:cubicBezTo>
                          <a:close/>
                        </a:path>
                      </a:pathLst>
                    </a:custGeom>
                    <a:solidFill>
                      <a:srgbClr val="4D4D4F"/>
                    </a:solidFill>
                    <a:ln>
                      <a:noFill/>
                    </a:ln>
                    <a:extLst>
                      <a:ext uri="{91240B29-F687-4f45-9708-019B960494DF}">
                        <a14:hiddenLine xmlns=""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algn="l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200" b="0" i="0" u="none" strike="noStrike" kern="0" cap="none" spc="0" normalizeH="0" baseline="0" noProof="0" dirty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Arial"/>
                        <a:cs typeface=""/>
                      </a:endParaRPr>
                    </a:p>
                  </p:txBody>
                </p:sp>
                <p:sp>
                  <p:nvSpPr>
                    <p:cNvPr id="364" name="Freeform 22"/>
                    <p:cNvSpPr>
                      <a:spLocks/>
                    </p:cNvSpPr>
                    <p:nvPr/>
                  </p:nvSpPr>
                  <p:spPr bwMode="auto">
                    <a:xfrm>
                      <a:off x="4598988" y="1985963"/>
                      <a:ext cx="52388" cy="26988"/>
                    </a:xfrm>
                    <a:custGeom>
                      <a:avLst/>
                      <a:gdLst>
                        <a:gd name="T0" fmla="*/ 14 w 58"/>
                        <a:gd name="T1" fmla="*/ 29 h 29"/>
                        <a:gd name="T2" fmla="*/ 43 w 58"/>
                        <a:gd name="T3" fmla="*/ 29 h 29"/>
                        <a:gd name="T4" fmla="*/ 58 w 58"/>
                        <a:gd name="T5" fmla="*/ 15 h 29"/>
                        <a:gd name="T6" fmla="*/ 43 w 58"/>
                        <a:gd name="T7" fmla="*/ 0 h 29"/>
                        <a:gd name="T8" fmla="*/ 14 w 58"/>
                        <a:gd name="T9" fmla="*/ 0 h 29"/>
                        <a:gd name="T10" fmla="*/ 0 w 58"/>
                        <a:gd name="T11" fmla="*/ 15 h 29"/>
                        <a:gd name="T12" fmla="*/ 14 w 58"/>
                        <a:gd name="T13" fmla="*/ 29 h 2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58" h="29">
                          <a:moveTo>
                            <a:pt x="14" y="29"/>
                          </a:moveTo>
                          <a:cubicBezTo>
                            <a:pt x="43" y="29"/>
                            <a:pt x="43" y="29"/>
                            <a:pt x="43" y="29"/>
                          </a:cubicBezTo>
                          <a:cubicBezTo>
                            <a:pt x="51" y="29"/>
                            <a:pt x="58" y="23"/>
                            <a:pt x="58" y="15"/>
                          </a:cubicBezTo>
                          <a:cubicBezTo>
                            <a:pt x="58" y="7"/>
                            <a:pt x="51" y="0"/>
                            <a:pt x="43" y="0"/>
                          </a:cubicBezTo>
                          <a:cubicBezTo>
                            <a:pt x="14" y="0"/>
                            <a:pt x="14" y="0"/>
                            <a:pt x="14" y="0"/>
                          </a:cubicBezTo>
                          <a:cubicBezTo>
                            <a:pt x="6" y="0"/>
                            <a:pt x="0" y="7"/>
                            <a:pt x="0" y="15"/>
                          </a:cubicBezTo>
                          <a:cubicBezTo>
                            <a:pt x="0" y="23"/>
                            <a:pt x="6" y="29"/>
                            <a:pt x="14" y="29"/>
                          </a:cubicBezTo>
                          <a:close/>
                        </a:path>
                      </a:pathLst>
                    </a:custGeom>
                    <a:solidFill>
                      <a:srgbClr val="4D4D4F"/>
                    </a:solidFill>
                    <a:ln>
                      <a:noFill/>
                    </a:ln>
                    <a:extLst>
                      <a:ext uri="{91240B29-F687-4f45-9708-019B960494DF}">
                        <a14:hiddenLine xmlns=""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algn="l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200" b="0" i="0" u="none" strike="noStrike" kern="0" cap="none" spc="0" normalizeH="0" baseline="0" noProof="0" dirty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Arial"/>
                        <a:cs typeface=""/>
                      </a:endParaRPr>
                    </a:p>
                  </p:txBody>
                </p:sp>
                <p:sp>
                  <p:nvSpPr>
                    <p:cNvPr id="365" name="Freeform 23"/>
                    <p:cNvSpPr>
                      <a:spLocks/>
                    </p:cNvSpPr>
                    <p:nvPr/>
                  </p:nvSpPr>
                  <p:spPr bwMode="auto">
                    <a:xfrm>
                      <a:off x="4676776" y="1985963"/>
                      <a:ext cx="50800" cy="26988"/>
                    </a:xfrm>
                    <a:custGeom>
                      <a:avLst/>
                      <a:gdLst>
                        <a:gd name="T0" fmla="*/ 15 w 58"/>
                        <a:gd name="T1" fmla="*/ 29 h 29"/>
                        <a:gd name="T2" fmla="*/ 43 w 58"/>
                        <a:gd name="T3" fmla="*/ 29 h 29"/>
                        <a:gd name="T4" fmla="*/ 58 w 58"/>
                        <a:gd name="T5" fmla="*/ 15 h 29"/>
                        <a:gd name="T6" fmla="*/ 43 w 58"/>
                        <a:gd name="T7" fmla="*/ 0 h 29"/>
                        <a:gd name="T8" fmla="*/ 15 w 58"/>
                        <a:gd name="T9" fmla="*/ 0 h 29"/>
                        <a:gd name="T10" fmla="*/ 0 w 58"/>
                        <a:gd name="T11" fmla="*/ 15 h 29"/>
                        <a:gd name="T12" fmla="*/ 15 w 58"/>
                        <a:gd name="T13" fmla="*/ 29 h 2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58" h="29">
                          <a:moveTo>
                            <a:pt x="15" y="29"/>
                          </a:moveTo>
                          <a:cubicBezTo>
                            <a:pt x="43" y="29"/>
                            <a:pt x="43" y="29"/>
                            <a:pt x="43" y="29"/>
                          </a:cubicBezTo>
                          <a:cubicBezTo>
                            <a:pt x="51" y="29"/>
                            <a:pt x="58" y="23"/>
                            <a:pt x="58" y="15"/>
                          </a:cubicBezTo>
                          <a:cubicBezTo>
                            <a:pt x="58" y="7"/>
                            <a:pt x="51" y="0"/>
                            <a:pt x="43" y="0"/>
                          </a:cubicBezTo>
                          <a:cubicBezTo>
                            <a:pt x="15" y="0"/>
                            <a:pt x="15" y="0"/>
                            <a:pt x="15" y="0"/>
                          </a:cubicBezTo>
                          <a:cubicBezTo>
                            <a:pt x="7" y="0"/>
                            <a:pt x="0" y="7"/>
                            <a:pt x="0" y="15"/>
                          </a:cubicBezTo>
                          <a:cubicBezTo>
                            <a:pt x="0" y="23"/>
                            <a:pt x="7" y="29"/>
                            <a:pt x="15" y="29"/>
                          </a:cubicBezTo>
                          <a:close/>
                        </a:path>
                      </a:pathLst>
                    </a:custGeom>
                    <a:solidFill>
                      <a:srgbClr val="4D4D4F"/>
                    </a:solidFill>
                    <a:ln>
                      <a:noFill/>
                    </a:ln>
                    <a:extLst>
                      <a:ext uri="{91240B29-F687-4f45-9708-019B960494DF}">
                        <a14:hiddenLine xmlns=""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algn="l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200" b="0" i="0" u="none" strike="noStrike" kern="0" cap="none" spc="0" normalizeH="0" baseline="0" noProof="0" dirty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Arial"/>
                        <a:cs typeface=""/>
                      </a:endParaRPr>
                    </a:p>
                  </p:txBody>
                </p:sp>
                <p:sp>
                  <p:nvSpPr>
                    <p:cNvPr id="366" name="Freeform 24"/>
                    <p:cNvSpPr>
                      <a:spLocks/>
                    </p:cNvSpPr>
                    <p:nvPr/>
                  </p:nvSpPr>
                  <p:spPr bwMode="auto">
                    <a:xfrm>
                      <a:off x="4752976" y="1985963"/>
                      <a:ext cx="52388" cy="26988"/>
                    </a:xfrm>
                    <a:custGeom>
                      <a:avLst/>
                      <a:gdLst>
                        <a:gd name="T0" fmla="*/ 15 w 58"/>
                        <a:gd name="T1" fmla="*/ 29 h 29"/>
                        <a:gd name="T2" fmla="*/ 43 w 58"/>
                        <a:gd name="T3" fmla="*/ 29 h 29"/>
                        <a:gd name="T4" fmla="*/ 58 w 58"/>
                        <a:gd name="T5" fmla="*/ 15 h 29"/>
                        <a:gd name="T6" fmla="*/ 43 w 58"/>
                        <a:gd name="T7" fmla="*/ 0 h 29"/>
                        <a:gd name="T8" fmla="*/ 15 w 58"/>
                        <a:gd name="T9" fmla="*/ 0 h 29"/>
                        <a:gd name="T10" fmla="*/ 0 w 58"/>
                        <a:gd name="T11" fmla="*/ 15 h 29"/>
                        <a:gd name="T12" fmla="*/ 15 w 58"/>
                        <a:gd name="T13" fmla="*/ 29 h 2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58" h="29">
                          <a:moveTo>
                            <a:pt x="15" y="29"/>
                          </a:moveTo>
                          <a:cubicBezTo>
                            <a:pt x="43" y="29"/>
                            <a:pt x="43" y="29"/>
                            <a:pt x="43" y="29"/>
                          </a:cubicBezTo>
                          <a:cubicBezTo>
                            <a:pt x="51" y="29"/>
                            <a:pt x="58" y="23"/>
                            <a:pt x="58" y="15"/>
                          </a:cubicBezTo>
                          <a:cubicBezTo>
                            <a:pt x="58" y="7"/>
                            <a:pt x="51" y="0"/>
                            <a:pt x="43" y="0"/>
                          </a:cubicBezTo>
                          <a:cubicBezTo>
                            <a:pt x="15" y="0"/>
                            <a:pt x="15" y="0"/>
                            <a:pt x="15" y="0"/>
                          </a:cubicBezTo>
                          <a:cubicBezTo>
                            <a:pt x="7" y="0"/>
                            <a:pt x="0" y="7"/>
                            <a:pt x="0" y="15"/>
                          </a:cubicBezTo>
                          <a:cubicBezTo>
                            <a:pt x="0" y="23"/>
                            <a:pt x="7" y="29"/>
                            <a:pt x="15" y="29"/>
                          </a:cubicBezTo>
                          <a:close/>
                        </a:path>
                      </a:pathLst>
                    </a:custGeom>
                    <a:solidFill>
                      <a:srgbClr val="4D4D4F"/>
                    </a:solidFill>
                    <a:ln>
                      <a:noFill/>
                    </a:ln>
                    <a:extLst>
                      <a:ext uri="{91240B29-F687-4f45-9708-019B960494DF}">
                        <a14:hiddenLine xmlns=""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algn="l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200" b="0" i="0" u="none" strike="noStrike" kern="0" cap="none" spc="0" normalizeH="0" baseline="0" noProof="0" dirty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Arial"/>
                        <a:cs typeface=""/>
                      </a:endParaRPr>
                    </a:p>
                  </p:txBody>
                </p:sp>
                <p:sp>
                  <p:nvSpPr>
                    <p:cNvPr id="367" name="Freeform 25"/>
                    <p:cNvSpPr>
                      <a:spLocks/>
                    </p:cNvSpPr>
                    <p:nvPr/>
                  </p:nvSpPr>
                  <p:spPr bwMode="auto">
                    <a:xfrm>
                      <a:off x="4471988" y="2349500"/>
                      <a:ext cx="26988" cy="52388"/>
                    </a:xfrm>
                    <a:custGeom>
                      <a:avLst/>
                      <a:gdLst>
                        <a:gd name="T0" fmla="*/ 30 w 31"/>
                        <a:gd name="T1" fmla="*/ 42 h 58"/>
                        <a:gd name="T2" fmla="*/ 29 w 31"/>
                        <a:gd name="T3" fmla="*/ 28 h 58"/>
                        <a:gd name="T4" fmla="*/ 29 w 31"/>
                        <a:gd name="T5" fmla="*/ 15 h 58"/>
                        <a:gd name="T6" fmla="*/ 14 w 31"/>
                        <a:gd name="T7" fmla="*/ 0 h 58"/>
                        <a:gd name="T8" fmla="*/ 0 w 31"/>
                        <a:gd name="T9" fmla="*/ 15 h 58"/>
                        <a:gd name="T10" fmla="*/ 0 w 31"/>
                        <a:gd name="T11" fmla="*/ 28 h 58"/>
                        <a:gd name="T12" fmla="*/ 1 w 31"/>
                        <a:gd name="T13" fmla="*/ 45 h 58"/>
                        <a:gd name="T14" fmla="*/ 15 w 31"/>
                        <a:gd name="T15" fmla="*/ 58 h 58"/>
                        <a:gd name="T16" fmla="*/ 17 w 31"/>
                        <a:gd name="T17" fmla="*/ 58 h 58"/>
                        <a:gd name="T18" fmla="*/ 30 w 31"/>
                        <a:gd name="T19" fmla="*/ 42 h 5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</a:cxnLst>
                      <a:rect l="0" t="0" r="r" b="b"/>
                      <a:pathLst>
                        <a:path w="31" h="58">
                          <a:moveTo>
                            <a:pt x="30" y="42"/>
                          </a:moveTo>
                          <a:cubicBezTo>
                            <a:pt x="29" y="37"/>
                            <a:pt x="29" y="33"/>
                            <a:pt x="29" y="28"/>
                          </a:cubicBezTo>
                          <a:cubicBezTo>
                            <a:pt x="29" y="15"/>
                            <a:pt x="29" y="15"/>
                            <a:pt x="29" y="15"/>
                          </a:cubicBezTo>
                          <a:cubicBezTo>
                            <a:pt x="29" y="7"/>
                            <a:pt x="22" y="0"/>
                            <a:pt x="14" y="0"/>
                          </a:cubicBezTo>
                          <a:cubicBezTo>
                            <a:pt x="7" y="0"/>
                            <a:pt x="0" y="7"/>
                            <a:pt x="0" y="15"/>
                          </a:cubicBezTo>
                          <a:cubicBezTo>
                            <a:pt x="0" y="28"/>
                            <a:pt x="0" y="28"/>
                            <a:pt x="0" y="28"/>
                          </a:cubicBezTo>
                          <a:cubicBezTo>
                            <a:pt x="0" y="34"/>
                            <a:pt x="0" y="39"/>
                            <a:pt x="1" y="45"/>
                          </a:cubicBezTo>
                          <a:cubicBezTo>
                            <a:pt x="2" y="52"/>
                            <a:pt x="8" y="58"/>
                            <a:pt x="15" y="58"/>
                          </a:cubicBezTo>
                          <a:cubicBezTo>
                            <a:pt x="16" y="58"/>
                            <a:pt x="17" y="58"/>
                            <a:pt x="17" y="58"/>
                          </a:cubicBezTo>
                          <a:cubicBezTo>
                            <a:pt x="25" y="57"/>
                            <a:pt x="31" y="50"/>
                            <a:pt x="30" y="42"/>
                          </a:cubicBezTo>
                          <a:close/>
                        </a:path>
                      </a:pathLst>
                    </a:custGeom>
                    <a:solidFill>
                      <a:srgbClr val="4D4D4F"/>
                    </a:solidFill>
                    <a:ln>
                      <a:noFill/>
                    </a:ln>
                    <a:extLst>
                      <a:ext uri="{91240B29-F687-4f45-9708-019B960494DF}">
                        <a14:hiddenLine xmlns=""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algn="l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200" b="0" i="0" u="none" strike="noStrike" kern="0" cap="none" spc="0" normalizeH="0" baseline="0" noProof="0" dirty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Arial"/>
                        <a:cs typeface=""/>
                      </a:endParaRPr>
                    </a:p>
                  </p:txBody>
                </p:sp>
                <p:sp>
                  <p:nvSpPr>
                    <p:cNvPr id="368" name="Freeform 26"/>
                    <p:cNvSpPr>
                      <a:spLocks/>
                    </p:cNvSpPr>
                    <p:nvPr/>
                  </p:nvSpPr>
                  <p:spPr bwMode="auto">
                    <a:xfrm>
                      <a:off x="4973638" y="2282825"/>
                      <a:ext cx="25400" cy="52388"/>
                    </a:xfrm>
                    <a:custGeom>
                      <a:avLst/>
                      <a:gdLst>
                        <a:gd name="T0" fmla="*/ 14 w 29"/>
                        <a:gd name="T1" fmla="*/ 0 h 58"/>
                        <a:gd name="T2" fmla="*/ 0 w 29"/>
                        <a:gd name="T3" fmla="*/ 15 h 58"/>
                        <a:gd name="T4" fmla="*/ 0 w 29"/>
                        <a:gd name="T5" fmla="*/ 44 h 58"/>
                        <a:gd name="T6" fmla="*/ 14 w 29"/>
                        <a:gd name="T7" fmla="*/ 58 h 58"/>
                        <a:gd name="T8" fmla="*/ 29 w 29"/>
                        <a:gd name="T9" fmla="*/ 44 h 58"/>
                        <a:gd name="T10" fmla="*/ 29 w 29"/>
                        <a:gd name="T11" fmla="*/ 15 h 58"/>
                        <a:gd name="T12" fmla="*/ 14 w 29"/>
                        <a:gd name="T13" fmla="*/ 0 h 5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29" h="58">
                          <a:moveTo>
                            <a:pt x="14" y="0"/>
                          </a:moveTo>
                          <a:cubicBezTo>
                            <a:pt x="6" y="0"/>
                            <a:pt x="0" y="7"/>
                            <a:pt x="0" y="15"/>
                          </a:cubicBezTo>
                          <a:cubicBezTo>
                            <a:pt x="0" y="44"/>
                            <a:pt x="0" y="44"/>
                            <a:pt x="0" y="44"/>
                          </a:cubicBezTo>
                          <a:cubicBezTo>
                            <a:pt x="0" y="52"/>
                            <a:pt x="6" y="58"/>
                            <a:pt x="14" y="58"/>
                          </a:cubicBezTo>
                          <a:cubicBezTo>
                            <a:pt x="22" y="58"/>
                            <a:pt x="29" y="52"/>
                            <a:pt x="29" y="44"/>
                          </a:cubicBezTo>
                          <a:cubicBezTo>
                            <a:pt x="29" y="15"/>
                            <a:pt x="29" y="15"/>
                            <a:pt x="29" y="15"/>
                          </a:cubicBezTo>
                          <a:cubicBezTo>
                            <a:pt x="29" y="7"/>
                            <a:pt x="22" y="0"/>
                            <a:pt x="14" y="0"/>
                          </a:cubicBezTo>
                          <a:close/>
                        </a:path>
                      </a:pathLst>
                    </a:custGeom>
                    <a:solidFill>
                      <a:srgbClr val="4D4D4F"/>
                    </a:solidFill>
                    <a:ln>
                      <a:noFill/>
                    </a:ln>
                    <a:extLst>
                      <a:ext uri="{91240B29-F687-4f45-9708-019B960494DF}">
                        <a14:hiddenLine xmlns=""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algn="l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200" b="0" i="0" u="none" strike="noStrike" kern="0" cap="none" spc="0" normalizeH="0" baseline="0" noProof="0" dirty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Arial"/>
                        <a:cs typeface=""/>
                      </a:endParaRPr>
                    </a:p>
                  </p:txBody>
                </p:sp>
                <p:sp>
                  <p:nvSpPr>
                    <p:cNvPr id="369" name="Freeform 28"/>
                    <p:cNvSpPr>
                      <a:spLocks/>
                    </p:cNvSpPr>
                    <p:nvPr/>
                  </p:nvSpPr>
                  <p:spPr bwMode="auto">
                    <a:xfrm>
                      <a:off x="4927601" y="2432050"/>
                      <a:ext cx="47625" cy="46038"/>
                    </a:xfrm>
                    <a:custGeom>
                      <a:avLst/>
                      <a:gdLst>
                        <a:gd name="T0" fmla="*/ 25 w 53"/>
                        <a:gd name="T1" fmla="*/ 7 h 51"/>
                        <a:gd name="T2" fmla="*/ 7 w 53"/>
                        <a:gd name="T3" fmla="*/ 25 h 51"/>
                        <a:gd name="T4" fmla="*/ 5 w 53"/>
                        <a:gd name="T5" fmla="*/ 45 h 51"/>
                        <a:gd name="T6" fmla="*/ 16 w 53"/>
                        <a:gd name="T7" fmla="*/ 51 h 51"/>
                        <a:gd name="T8" fmla="*/ 25 w 53"/>
                        <a:gd name="T9" fmla="*/ 47 h 51"/>
                        <a:gd name="T10" fmla="*/ 48 w 53"/>
                        <a:gd name="T11" fmla="*/ 25 h 51"/>
                        <a:gd name="T12" fmla="*/ 45 w 53"/>
                        <a:gd name="T13" fmla="*/ 5 h 51"/>
                        <a:gd name="T14" fmla="*/ 25 w 53"/>
                        <a:gd name="T15" fmla="*/ 7 h 5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</a:cxnLst>
                      <a:rect l="0" t="0" r="r" b="b"/>
                      <a:pathLst>
                        <a:path w="53" h="51">
                          <a:moveTo>
                            <a:pt x="25" y="7"/>
                          </a:moveTo>
                          <a:cubicBezTo>
                            <a:pt x="20" y="14"/>
                            <a:pt x="14" y="20"/>
                            <a:pt x="7" y="25"/>
                          </a:cubicBezTo>
                          <a:cubicBezTo>
                            <a:pt x="1" y="30"/>
                            <a:pt x="0" y="39"/>
                            <a:pt x="5" y="45"/>
                          </a:cubicBezTo>
                          <a:cubicBezTo>
                            <a:pt x="8" y="49"/>
                            <a:pt x="12" y="51"/>
                            <a:pt x="16" y="51"/>
                          </a:cubicBezTo>
                          <a:cubicBezTo>
                            <a:pt x="20" y="51"/>
                            <a:pt x="23" y="50"/>
                            <a:pt x="25" y="47"/>
                          </a:cubicBezTo>
                          <a:cubicBezTo>
                            <a:pt x="34" y="41"/>
                            <a:pt x="41" y="33"/>
                            <a:pt x="48" y="25"/>
                          </a:cubicBezTo>
                          <a:cubicBezTo>
                            <a:pt x="53" y="19"/>
                            <a:pt x="52" y="9"/>
                            <a:pt x="45" y="5"/>
                          </a:cubicBezTo>
                          <a:cubicBezTo>
                            <a:pt x="39" y="0"/>
                            <a:pt x="30" y="1"/>
                            <a:pt x="25" y="7"/>
                          </a:cubicBezTo>
                          <a:close/>
                        </a:path>
                      </a:pathLst>
                    </a:custGeom>
                    <a:solidFill>
                      <a:srgbClr val="4D4D4F"/>
                    </a:solidFill>
                    <a:ln>
                      <a:noFill/>
                    </a:ln>
                    <a:extLst>
                      <a:ext uri="{91240B29-F687-4f45-9708-019B960494DF}">
                        <a14:hiddenLine xmlns=""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algn="l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200" b="0" i="0" u="none" strike="noStrike" kern="0" cap="none" spc="0" normalizeH="0" baseline="0" noProof="0" dirty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Arial"/>
                        <a:cs typeface=""/>
                      </a:endParaRPr>
                    </a:p>
                  </p:txBody>
                </p:sp>
                <p:sp>
                  <p:nvSpPr>
                    <p:cNvPr id="370" name="Freeform 29"/>
                    <p:cNvSpPr>
                      <a:spLocks/>
                    </p:cNvSpPr>
                    <p:nvPr/>
                  </p:nvSpPr>
                  <p:spPr bwMode="auto">
                    <a:xfrm>
                      <a:off x="4968876" y="2360613"/>
                      <a:ext cx="30163" cy="52388"/>
                    </a:xfrm>
                    <a:custGeom>
                      <a:avLst/>
                      <a:gdLst>
                        <a:gd name="T0" fmla="*/ 19 w 34"/>
                        <a:gd name="T1" fmla="*/ 0 h 58"/>
                        <a:gd name="T2" fmla="*/ 5 w 34"/>
                        <a:gd name="T3" fmla="*/ 15 h 58"/>
                        <a:gd name="T4" fmla="*/ 2 w 34"/>
                        <a:gd name="T5" fmla="*/ 40 h 58"/>
                        <a:gd name="T6" fmla="*/ 13 w 34"/>
                        <a:gd name="T7" fmla="*/ 58 h 58"/>
                        <a:gd name="T8" fmla="*/ 16 w 34"/>
                        <a:gd name="T9" fmla="*/ 58 h 58"/>
                        <a:gd name="T10" fmla="*/ 30 w 34"/>
                        <a:gd name="T11" fmla="*/ 47 h 58"/>
                        <a:gd name="T12" fmla="*/ 34 w 34"/>
                        <a:gd name="T13" fmla="*/ 15 h 58"/>
                        <a:gd name="T14" fmla="*/ 34 w 34"/>
                        <a:gd name="T15" fmla="*/ 14 h 58"/>
                        <a:gd name="T16" fmla="*/ 19 w 34"/>
                        <a:gd name="T17" fmla="*/ 0 h 5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</a:cxnLst>
                      <a:rect l="0" t="0" r="r" b="b"/>
                      <a:pathLst>
                        <a:path w="34" h="58">
                          <a:moveTo>
                            <a:pt x="19" y="0"/>
                          </a:moveTo>
                          <a:cubicBezTo>
                            <a:pt x="11" y="0"/>
                            <a:pt x="5" y="7"/>
                            <a:pt x="5" y="15"/>
                          </a:cubicBezTo>
                          <a:cubicBezTo>
                            <a:pt x="5" y="24"/>
                            <a:pt x="4" y="32"/>
                            <a:pt x="2" y="40"/>
                          </a:cubicBezTo>
                          <a:cubicBezTo>
                            <a:pt x="0" y="48"/>
                            <a:pt x="5" y="56"/>
                            <a:pt x="13" y="58"/>
                          </a:cubicBezTo>
                          <a:cubicBezTo>
                            <a:pt x="14" y="58"/>
                            <a:pt x="15" y="58"/>
                            <a:pt x="16" y="58"/>
                          </a:cubicBezTo>
                          <a:cubicBezTo>
                            <a:pt x="23" y="58"/>
                            <a:pt x="29" y="53"/>
                            <a:pt x="30" y="47"/>
                          </a:cubicBezTo>
                          <a:cubicBezTo>
                            <a:pt x="32" y="36"/>
                            <a:pt x="34" y="26"/>
                            <a:pt x="34" y="15"/>
                          </a:cubicBezTo>
                          <a:cubicBezTo>
                            <a:pt x="34" y="14"/>
                            <a:pt x="34" y="14"/>
                            <a:pt x="34" y="14"/>
                          </a:cubicBezTo>
                          <a:cubicBezTo>
                            <a:pt x="34" y="6"/>
                            <a:pt x="27" y="0"/>
                            <a:pt x="19" y="0"/>
                          </a:cubicBezTo>
                          <a:close/>
                        </a:path>
                      </a:pathLst>
                    </a:custGeom>
                    <a:solidFill>
                      <a:srgbClr val="4D4D4F"/>
                    </a:solidFill>
                    <a:ln>
                      <a:noFill/>
                    </a:ln>
                    <a:extLst>
                      <a:ext uri="{91240B29-F687-4f45-9708-019B960494DF}">
                        <a14:hiddenLine xmlns=""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algn="l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200" b="0" i="0" u="none" strike="noStrike" kern="0" cap="none" spc="0" normalizeH="0" baseline="0" noProof="0" dirty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Arial"/>
                        <a:cs typeface=""/>
                      </a:endParaRPr>
                    </a:p>
                  </p:txBody>
                </p:sp>
                <p:sp>
                  <p:nvSpPr>
                    <p:cNvPr id="371" name="Freeform 30"/>
                    <p:cNvSpPr>
                      <a:spLocks/>
                    </p:cNvSpPr>
                    <p:nvPr/>
                  </p:nvSpPr>
                  <p:spPr bwMode="auto">
                    <a:xfrm>
                      <a:off x="4973638" y="2205038"/>
                      <a:ext cx="25400" cy="52388"/>
                    </a:xfrm>
                    <a:custGeom>
                      <a:avLst/>
                      <a:gdLst>
                        <a:gd name="T0" fmla="*/ 14 w 29"/>
                        <a:gd name="T1" fmla="*/ 0 h 58"/>
                        <a:gd name="T2" fmla="*/ 0 w 29"/>
                        <a:gd name="T3" fmla="*/ 15 h 58"/>
                        <a:gd name="T4" fmla="*/ 0 w 29"/>
                        <a:gd name="T5" fmla="*/ 43 h 58"/>
                        <a:gd name="T6" fmla="*/ 14 w 29"/>
                        <a:gd name="T7" fmla="*/ 58 h 58"/>
                        <a:gd name="T8" fmla="*/ 29 w 29"/>
                        <a:gd name="T9" fmla="*/ 43 h 58"/>
                        <a:gd name="T10" fmla="*/ 29 w 29"/>
                        <a:gd name="T11" fmla="*/ 15 h 58"/>
                        <a:gd name="T12" fmla="*/ 14 w 29"/>
                        <a:gd name="T13" fmla="*/ 0 h 5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29" h="58">
                          <a:moveTo>
                            <a:pt x="14" y="0"/>
                          </a:moveTo>
                          <a:cubicBezTo>
                            <a:pt x="6" y="0"/>
                            <a:pt x="0" y="7"/>
                            <a:pt x="0" y="15"/>
                          </a:cubicBezTo>
                          <a:cubicBezTo>
                            <a:pt x="0" y="43"/>
                            <a:pt x="0" y="43"/>
                            <a:pt x="0" y="43"/>
                          </a:cubicBezTo>
                          <a:cubicBezTo>
                            <a:pt x="0" y="51"/>
                            <a:pt x="6" y="58"/>
                            <a:pt x="14" y="58"/>
                          </a:cubicBezTo>
                          <a:cubicBezTo>
                            <a:pt x="22" y="58"/>
                            <a:pt x="29" y="51"/>
                            <a:pt x="29" y="43"/>
                          </a:cubicBezTo>
                          <a:cubicBezTo>
                            <a:pt x="29" y="15"/>
                            <a:pt x="29" y="15"/>
                            <a:pt x="29" y="15"/>
                          </a:cubicBezTo>
                          <a:cubicBezTo>
                            <a:pt x="29" y="7"/>
                            <a:pt x="22" y="0"/>
                            <a:pt x="14" y="0"/>
                          </a:cubicBezTo>
                          <a:close/>
                        </a:path>
                      </a:pathLst>
                    </a:custGeom>
                    <a:solidFill>
                      <a:srgbClr val="4D4D4F"/>
                    </a:solidFill>
                    <a:ln>
                      <a:noFill/>
                    </a:ln>
                    <a:extLst>
                      <a:ext uri="{91240B29-F687-4f45-9708-019B960494DF}">
                        <a14:hiddenLine xmlns=""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algn="l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200" b="0" i="0" u="none" strike="noStrike" kern="0" cap="none" spc="0" normalizeH="0" baseline="0" noProof="0" dirty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Arial"/>
                        <a:cs typeface=""/>
                      </a:endParaRPr>
                    </a:p>
                  </p:txBody>
                </p:sp>
                <p:sp>
                  <p:nvSpPr>
                    <p:cNvPr id="372" name="Freeform 31"/>
                    <p:cNvSpPr>
                      <a:spLocks/>
                    </p:cNvSpPr>
                    <p:nvPr/>
                  </p:nvSpPr>
                  <p:spPr bwMode="auto">
                    <a:xfrm>
                      <a:off x="4973638" y="2127250"/>
                      <a:ext cx="25400" cy="52388"/>
                    </a:xfrm>
                    <a:custGeom>
                      <a:avLst/>
                      <a:gdLst>
                        <a:gd name="T0" fmla="*/ 14 w 29"/>
                        <a:gd name="T1" fmla="*/ 0 h 58"/>
                        <a:gd name="T2" fmla="*/ 0 w 29"/>
                        <a:gd name="T3" fmla="*/ 15 h 58"/>
                        <a:gd name="T4" fmla="*/ 0 w 29"/>
                        <a:gd name="T5" fmla="*/ 43 h 58"/>
                        <a:gd name="T6" fmla="*/ 14 w 29"/>
                        <a:gd name="T7" fmla="*/ 58 h 58"/>
                        <a:gd name="T8" fmla="*/ 29 w 29"/>
                        <a:gd name="T9" fmla="*/ 43 h 58"/>
                        <a:gd name="T10" fmla="*/ 29 w 29"/>
                        <a:gd name="T11" fmla="*/ 15 h 58"/>
                        <a:gd name="T12" fmla="*/ 14 w 29"/>
                        <a:gd name="T13" fmla="*/ 0 h 5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29" h="58">
                          <a:moveTo>
                            <a:pt x="14" y="0"/>
                          </a:moveTo>
                          <a:cubicBezTo>
                            <a:pt x="6" y="0"/>
                            <a:pt x="0" y="7"/>
                            <a:pt x="0" y="15"/>
                          </a:cubicBezTo>
                          <a:cubicBezTo>
                            <a:pt x="0" y="43"/>
                            <a:pt x="0" y="43"/>
                            <a:pt x="0" y="43"/>
                          </a:cubicBezTo>
                          <a:cubicBezTo>
                            <a:pt x="0" y="51"/>
                            <a:pt x="6" y="58"/>
                            <a:pt x="14" y="58"/>
                          </a:cubicBezTo>
                          <a:cubicBezTo>
                            <a:pt x="22" y="58"/>
                            <a:pt x="29" y="51"/>
                            <a:pt x="29" y="43"/>
                          </a:cubicBezTo>
                          <a:cubicBezTo>
                            <a:pt x="29" y="15"/>
                            <a:pt x="29" y="15"/>
                            <a:pt x="29" y="15"/>
                          </a:cubicBezTo>
                          <a:cubicBezTo>
                            <a:pt x="29" y="7"/>
                            <a:pt x="22" y="0"/>
                            <a:pt x="14" y="0"/>
                          </a:cubicBezTo>
                          <a:close/>
                        </a:path>
                      </a:pathLst>
                    </a:custGeom>
                    <a:solidFill>
                      <a:srgbClr val="4D4D4F"/>
                    </a:solidFill>
                    <a:ln>
                      <a:noFill/>
                    </a:ln>
                    <a:extLst>
                      <a:ext uri="{91240B29-F687-4f45-9708-019B960494DF}">
                        <a14:hiddenLine xmlns=""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algn="l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200" b="0" i="0" u="none" strike="noStrike" kern="0" cap="none" spc="0" normalizeH="0" baseline="0" noProof="0" dirty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Arial"/>
                        <a:cs typeface=""/>
                      </a:endParaRPr>
                    </a:p>
                  </p:txBody>
                </p:sp>
                <p:sp>
                  <p:nvSpPr>
                    <p:cNvPr id="373" name="Freeform 32"/>
                    <p:cNvSpPr>
                      <a:spLocks/>
                    </p:cNvSpPr>
                    <p:nvPr/>
                  </p:nvSpPr>
                  <p:spPr bwMode="auto">
                    <a:xfrm>
                      <a:off x="4546601" y="2470150"/>
                      <a:ext cx="53975" cy="33338"/>
                    </a:xfrm>
                    <a:custGeom>
                      <a:avLst/>
                      <a:gdLst>
                        <a:gd name="T0" fmla="*/ 46 w 60"/>
                        <a:gd name="T1" fmla="*/ 8 h 37"/>
                        <a:gd name="T2" fmla="*/ 21 w 60"/>
                        <a:gd name="T3" fmla="*/ 2 h 37"/>
                        <a:gd name="T4" fmla="*/ 3 w 60"/>
                        <a:gd name="T5" fmla="*/ 11 h 37"/>
                        <a:gd name="T6" fmla="*/ 12 w 60"/>
                        <a:gd name="T7" fmla="*/ 30 h 37"/>
                        <a:gd name="T8" fmla="*/ 43 w 60"/>
                        <a:gd name="T9" fmla="*/ 37 h 37"/>
                        <a:gd name="T10" fmla="*/ 44 w 60"/>
                        <a:gd name="T11" fmla="*/ 37 h 37"/>
                        <a:gd name="T12" fmla="*/ 59 w 60"/>
                        <a:gd name="T13" fmla="*/ 24 h 37"/>
                        <a:gd name="T14" fmla="*/ 46 w 60"/>
                        <a:gd name="T15" fmla="*/ 8 h 3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</a:cxnLst>
                      <a:rect l="0" t="0" r="r" b="b"/>
                      <a:pathLst>
                        <a:path w="60" h="37">
                          <a:moveTo>
                            <a:pt x="46" y="8"/>
                          </a:moveTo>
                          <a:cubicBezTo>
                            <a:pt x="38" y="7"/>
                            <a:pt x="29" y="5"/>
                            <a:pt x="21" y="2"/>
                          </a:cubicBezTo>
                          <a:cubicBezTo>
                            <a:pt x="14" y="0"/>
                            <a:pt x="6" y="4"/>
                            <a:pt x="3" y="11"/>
                          </a:cubicBezTo>
                          <a:cubicBezTo>
                            <a:pt x="0" y="19"/>
                            <a:pt x="4" y="27"/>
                            <a:pt x="12" y="30"/>
                          </a:cubicBezTo>
                          <a:cubicBezTo>
                            <a:pt x="22" y="33"/>
                            <a:pt x="32" y="36"/>
                            <a:pt x="43" y="37"/>
                          </a:cubicBezTo>
                          <a:cubicBezTo>
                            <a:pt x="43" y="37"/>
                            <a:pt x="44" y="37"/>
                            <a:pt x="44" y="37"/>
                          </a:cubicBezTo>
                          <a:cubicBezTo>
                            <a:pt x="51" y="37"/>
                            <a:pt x="58" y="32"/>
                            <a:pt x="59" y="24"/>
                          </a:cubicBezTo>
                          <a:cubicBezTo>
                            <a:pt x="60" y="16"/>
                            <a:pt x="54" y="9"/>
                            <a:pt x="46" y="8"/>
                          </a:cubicBezTo>
                          <a:close/>
                        </a:path>
                      </a:pathLst>
                    </a:custGeom>
                    <a:solidFill>
                      <a:srgbClr val="4D4D4F"/>
                    </a:solidFill>
                    <a:ln>
                      <a:noFill/>
                    </a:ln>
                    <a:extLst>
                      <a:ext uri="{91240B29-F687-4f45-9708-019B960494DF}">
                        <a14:hiddenLine xmlns=""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algn="l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200" b="0" i="0" u="none" strike="noStrike" kern="0" cap="none" spc="0" normalizeH="0" baseline="0" noProof="0" dirty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Arial"/>
                        <a:cs typeface=""/>
                      </a:endParaRPr>
                    </a:p>
                  </p:txBody>
                </p:sp>
                <p:sp>
                  <p:nvSpPr>
                    <p:cNvPr id="374" name="Freeform 33"/>
                    <p:cNvSpPr>
                      <a:spLocks/>
                    </p:cNvSpPr>
                    <p:nvPr/>
                  </p:nvSpPr>
                  <p:spPr bwMode="auto">
                    <a:xfrm>
                      <a:off x="4781551" y="2478088"/>
                      <a:ext cx="50800" cy="25400"/>
                    </a:xfrm>
                    <a:custGeom>
                      <a:avLst/>
                      <a:gdLst>
                        <a:gd name="T0" fmla="*/ 43 w 57"/>
                        <a:gd name="T1" fmla="*/ 0 h 29"/>
                        <a:gd name="T2" fmla="*/ 14 w 57"/>
                        <a:gd name="T3" fmla="*/ 0 h 29"/>
                        <a:gd name="T4" fmla="*/ 0 w 57"/>
                        <a:gd name="T5" fmla="*/ 15 h 29"/>
                        <a:gd name="T6" fmla="*/ 14 w 57"/>
                        <a:gd name="T7" fmla="*/ 29 h 29"/>
                        <a:gd name="T8" fmla="*/ 43 w 57"/>
                        <a:gd name="T9" fmla="*/ 29 h 29"/>
                        <a:gd name="T10" fmla="*/ 57 w 57"/>
                        <a:gd name="T11" fmla="*/ 15 h 29"/>
                        <a:gd name="T12" fmla="*/ 43 w 57"/>
                        <a:gd name="T13" fmla="*/ 0 h 2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57" h="29">
                          <a:moveTo>
                            <a:pt x="43" y="0"/>
                          </a:moveTo>
                          <a:cubicBezTo>
                            <a:pt x="14" y="0"/>
                            <a:pt x="14" y="0"/>
                            <a:pt x="14" y="0"/>
                          </a:cubicBezTo>
                          <a:cubicBezTo>
                            <a:pt x="6" y="0"/>
                            <a:pt x="0" y="7"/>
                            <a:pt x="0" y="15"/>
                          </a:cubicBezTo>
                          <a:cubicBezTo>
                            <a:pt x="0" y="23"/>
                            <a:pt x="6" y="29"/>
                            <a:pt x="14" y="29"/>
                          </a:cubicBezTo>
                          <a:cubicBezTo>
                            <a:pt x="43" y="29"/>
                            <a:pt x="43" y="29"/>
                            <a:pt x="43" y="29"/>
                          </a:cubicBezTo>
                          <a:cubicBezTo>
                            <a:pt x="51" y="29"/>
                            <a:pt x="57" y="23"/>
                            <a:pt x="57" y="15"/>
                          </a:cubicBezTo>
                          <a:cubicBezTo>
                            <a:pt x="57" y="7"/>
                            <a:pt x="51" y="0"/>
                            <a:pt x="43" y="0"/>
                          </a:cubicBezTo>
                          <a:close/>
                        </a:path>
                      </a:pathLst>
                    </a:custGeom>
                    <a:solidFill>
                      <a:srgbClr val="4D4D4F"/>
                    </a:solidFill>
                    <a:ln>
                      <a:noFill/>
                    </a:ln>
                    <a:extLst>
                      <a:ext uri="{91240B29-F687-4f45-9708-019B960494DF}">
                        <a14:hiddenLine xmlns=""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algn="l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200" b="0" i="0" u="none" strike="noStrike" kern="0" cap="none" spc="0" normalizeH="0" baseline="0" noProof="0" dirty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Arial"/>
                        <a:cs typeface=""/>
                      </a:endParaRPr>
                    </a:p>
                  </p:txBody>
                </p:sp>
                <p:sp>
                  <p:nvSpPr>
                    <p:cNvPr id="375" name="Freeform 34"/>
                    <p:cNvSpPr>
                      <a:spLocks/>
                    </p:cNvSpPr>
                    <p:nvPr/>
                  </p:nvSpPr>
                  <p:spPr bwMode="auto">
                    <a:xfrm>
                      <a:off x="4703763" y="2478088"/>
                      <a:ext cx="50800" cy="25400"/>
                    </a:xfrm>
                    <a:custGeom>
                      <a:avLst/>
                      <a:gdLst>
                        <a:gd name="T0" fmla="*/ 44 w 58"/>
                        <a:gd name="T1" fmla="*/ 0 h 29"/>
                        <a:gd name="T2" fmla="*/ 15 w 58"/>
                        <a:gd name="T3" fmla="*/ 0 h 29"/>
                        <a:gd name="T4" fmla="*/ 0 w 58"/>
                        <a:gd name="T5" fmla="*/ 15 h 29"/>
                        <a:gd name="T6" fmla="*/ 15 w 58"/>
                        <a:gd name="T7" fmla="*/ 29 h 29"/>
                        <a:gd name="T8" fmla="*/ 44 w 58"/>
                        <a:gd name="T9" fmla="*/ 29 h 29"/>
                        <a:gd name="T10" fmla="*/ 58 w 58"/>
                        <a:gd name="T11" fmla="*/ 15 h 29"/>
                        <a:gd name="T12" fmla="*/ 44 w 58"/>
                        <a:gd name="T13" fmla="*/ 0 h 2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58" h="29">
                          <a:moveTo>
                            <a:pt x="44" y="0"/>
                          </a:moveTo>
                          <a:cubicBezTo>
                            <a:pt x="15" y="0"/>
                            <a:pt x="15" y="0"/>
                            <a:pt x="15" y="0"/>
                          </a:cubicBezTo>
                          <a:cubicBezTo>
                            <a:pt x="7" y="0"/>
                            <a:pt x="0" y="7"/>
                            <a:pt x="0" y="15"/>
                          </a:cubicBezTo>
                          <a:cubicBezTo>
                            <a:pt x="0" y="23"/>
                            <a:pt x="7" y="29"/>
                            <a:pt x="15" y="29"/>
                          </a:cubicBezTo>
                          <a:cubicBezTo>
                            <a:pt x="44" y="29"/>
                            <a:pt x="44" y="29"/>
                            <a:pt x="44" y="29"/>
                          </a:cubicBezTo>
                          <a:cubicBezTo>
                            <a:pt x="51" y="29"/>
                            <a:pt x="58" y="23"/>
                            <a:pt x="58" y="15"/>
                          </a:cubicBezTo>
                          <a:cubicBezTo>
                            <a:pt x="58" y="7"/>
                            <a:pt x="51" y="0"/>
                            <a:pt x="44" y="0"/>
                          </a:cubicBezTo>
                          <a:close/>
                        </a:path>
                      </a:pathLst>
                    </a:custGeom>
                    <a:solidFill>
                      <a:srgbClr val="4D4D4F"/>
                    </a:solidFill>
                    <a:ln>
                      <a:noFill/>
                    </a:ln>
                    <a:extLst>
                      <a:ext uri="{91240B29-F687-4f45-9708-019B960494DF}">
                        <a14:hiddenLine xmlns=""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algn="l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200" b="0" i="0" u="none" strike="noStrike" kern="0" cap="none" spc="0" normalizeH="0" baseline="0" noProof="0" dirty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Arial"/>
                        <a:cs typeface=""/>
                      </a:endParaRPr>
                    </a:p>
                  </p:txBody>
                </p:sp>
                <p:sp>
                  <p:nvSpPr>
                    <p:cNvPr id="376" name="Freeform 35"/>
                    <p:cNvSpPr>
                      <a:spLocks/>
                    </p:cNvSpPr>
                    <p:nvPr/>
                  </p:nvSpPr>
                  <p:spPr bwMode="auto">
                    <a:xfrm>
                      <a:off x="4625976" y="2478088"/>
                      <a:ext cx="52388" cy="25400"/>
                    </a:xfrm>
                    <a:custGeom>
                      <a:avLst/>
                      <a:gdLst>
                        <a:gd name="T0" fmla="*/ 43 w 58"/>
                        <a:gd name="T1" fmla="*/ 0 h 29"/>
                        <a:gd name="T2" fmla="*/ 15 w 58"/>
                        <a:gd name="T3" fmla="*/ 0 h 29"/>
                        <a:gd name="T4" fmla="*/ 0 w 58"/>
                        <a:gd name="T5" fmla="*/ 15 h 29"/>
                        <a:gd name="T6" fmla="*/ 15 w 58"/>
                        <a:gd name="T7" fmla="*/ 29 h 29"/>
                        <a:gd name="T8" fmla="*/ 43 w 58"/>
                        <a:gd name="T9" fmla="*/ 29 h 29"/>
                        <a:gd name="T10" fmla="*/ 58 w 58"/>
                        <a:gd name="T11" fmla="*/ 15 h 29"/>
                        <a:gd name="T12" fmla="*/ 43 w 58"/>
                        <a:gd name="T13" fmla="*/ 0 h 2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58" h="29">
                          <a:moveTo>
                            <a:pt x="43" y="0"/>
                          </a:moveTo>
                          <a:cubicBezTo>
                            <a:pt x="15" y="0"/>
                            <a:pt x="15" y="0"/>
                            <a:pt x="15" y="0"/>
                          </a:cubicBezTo>
                          <a:cubicBezTo>
                            <a:pt x="7" y="0"/>
                            <a:pt x="0" y="7"/>
                            <a:pt x="0" y="15"/>
                          </a:cubicBezTo>
                          <a:cubicBezTo>
                            <a:pt x="0" y="23"/>
                            <a:pt x="7" y="29"/>
                            <a:pt x="15" y="29"/>
                          </a:cubicBezTo>
                          <a:cubicBezTo>
                            <a:pt x="43" y="29"/>
                            <a:pt x="43" y="29"/>
                            <a:pt x="43" y="29"/>
                          </a:cubicBezTo>
                          <a:cubicBezTo>
                            <a:pt x="51" y="29"/>
                            <a:pt x="58" y="23"/>
                            <a:pt x="58" y="15"/>
                          </a:cubicBezTo>
                          <a:cubicBezTo>
                            <a:pt x="58" y="7"/>
                            <a:pt x="51" y="0"/>
                            <a:pt x="43" y="0"/>
                          </a:cubicBezTo>
                          <a:close/>
                        </a:path>
                      </a:pathLst>
                    </a:custGeom>
                    <a:solidFill>
                      <a:srgbClr val="4D4D4F"/>
                    </a:solidFill>
                    <a:ln>
                      <a:noFill/>
                    </a:ln>
                    <a:extLst>
                      <a:ext uri="{91240B29-F687-4f45-9708-019B960494DF}">
                        <a14:hiddenLine xmlns=""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algn="l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200" b="0" i="0" u="none" strike="noStrike" kern="0" cap="none" spc="0" normalizeH="0" baseline="0" noProof="0" dirty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Arial"/>
                        <a:cs typeface=""/>
                      </a:endParaRPr>
                    </a:p>
                  </p:txBody>
                </p:sp>
                <p:sp>
                  <p:nvSpPr>
                    <p:cNvPr id="377" name="Freeform 38"/>
                    <p:cNvSpPr>
                      <a:spLocks/>
                    </p:cNvSpPr>
                    <p:nvPr/>
                  </p:nvSpPr>
                  <p:spPr bwMode="auto">
                    <a:xfrm>
                      <a:off x="4859338" y="2473325"/>
                      <a:ext cx="52388" cy="30163"/>
                    </a:xfrm>
                    <a:custGeom>
                      <a:avLst/>
                      <a:gdLst>
                        <a:gd name="T0" fmla="*/ 39 w 58"/>
                        <a:gd name="T1" fmla="*/ 2 h 34"/>
                        <a:gd name="T2" fmla="*/ 14 w 58"/>
                        <a:gd name="T3" fmla="*/ 5 h 34"/>
                        <a:gd name="T4" fmla="*/ 0 w 58"/>
                        <a:gd name="T5" fmla="*/ 20 h 34"/>
                        <a:gd name="T6" fmla="*/ 14 w 58"/>
                        <a:gd name="T7" fmla="*/ 34 h 34"/>
                        <a:gd name="T8" fmla="*/ 14 w 58"/>
                        <a:gd name="T9" fmla="*/ 34 h 34"/>
                        <a:gd name="T10" fmla="*/ 46 w 58"/>
                        <a:gd name="T11" fmla="*/ 30 h 34"/>
                        <a:gd name="T12" fmla="*/ 56 w 58"/>
                        <a:gd name="T13" fmla="*/ 12 h 34"/>
                        <a:gd name="T14" fmla="*/ 39 w 58"/>
                        <a:gd name="T15" fmla="*/ 2 h 3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</a:cxnLst>
                      <a:rect l="0" t="0" r="r" b="b"/>
                      <a:pathLst>
                        <a:path w="58" h="34">
                          <a:moveTo>
                            <a:pt x="39" y="2"/>
                          </a:moveTo>
                          <a:cubicBezTo>
                            <a:pt x="31" y="4"/>
                            <a:pt x="22" y="5"/>
                            <a:pt x="14" y="5"/>
                          </a:cubicBezTo>
                          <a:cubicBezTo>
                            <a:pt x="6" y="5"/>
                            <a:pt x="0" y="12"/>
                            <a:pt x="0" y="20"/>
                          </a:cubicBezTo>
                          <a:cubicBezTo>
                            <a:pt x="0" y="28"/>
                            <a:pt x="6" y="34"/>
                            <a:pt x="14" y="34"/>
                          </a:cubicBezTo>
                          <a:cubicBezTo>
                            <a:pt x="14" y="34"/>
                            <a:pt x="14" y="34"/>
                            <a:pt x="14" y="34"/>
                          </a:cubicBezTo>
                          <a:cubicBezTo>
                            <a:pt x="25" y="34"/>
                            <a:pt x="36" y="32"/>
                            <a:pt x="46" y="30"/>
                          </a:cubicBezTo>
                          <a:cubicBezTo>
                            <a:pt x="54" y="28"/>
                            <a:pt x="58" y="20"/>
                            <a:pt x="56" y="12"/>
                          </a:cubicBezTo>
                          <a:cubicBezTo>
                            <a:pt x="55" y="5"/>
                            <a:pt x="47" y="0"/>
                            <a:pt x="39" y="2"/>
                          </a:cubicBezTo>
                          <a:close/>
                        </a:path>
                      </a:pathLst>
                    </a:custGeom>
                    <a:solidFill>
                      <a:srgbClr val="4D4D4F"/>
                    </a:solidFill>
                    <a:ln>
                      <a:noFill/>
                    </a:ln>
                    <a:extLst>
                      <a:ext uri="{91240B29-F687-4f45-9708-019B960494DF}">
                        <a14:hiddenLine xmlns=""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algn="l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200" b="0" i="0" u="none" strike="noStrike" kern="0" cap="none" spc="0" normalizeH="0" baseline="0" noProof="0" dirty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Arial"/>
                        <a:cs typeface=""/>
                      </a:endParaRPr>
                    </a:p>
                  </p:txBody>
                </p:sp>
              </p:grpSp>
              <p:sp>
                <p:nvSpPr>
                  <p:cNvPr id="354" name="Freeform 12"/>
                  <p:cNvSpPr>
                    <a:spLocks noEditPoints="1"/>
                  </p:cNvSpPr>
                  <p:nvPr/>
                </p:nvSpPr>
                <p:spPr bwMode="auto">
                  <a:xfrm>
                    <a:off x="5406483" y="2446478"/>
                    <a:ext cx="214941" cy="191168"/>
                  </a:xfrm>
                  <a:custGeom>
                    <a:avLst/>
                    <a:gdLst>
                      <a:gd name="T0" fmla="*/ 419 w 494"/>
                      <a:gd name="T1" fmla="*/ 299 h 448"/>
                      <a:gd name="T2" fmla="*/ 403 w 494"/>
                      <a:gd name="T3" fmla="*/ 301 h 448"/>
                      <a:gd name="T4" fmla="*/ 302 w 494"/>
                      <a:gd name="T5" fmla="*/ 126 h 448"/>
                      <a:gd name="T6" fmla="*/ 322 w 494"/>
                      <a:gd name="T7" fmla="*/ 75 h 448"/>
                      <a:gd name="T8" fmla="*/ 247 w 494"/>
                      <a:gd name="T9" fmla="*/ 0 h 448"/>
                      <a:gd name="T10" fmla="*/ 173 w 494"/>
                      <a:gd name="T11" fmla="*/ 75 h 448"/>
                      <a:gd name="T12" fmla="*/ 193 w 494"/>
                      <a:gd name="T13" fmla="*/ 126 h 448"/>
                      <a:gd name="T14" fmla="*/ 91 w 494"/>
                      <a:gd name="T15" fmla="*/ 301 h 448"/>
                      <a:gd name="T16" fmla="*/ 75 w 494"/>
                      <a:gd name="T17" fmla="*/ 299 h 448"/>
                      <a:gd name="T18" fmla="*/ 0 w 494"/>
                      <a:gd name="T19" fmla="*/ 373 h 448"/>
                      <a:gd name="T20" fmla="*/ 75 w 494"/>
                      <a:gd name="T21" fmla="*/ 448 h 448"/>
                      <a:gd name="T22" fmla="*/ 146 w 494"/>
                      <a:gd name="T23" fmla="*/ 395 h 448"/>
                      <a:gd name="T24" fmla="*/ 349 w 494"/>
                      <a:gd name="T25" fmla="*/ 395 h 448"/>
                      <a:gd name="T26" fmla="*/ 419 w 494"/>
                      <a:gd name="T27" fmla="*/ 448 h 448"/>
                      <a:gd name="T28" fmla="*/ 494 w 494"/>
                      <a:gd name="T29" fmla="*/ 373 h 448"/>
                      <a:gd name="T30" fmla="*/ 419 w 494"/>
                      <a:gd name="T31" fmla="*/ 299 h 448"/>
                      <a:gd name="T32" fmla="*/ 349 w 494"/>
                      <a:gd name="T33" fmla="*/ 351 h 448"/>
                      <a:gd name="T34" fmla="*/ 146 w 494"/>
                      <a:gd name="T35" fmla="*/ 351 h 448"/>
                      <a:gd name="T36" fmla="*/ 130 w 494"/>
                      <a:gd name="T37" fmla="*/ 323 h 448"/>
                      <a:gd name="T38" fmla="*/ 231 w 494"/>
                      <a:gd name="T39" fmla="*/ 148 h 448"/>
                      <a:gd name="T40" fmla="*/ 247 w 494"/>
                      <a:gd name="T41" fmla="*/ 150 h 448"/>
                      <a:gd name="T42" fmla="*/ 264 w 494"/>
                      <a:gd name="T43" fmla="*/ 148 h 448"/>
                      <a:gd name="T44" fmla="*/ 365 w 494"/>
                      <a:gd name="T45" fmla="*/ 323 h 448"/>
                      <a:gd name="T46" fmla="*/ 349 w 494"/>
                      <a:gd name="T47" fmla="*/ 351 h 44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</a:cxnLst>
                    <a:rect l="0" t="0" r="r" b="b"/>
                    <a:pathLst>
                      <a:path w="494" h="448">
                        <a:moveTo>
                          <a:pt x="419" y="299"/>
                        </a:moveTo>
                        <a:cubicBezTo>
                          <a:pt x="414" y="299"/>
                          <a:pt x="408" y="300"/>
                          <a:pt x="403" y="301"/>
                        </a:cubicBezTo>
                        <a:cubicBezTo>
                          <a:pt x="302" y="126"/>
                          <a:pt x="302" y="126"/>
                          <a:pt x="302" y="126"/>
                        </a:cubicBezTo>
                        <a:cubicBezTo>
                          <a:pt x="314" y="112"/>
                          <a:pt x="322" y="95"/>
                          <a:pt x="322" y="75"/>
                        </a:cubicBezTo>
                        <a:cubicBezTo>
                          <a:pt x="322" y="34"/>
                          <a:pt x="288" y="0"/>
                          <a:pt x="247" y="0"/>
                        </a:cubicBezTo>
                        <a:cubicBezTo>
                          <a:pt x="206" y="0"/>
                          <a:pt x="173" y="34"/>
                          <a:pt x="173" y="75"/>
                        </a:cubicBezTo>
                        <a:cubicBezTo>
                          <a:pt x="173" y="95"/>
                          <a:pt x="180" y="112"/>
                          <a:pt x="193" y="126"/>
                        </a:cubicBezTo>
                        <a:cubicBezTo>
                          <a:pt x="91" y="301"/>
                          <a:pt x="91" y="301"/>
                          <a:pt x="91" y="301"/>
                        </a:cubicBezTo>
                        <a:cubicBezTo>
                          <a:pt x="86" y="300"/>
                          <a:pt x="81" y="299"/>
                          <a:pt x="75" y="299"/>
                        </a:cubicBezTo>
                        <a:cubicBezTo>
                          <a:pt x="34" y="299"/>
                          <a:pt x="0" y="332"/>
                          <a:pt x="0" y="373"/>
                        </a:cubicBezTo>
                        <a:cubicBezTo>
                          <a:pt x="0" y="415"/>
                          <a:pt x="34" y="448"/>
                          <a:pt x="75" y="448"/>
                        </a:cubicBezTo>
                        <a:cubicBezTo>
                          <a:pt x="108" y="448"/>
                          <a:pt x="136" y="426"/>
                          <a:pt x="146" y="395"/>
                        </a:cubicBezTo>
                        <a:cubicBezTo>
                          <a:pt x="349" y="395"/>
                          <a:pt x="349" y="395"/>
                          <a:pt x="349" y="395"/>
                        </a:cubicBezTo>
                        <a:cubicBezTo>
                          <a:pt x="358" y="426"/>
                          <a:pt x="386" y="448"/>
                          <a:pt x="419" y="448"/>
                        </a:cubicBezTo>
                        <a:cubicBezTo>
                          <a:pt x="461" y="448"/>
                          <a:pt x="494" y="415"/>
                          <a:pt x="494" y="373"/>
                        </a:cubicBezTo>
                        <a:cubicBezTo>
                          <a:pt x="494" y="332"/>
                          <a:pt x="461" y="299"/>
                          <a:pt x="419" y="299"/>
                        </a:cubicBezTo>
                        <a:close/>
                        <a:moveTo>
                          <a:pt x="349" y="351"/>
                        </a:moveTo>
                        <a:cubicBezTo>
                          <a:pt x="146" y="351"/>
                          <a:pt x="146" y="351"/>
                          <a:pt x="146" y="351"/>
                        </a:cubicBezTo>
                        <a:cubicBezTo>
                          <a:pt x="142" y="341"/>
                          <a:pt x="137" y="331"/>
                          <a:pt x="130" y="323"/>
                        </a:cubicBezTo>
                        <a:cubicBezTo>
                          <a:pt x="231" y="148"/>
                          <a:pt x="231" y="148"/>
                          <a:pt x="231" y="148"/>
                        </a:cubicBezTo>
                        <a:cubicBezTo>
                          <a:pt x="236" y="149"/>
                          <a:pt x="242" y="150"/>
                          <a:pt x="247" y="150"/>
                        </a:cubicBezTo>
                        <a:cubicBezTo>
                          <a:pt x="253" y="150"/>
                          <a:pt x="258" y="149"/>
                          <a:pt x="264" y="148"/>
                        </a:cubicBezTo>
                        <a:cubicBezTo>
                          <a:pt x="365" y="323"/>
                          <a:pt x="365" y="323"/>
                          <a:pt x="365" y="323"/>
                        </a:cubicBezTo>
                        <a:cubicBezTo>
                          <a:pt x="358" y="331"/>
                          <a:pt x="352" y="341"/>
                          <a:pt x="349" y="351"/>
                        </a:cubicBezTo>
                        <a:close/>
                      </a:path>
                    </a:pathLst>
                  </a:custGeom>
                  <a:solidFill>
                    <a:sysClr val="window" lastClr="FFFFFF"/>
                  </a:solidFill>
                  <a:ln>
                    <a:noFill/>
                  </a:ln>
                  <a:extLst/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200" b="0" i="0" u="none" strike="noStrike" kern="0" cap="none" spc="0" normalizeH="0" baseline="0" noProof="0" dirty="0" smtClean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rial"/>
                      <a:cs typeface=""/>
                    </a:endParaRPr>
                  </a:p>
                </p:txBody>
              </p:sp>
            </p:grpSp>
            <p:sp>
              <p:nvSpPr>
                <p:cNvPr id="351" name="Rounded Rectangle 350"/>
                <p:cNvSpPr/>
                <p:nvPr/>
              </p:nvSpPr>
              <p:spPr>
                <a:xfrm>
                  <a:off x="5352784" y="2386601"/>
                  <a:ext cx="308105" cy="310923"/>
                </a:xfrm>
                <a:prstGeom prst="roundRect">
                  <a:avLst/>
                </a:prstGeom>
                <a:solidFill>
                  <a:srgbClr val="4F81BD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smtClean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/>
                    <a:ea typeface=""/>
                    <a:cs typeface=""/>
                  </a:endParaRPr>
                </a:p>
              </p:txBody>
            </p:sp>
            <p:sp>
              <p:nvSpPr>
                <p:cNvPr id="352" name="Freeform 12"/>
                <p:cNvSpPr>
                  <a:spLocks noEditPoints="1"/>
                </p:cNvSpPr>
                <p:nvPr/>
              </p:nvSpPr>
              <p:spPr bwMode="auto">
                <a:xfrm>
                  <a:off x="5388323" y="2435434"/>
                  <a:ext cx="214941" cy="191168"/>
                </a:xfrm>
                <a:custGeom>
                  <a:avLst/>
                  <a:gdLst>
                    <a:gd name="T0" fmla="*/ 419 w 494"/>
                    <a:gd name="T1" fmla="*/ 299 h 448"/>
                    <a:gd name="T2" fmla="*/ 403 w 494"/>
                    <a:gd name="T3" fmla="*/ 301 h 448"/>
                    <a:gd name="T4" fmla="*/ 302 w 494"/>
                    <a:gd name="T5" fmla="*/ 126 h 448"/>
                    <a:gd name="T6" fmla="*/ 322 w 494"/>
                    <a:gd name="T7" fmla="*/ 75 h 448"/>
                    <a:gd name="T8" fmla="*/ 247 w 494"/>
                    <a:gd name="T9" fmla="*/ 0 h 448"/>
                    <a:gd name="T10" fmla="*/ 173 w 494"/>
                    <a:gd name="T11" fmla="*/ 75 h 448"/>
                    <a:gd name="T12" fmla="*/ 193 w 494"/>
                    <a:gd name="T13" fmla="*/ 126 h 448"/>
                    <a:gd name="T14" fmla="*/ 91 w 494"/>
                    <a:gd name="T15" fmla="*/ 301 h 448"/>
                    <a:gd name="T16" fmla="*/ 75 w 494"/>
                    <a:gd name="T17" fmla="*/ 299 h 448"/>
                    <a:gd name="T18" fmla="*/ 0 w 494"/>
                    <a:gd name="T19" fmla="*/ 373 h 448"/>
                    <a:gd name="T20" fmla="*/ 75 w 494"/>
                    <a:gd name="T21" fmla="*/ 448 h 448"/>
                    <a:gd name="T22" fmla="*/ 146 w 494"/>
                    <a:gd name="T23" fmla="*/ 395 h 448"/>
                    <a:gd name="T24" fmla="*/ 349 w 494"/>
                    <a:gd name="T25" fmla="*/ 395 h 448"/>
                    <a:gd name="T26" fmla="*/ 419 w 494"/>
                    <a:gd name="T27" fmla="*/ 448 h 448"/>
                    <a:gd name="T28" fmla="*/ 494 w 494"/>
                    <a:gd name="T29" fmla="*/ 373 h 448"/>
                    <a:gd name="T30" fmla="*/ 419 w 494"/>
                    <a:gd name="T31" fmla="*/ 299 h 448"/>
                    <a:gd name="T32" fmla="*/ 349 w 494"/>
                    <a:gd name="T33" fmla="*/ 351 h 448"/>
                    <a:gd name="T34" fmla="*/ 146 w 494"/>
                    <a:gd name="T35" fmla="*/ 351 h 448"/>
                    <a:gd name="T36" fmla="*/ 130 w 494"/>
                    <a:gd name="T37" fmla="*/ 323 h 448"/>
                    <a:gd name="T38" fmla="*/ 231 w 494"/>
                    <a:gd name="T39" fmla="*/ 148 h 448"/>
                    <a:gd name="T40" fmla="*/ 247 w 494"/>
                    <a:gd name="T41" fmla="*/ 150 h 448"/>
                    <a:gd name="T42" fmla="*/ 264 w 494"/>
                    <a:gd name="T43" fmla="*/ 148 h 448"/>
                    <a:gd name="T44" fmla="*/ 365 w 494"/>
                    <a:gd name="T45" fmla="*/ 323 h 448"/>
                    <a:gd name="T46" fmla="*/ 349 w 494"/>
                    <a:gd name="T47" fmla="*/ 351 h 44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</a:cxnLst>
                  <a:rect l="0" t="0" r="r" b="b"/>
                  <a:pathLst>
                    <a:path w="494" h="448">
                      <a:moveTo>
                        <a:pt x="419" y="299"/>
                      </a:moveTo>
                      <a:cubicBezTo>
                        <a:pt x="414" y="299"/>
                        <a:pt x="408" y="300"/>
                        <a:pt x="403" y="301"/>
                      </a:cubicBezTo>
                      <a:cubicBezTo>
                        <a:pt x="302" y="126"/>
                        <a:pt x="302" y="126"/>
                        <a:pt x="302" y="126"/>
                      </a:cubicBezTo>
                      <a:cubicBezTo>
                        <a:pt x="314" y="112"/>
                        <a:pt x="322" y="95"/>
                        <a:pt x="322" y="75"/>
                      </a:cubicBezTo>
                      <a:cubicBezTo>
                        <a:pt x="322" y="34"/>
                        <a:pt x="288" y="0"/>
                        <a:pt x="247" y="0"/>
                      </a:cubicBezTo>
                      <a:cubicBezTo>
                        <a:pt x="206" y="0"/>
                        <a:pt x="173" y="34"/>
                        <a:pt x="173" y="75"/>
                      </a:cubicBezTo>
                      <a:cubicBezTo>
                        <a:pt x="173" y="95"/>
                        <a:pt x="180" y="112"/>
                        <a:pt x="193" y="126"/>
                      </a:cubicBezTo>
                      <a:cubicBezTo>
                        <a:pt x="91" y="301"/>
                        <a:pt x="91" y="301"/>
                        <a:pt x="91" y="301"/>
                      </a:cubicBezTo>
                      <a:cubicBezTo>
                        <a:pt x="86" y="300"/>
                        <a:pt x="81" y="299"/>
                        <a:pt x="75" y="299"/>
                      </a:cubicBezTo>
                      <a:cubicBezTo>
                        <a:pt x="34" y="299"/>
                        <a:pt x="0" y="332"/>
                        <a:pt x="0" y="373"/>
                      </a:cubicBezTo>
                      <a:cubicBezTo>
                        <a:pt x="0" y="415"/>
                        <a:pt x="34" y="448"/>
                        <a:pt x="75" y="448"/>
                      </a:cubicBezTo>
                      <a:cubicBezTo>
                        <a:pt x="108" y="448"/>
                        <a:pt x="136" y="426"/>
                        <a:pt x="146" y="395"/>
                      </a:cubicBezTo>
                      <a:cubicBezTo>
                        <a:pt x="349" y="395"/>
                        <a:pt x="349" y="395"/>
                        <a:pt x="349" y="395"/>
                      </a:cubicBezTo>
                      <a:cubicBezTo>
                        <a:pt x="358" y="426"/>
                        <a:pt x="386" y="448"/>
                        <a:pt x="419" y="448"/>
                      </a:cubicBezTo>
                      <a:cubicBezTo>
                        <a:pt x="461" y="448"/>
                        <a:pt x="494" y="415"/>
                        <a:pt x="494" y="373"/>
                      </a:cubicBezTo>
                      <a:cubicBezTo>
                        <a:pt x="494" y="332"/>
                        <a:pt x="461" y="299"/>
                        <a:pt x="419" y="299"/>
                      </a:cubicBezTo>
                      <a:close/>
                      <a:moveTo>
                        <a:pt x="349" y="351"/>
                      </a:moveTo>
                      <a:cubicBezTo>
                        <a:pt x="146" y="351"/>
                        <a:pt x="146" y="351"/>
                        <a:pt x="146" y="351"/>
                      </a:cubicBezTo>
                      <a:cubicBezTo>
                        <a:pt x="142" y="341"/>
                        <a:pt x="137" y="331"/>
                        <a:pt x="130" y="323"/>
                      </a:cubicBezTo>
                      <a:cubicBezTo>
                        <a:pt x="231" y="148"/>
                        <a:pt x="231" y="148"/>
                        <a:pt x="231" y="148"/>
                      </a:cubicBezTo>
                      <a:cubicBezTo>
                        <a:pt x="236" y="149"/>
                        <a:pt x="242" y="150"/>
                        <a:pt x="247" y="150"/>
                      </a:cubicBezTo>
                      <a:cubicBezTo>
                        <a:pt x="253" y="150"/>
                        <a:pt x="258" y="149"/>
                        <a:pt x="264" y="148"/>
                      </a:cubicBezTo>
                      <a:cubicBezTo>
                        <a:pt x="365" y="323"/>
                        <a:pt x="365" y="323"/>
                        <a:pt x="365" y="323"/>
                      </a:cubicBezTo>
                      <a:cubicBezTo>
                        <a:pt x="358" y="331"/>
                        <a:pt x="352" y="341"/>
                        <a:pt x="349" y="351"/>
                      </a:cubicBezTo>
                      <a:close/>
                    </a:path>
                  </a:pathLst>
                </a:custGeom>
                <a:solidFill>
                  <a:sysClr val="window" lastClr="FFFFFF"/>
                </a:solidFill>
                <a:ln>
                  <a:noFill/>
                </a:ln>
                <a:extLst/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2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/>
                    <a:cs typeface=""/>
                  </a:endParaRPr>
                </a:p>
              </p:txBody>
            </p:sp>
          </p:grpSp>
          <p:grpSp>
            <p:nvGrpSpPr>
              <p:cNvPr id="292" name="Group 291"/>
              <p:cNvGrpSpPr/>
              <p:nvPr/>
            </p:nvGrpSpPr>
            <p:grpSpPr>
              <a:xfrm>
                <a:off x="3859092" y="3040864"/>
                <a:ext cx="309858" cy="281520"/>
                <a:chOff x="5310724" y="2352924"/>
                <a:chExt cx="398754" cy="374816"/>
              </a:xfrm>
            </p:grpSpPr>
            <p:grpSp>
              <p:nvGrpSpPr>
                <p:cNvPr id="322" name="Group 321"/>
                <p:cNvGrpSpPr/>
                <p:nvPr/>
              </p:nvGrpSpPr>
              <p:grpSpPr>
                <a:xfrm>
                  <a:off x="5310724" y="2352924"/>
                  <a:ext cx="398754" cy="374816"/>
                  <a:chOff x="5310724" y="2352924"/>
                  <a:chExt cx="398754" cy="374816"/>
                </a:xfrm>
              </p:grpSpPr>
              <p:grpSp>
                <p:nvGrpSpPr>
                  <p:cNvPr id="325" name="Group 324"/>
                  <p:cNvGrpSpPr/>
                  <p:nvPr/>
                </p:nvGrpSpPr>
                <p:grpSpPr>
                  <a:xfrm rot="5400000">
                    <a:off x="5322693" y="2340955"/>
                    <a:ext cx="374816" cy="398754"/>
                    <a:chOff x="4471988" y="1985963"/>
                    <a:chExt cx="527051" cy="517525"/>
                  </a:xfrm>
                </p:grpSpPr>
                <p:sp>
                  <p:nvSpPr>
                    <p:cNvPr id="327" name="Freeform 13"/>
                    <p:cNvSpPr>
                      <a:spLocks/>
                    </p:cNvSpPr>
                    <p:nvPr/>
                  </p:nvSpPr>
                  <p:spPr bwMode="auto">
                    <a:xfrm>
                      <a:off x="4471988" y="2117725"/>
                      <a:ext cx="25400" cy="50800"/>
                    </a:xfrm>
                    <a:custGeom>
                      <a:avLst/>
                      <a:gdLst>
                        <a:gd name="T0" fmla="*/ 14 w 29"/>
                        <a:gd name="T1" fmla="*/ 57 h 57"/>
                        <a:gd name="T2" fmla="*/ 29 w 29"/>
                        <a:gd name="T3" fmla="*/ 43 h 57"/>
                        <a:gd name="T4" fmla="*/ 29 w 29"/>
                        <a:gd name="T5" fmla="*/ 14 h 57"/>
                        <a:gd name="T6" fmla="*/ 14 w 29"/>
                        <a:gd name="T7" fmla="*/ 0 h 57"/>
                        <a:gd name="T8" fmla="*/ 0 w 29"/>
                        <a:gd name="T9" fmla="*/ 14 h 57"/>
                        <a:gd name="T10" fmla="*/ 0 w 29"/>
                        <a:gd name="T11" fmla="*/ 43 h 57"/>
                        <a:gd name="T12" fmla="*/ 14 w 29"/>
                        <a:gd name="T13" fmla="*/ 57 h 5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29" h="57">
                          <a:moveTo>
                            <a:pt x="14" y="57"/>
                          </a:moveTo>
                          <a:cubicBezTo>
                            <a:pt x="22" y="57"/>
                            <a:pt x="29" y="51"/>
                            <a:pt x="29" y="43"/>
                          </a:cubicBezTo>
                          <a:cubicBezTo>
                            <a:pt x="29" y="14"/>
                            <a:pt x="29" y="14"/>
                            <a:pt x="29" y="14"/>
                          </a:cubicBezTo>
                          <a:cubicBezTo>
                            <a:pt x="29" y="6"/>
                            <a:pt x="22" y="0"/>
                            <a:pt x="14" y="0"/>
                          </a:cubicBezTo>
                          <a:cubicBezTo>
                            <a:pt x="7" y="0"/>
                            <a:pt x="0" y="6"/>
                            <a:pt x="0" y="14"/>
                          </a:cubicBezTo>
                          <a:cubicBezTo>
                            <a:pt x="0" y="43"/>
                            <a:pt x="0" y="43"/>
                            <a:pt x="0" y="43"/>
                          </a:cubicBezTo>
                          <a:cubicBezTo>
                            <a:pt x="0" y="51"/>
                            <a:pt x="7" y="57"/>
                            <a:pt x="14" y="57"/>
                          </a:cubicBezTo>
                          <a:close/>
                        </a:path>
                      </a:pathLst>
                    </a:custGeom>
                    <a:solidFill>
                      <a:srgbClr val="4D4D4F"/>
                    </a:solidFill>
                    <a:ln>
                      <a:noFill/>
                    </a:ln>
                    <a:extLst>
                      <a:ext uri="{91240B29-F687-4f45-9708-019B960494DF}">
                        <a14:hiddenLine xmlns=""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algn="l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200" b="0" i="0" u="none" strike="noStrike" kern="0" cap="none" spc="0" normalizeH="0" baseline="0" noProof="0" dirty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Arial"/>
                        <a:cs typeface=""/>
                      </a:endParaRPr>
                    </a:p>
                  </p:txBody>
                </p:sp>
                <p:sp>
                  <p:nvSpPr>
                    <p:cNvPr id="328" name="Freeform 14"/>
                    <p:cNvSpPr>
                      <a:spLocks/>
                    </p:cNvSpPr>
                    <p:nvPr/>
                  </p:nvSpPr>
                  <p:spPr bwMode="auto">
                    <a:xfrm>
                      <a:off x="4471988" y="2271713"/>
                      <a:ext cx="25400" cy="52388"/>
                    </a:xfrm>
                    <a:custGeom>
                      <a:avLst/>
                      <a:gdLst>
                        <a:gd name="T0" fmla="*/ 14 w 29"/>
                        <a:gd name="T1" fmla="*/ 58 h 58"/>
                        <a:gd name="T2" fmla="*/ 29 w 29"/>
                        <a:gd name="T3" fmla="*/ 43 h 58"/>
                        <a:gd name="T4" fmla="*/ 29 w 29"/>
                        <a:gd name="T5" fmla="*/ 15 h 58"/>
                        <a:gd name="T6" fmla="*/ 14 w 29"/>
                        <a:gd name="T7" fmla="*/ 0 h 58"/>
                        <a:gd name="T8" fmla="*/ 0 w 29"/>
                        <a:gd name="T9" fmla="*/ 15 h 58"/>
                        <a:gd name="T10" fmla="*/ 0 w 29"/>
                        <a:gd name="T11" fmla="*/ 43 h 58"/>
                        <a:gd name="T12" fmla="*/ 14 w 29"/>
                        <a:gd name="T13" fmla="*/ 58 h 5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29" h="58">
                          <a:moveTo>
                            <a:pt x="14" y="58"/>
                          </a:moveTo>
                          <a:cubicBezTo>
                            <a:pt x="22" y="58"/>
                            <a:pt x="29" y="51"/>
                            <a:pt x="29" y="43"/>
                          </a:cubicBezTo>
                          <a:cubicBezTo>
                            <a:pt x="29" y="15"/>
                            <a:pt x="29" y="15"/>
                            <a:pt x="29" y="15"/>
                          </a:cubicBezTo>
                          <a:cubicBezTo>
                            <a:pt x="29" y="7"/>
                            <a:pt x="22" y="0"/>
                            <a:pt x="14" y="0"/>
                          </a:cubicBezTo>
                          <a:cubicBezTo>
                            <a:pt x="7" y="0"/>
                            <a:pt x="0" y="7"/>
                            <a:pt x="0" y="15"/>
                          </a:cubicBezTo>
                          <a:cubicBezTo>
                            <a:pt x="0" y="43"/>
                            <a:pt x="0" y="43"/>
                            <a:pt x="0" y="43"/>
                          </a:cubicBezTo>
                          <a:cubicBezTo>
                            <a:pt x="0" y="51"/>
                            <a:pt x="7" y="58"/>
                            <a:pt x="14" y="58"/>
                          </a:cubicBezTo>
                          <a:close/>
                        </a:path>
                      </a:pathLst>
                    </a:custGeom>
                    <a:solidFill>
                      <a:srgbClr val="4D4D4F"/>
                    </a:solidFill>
                    <a:ln>
                      <a:noFill/>
                    </a:ln>
                    <a:extLst>
                      <a:ext uri="{91240B29-F687-4f45-9708-019B960494DF}">
                        <a14:hiddenLine xmlns=""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algn="l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200" b="0" i="0" u="none" strike="noStrike" kern="0" cap="none" spc="0" normalizeH="0" baseline="0" noProof="0" dirty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Arial"/>
                        <a:cs typeface=""/>
                      </a:endParaRPr>
                    </a:p>
                  </p:txBody>
                </p:sp>
                <p:sp>
                  <p:nvSpPr>
                    <p:cNvPr id="329" name="Freeform 15"/>
                    <p:cNvSpPr>
                      <a:spLocks/>
                    </p:cNvSpPr>
                    <p:nvPr/>
                  </p:nvSpPr>
                  <p:spPr bwMode="auto">
                    <a:xfrm>
                      <a:off x="4487863" y="2422525"/>
                      <a:ext cx="44450" cy="47625"/>
                    </a:xfrm>
                    <a:custGeom>
                      <a:avLst/>
                      <a:gdLst>
                        <a:gd name="T0" fmla="*/ 29 w 50"/>
                        <a:gd name="T1" fmla="*/ 8 h 53"/>
                        <a:gd name="T2" fmla="*/ 9 w 50"/>
                        <a:gd name="T3" fmla="*/ 4 h 53"/>
                        <a:gd name="T4" fmla="*/ 4 w 50"/>
                        <a:gd name="T5" fmla="*/ 24 h 53"/>
                        <a:gd name="T6" fmla="*/ 24 w 50"/>
                        <a:gd name="T7" fmla="*/ 49 h 53"/>
                        <a:gd name="T8" fmla="*/ 34 w 50"/>
                        <a:gd name="T9" fmla="*/ 53 h 53"/>
                        <a:gd name="T10" fmla="*/ 45 w 50"/>
                        <a:gd name="T11" fmla="*/ 49 h 53"/>
                        <a:gd name="T12" fmla="*/ 45 w 50"/>
                        <a:gd name="T13" fmla="*/ 28 h 53"/>
                        <a:gd name="T14" fmla="*/ 29 w 50"/>
                        <a:gd name="T15" fmla="*/ 8 h 5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</a:cxnLst>
                      <a:rect l="0" t="0" r="r" b="b"/>
                      <a:pathLst>
                        <a:path w="50" h="53">
                          <a:moveTo>
                            <a:pt x="29" y="8"/>
                          </a:moveTo>
                          <a:cubicBezTo>
                            <a:pt x="24" y="2"/>
                            <a:pt x="15" y="0"/>
                            <a:pt x="9" y="4"/>
                          </a:cubicBezTo>
                          <a:cubicBezTo>
                            <a:pt x="2" y="8"/>
                            <a:pt x="0" y="17"/>
                            <a:pt x="4" y="24"/>
                          </a:cubicBezTo>
                          <a:cubicBezTo>
                            <a:pt x="10" y="33"/>
                            <a:pt x="17" y="41"/>
                            <a:pt x="24" y="49"/>
                          </a:cubicBezTo>
                          <a:cubicBezTo>
                            <a:pt x="27" y="51"/>
                            <a:pt x="31" y="53"/>
                            <a:pt x="34" y="53"/>
                          </a:cubicBezTo>
                          <a:cubicBezTo>
                            <a:pt x="38" y="53"/>
                            <a:pt x="42" y="51"/>
                            <a:pt x="45" y="49"/>
                          </a:cubicBezTo>
                          <a:cubicBezTo>
                            <a:pt x="50" y="43"/>
                            <a:pt x="50" y="34"/>
                            <a:pt x="45" y="28"/>
                          </a:cubicBezTo>
                          <a:cubicBezTo>
                            <a:pt x="39" y="22"/>
                            <a:pt x="33" y="15"/>
                            <a:pt x="29" y="8"/>
                          </a:cubicBezTo>
                          <a:close/>
                        </a:path>
                      </a:pathLst>
                    </a:custGeom>
                    <a:solidFill>
                      <a:srgbClr val="4D4D4F"/>
                    </a:solidFill>
                    <a:ln>
                      <a:noFill/>
                    </a:ln>
                    <a:extLst>
                      <a:ext uri="{91240B29-F687-4f45-9708-019B960494DF}">
                        <a14:hiddenLine xmlns=""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algn="l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200" b="0" i="0" u="none" strike="noStrike" kern="0" cap="none" spc="0" normalizeH="0" baseline="0" noProof="0" dirty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Arial"/>
                        <a:cs typeface=""/>
                      </a:endParaRPr>
                    </a:p>
                  </p:txBody>
                </p:sp>
                <p:sp>
                  <p:nvSpPr>
                    <p:cNvPr id="330" name="Freeform 16"/>
                    <p:cNvSpPr>
                      <a:spLocks/>
                    </p:cNvSpPr>
                    <p:nvPr/>
                  </p:nvSpPr>
                  <p:spPr bwMode="auto">
                    <a:xfrm>
                      <a:off x="4471988" y="2193925"/>
                      <a:ext cx="25400" cy="52388"/>
                    </a:xfrm>
                    <a:custGeom>
                      <a:avLst/>
                      <a:gdLst>
                        <a:gd name="T0" fmla="*/ 14 w 29"/>
                        <a:gd name="T1" fmla="*/ 58 h 58"/>
                        <a:gd name="T2" fmla="*/ 29 w 29"/>
                        <a:gd name="T3" fmla="*/ 43 h 58"/>
                        <a:gd name="T4" fmla="*/ 29 w 29"/>
                        <a:gd name="T5" fmla="*/ 14 h 58"/>
                        <a:gd name="T6" fmla="*/ 14 w 29"/>
                        <a:gd name="T7" fmla="*/ 0 h 58"/>
                        <a:gd name="T8" fmla="*/ 0 w 29"/>
                        <a:gd name="T9" fmla="*/ 14 h 58"/>
                        <a:gd name="T10" fmla="*/ 0 w 29"/>
                        <a:gd name="T11" fmla="*/ 43 h 58"/>
                        <a:gd name="T12" fmla="*/ 14 w 29"/>
                        <a:gd name="T13" fmla="*/ 58 h 5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29" h="58">
                          <a:moveTo>
                            <a:pt x="14" y="58"/>
                          </a:moveTo>
                          <a:cubicBezTo>
                            <a:pt x="22" y="58"/>
                            <a:pt x="29" y="51"/>
                            <a:pt x="29" y="43"/>
                          </a:cubicBezTo>
                          <a:cubicBezTo>
                            <a:pt x="29" y="14"/>
                            <a:pt x="29" y="14"/>
                            <a:pt x="29" y="14"/>
                          </a:cubicBezTo>
                          <a:cubicBezTo>
                            <a:pt x="29" y="6"/>
                            <a:pt x="22" y="0"/>
                            <a:pt x="14" y="0"/>
                          </a:cubicBezTo>
                          <a:cubicBezTo>
                            <a:pt x="7" y="0"/>
                            <a:pt x="0" y="6"/>
                            <a:pt x="0" y="14"/>
                          </a:cubicBezTo>
                          <a:cubicBezTo>
                            <a:pt x="0" y="43"/>
                            <a:pt x="0" y="43"/>
                            <a:pt x="0" y="43"/>
                          </a:cubicBezTo>
                          <a:cubicBezTo>
                            <a:pt x="0" y="51"/>
                            <a:pt x="7" y="58"/>
                            <a:pt x="14" y="58"/>
                          </a:cubicBezTo>
                          <a:close/>
                        </a:path>
                      </a:pathLst>
                    </a:custGeom>
                    <a:solidFill>
                      <a:srgbClr val="4D4D4F"/>
                    </a:solidFill>
                    <a:ln>
                      <a:noFill/>
                    </a:ln>
                    <a:extLst>
                      <a:ext uri="{91240B29-F687-4f45-9708-019B960494DF}">
                        <a14:hiddenLine xmlns=""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algn="l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200" b="0" i="0" u="none" strike="noStrike" kern="0" cap="none" spc="0" normalizeH="0" baseline="0" noProof="0" dirty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Arial"/>
                        <a:cs typeface=""/>
                      </a:endParaRPr>
                    </a:p>
                  </p:txBody>
                </p:sp>
                <p:sp>
                  <p:nvSpPr>
                    <p:cNvPr id="331" name="Freeform 17"/>
                    <p:cNvSpPr>
                      <a:spLocks/>
                    </p:cNvSpPr>
                    <p:nvPr/>
                  </p:nvSpPr>
                  <p:spPr bwMode="auto">
                    <a:xfrm>
                      <a:off x="4830763" y="1985963"/>
                      <a:ext cx="50800" cy="26988"/>
                    </a:xfrm>
                    <a:custGeom>
                      <a:avLst/>
                      <a:gdLst>
                        <a:gd name="T0" fmla="*/ 15 w 57"/>
                        <a:gd name="T1" fmla="*/ 29 h 29"/>
                        <a:gd name="T2" fmla="*/ 44 w 57"/>
                        <a:gd name="T3" fmla="*/ 29 h 29"/>
                        <a:gd name="T4" fmla="*/ 57 w 57"/>
                        <a:gd name="T5" fmla="*/ 15 h 29"/>
                        <a:gd name="T6" fmla="*/ 43 w 57"/>
                        <a:gd name="T7" fmla="*/ 0 h 29"/>
                        <a:gd name="T8" fmla="*/ 15 w 57"/>
                        <a:gd name="T9" fmla="*/ 0 h 29"/>
                        <a:gd name="T10" fmla="*/ 0 w 57"/>
                        <a:gd name="T11" fmla="*/ 15 h 29"/>
                        <a:gd name="T12" fmla="*/ 15 w 57"/>
                        <a:gd name="T13" fmla="*/ 29 h 2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57" h="29">
                          <a:moveTo>
                            <a:pt x="15" y="29"/>
                          </a:moveTo>
                          <a:cubicBezTo>
                            <a:pt x="44" y="29"/>
                            <a:pt x="44" y="29"/>
                            <a:pt x="44" y="29"/>
                          </a:cubicBezTo>
                          <a:cubicBezTo>
                            <a:pt x="51" y="29"/>
                            <a:pt x="57" y="23"/>
                            <a:pt x="57" y="15"/>
                          </a:cubicBezTo>
                          <a:cubicBezTo>
                            <a:pt x="57" y="7"/>
                            <a:pt x="50" y="0"/>
                            <a:pt x="43" y="0"/>
                          </a:cubicBezTo>
                          <a:cubicBezTo>
                            <a:pt x="15" y="0"/>
                            <a:pt x="15" y="0"/>
                            <a:pt x="15" y="0"/>
                          </a:cubicBezTo>
                          <a:cubicBezTo>
                            <a:pt x="7" y="0"/>
                            <a:pt x="0" y="7"/>
                            <a:pt x="0" y="15"/>
                          </a:cubicBezTo>
                          <a:cubicBezTo>
                            <a:pt x="0" y="23"/>
                            <a:pt x="7" y="29"/>
                            <a:pt x="15" y="29"/>
                          </a:cubicBezTo>
                          <a:close/>
                        </a:path>
                      </a:pathLst>
                    </a:custGeom>
                    <a:solidFill>
                      <a:srgbClr val="4D4D4F"/>
                    </a:solidFill>
                    <a:ln>
                      <a:noFill/>
                    </a:ln>
                    <a:extLst>
                      <a:ext uri="{91240B29-F687-4f45-9708-019B960494DF}">
                        <a14:hiddenLine xmlns=""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algn="l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200" b="0" i="0" u="none" strike="noStrike" kern="0" cap="none" spc="0" normalizeH="0" baseline="0" noProof="0" dirty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Arial"/>
                        <a:cs typeface=""/>
                      </a:endParaRPr>
                    </a:p>
                  </p:txBody>
                </p:sp>
                <p:sp>
                  <p:nvSpPr>
                    <p:cNvPr id="332" name="Freeform 18"/>
                    <p:cNvSpPr>
                      <a:spLocks/>
                    </p:cNvSpPr>
                    <p:nvPr/>
                  </p:nvSpPr>
                  <p:spPr bwMode="auto">
                    <a:xfrm>
                      <a:off x="4905376" y="1997075"/>
                      <a:ext cx="50800" cy="41275"/>
                    </a:xfrm>
                    <a:custGeom>
                      <a:avLst/>
                      <a:gdLst>
                        <a:gd name="T0" fmla="*/ 10 w 56"/>
                        <a:gd name="T1" fmla="*/ 30 h 47"/>
                        <a:gd name="T2" fmla="*/ 31 w 56"/>
                        <a:gd name="T3" fmla="*/ 43 h 47"/>
                        <a:gd name="T4" fmla="*/ 40 w 56"/>
                        <a:gd name="T5" fmla="*/ 47 h 47"/>
                        <a:gd name="T6" fmla="*/ 51 w 56"/>
                        <a:gd name="T7" fmla="*/ 41 h 47"/>
                        <a:gd name="T8" fmla="*/ 49 w 56"/>
                        <a:gd name="T9" fmla="*/ 21 h 47"/>
                        <a:gd name="T10" fmla="*/ 22 w 56"/>
                        <a:gd name="T11" fmla="*/ 4 h 47"/>
                        <a:gd name="T12" fmla="*/ 3 w 56"/>
                        <a:gd name="T13" fmla="*/ 11 h 47"/>
                        <a:gd name="T14" fmla="*/ 10 w 56"/>
                        <a:gd name="T15" fmla="*/ 30 h 4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</a:cxnLst>
                      <a:rect l="0" t="0" r="r" b="b"/>
                      <a:pathLst>
                        <a:path w="56" h="47">
                          <a:moveTo>
                            <a:pt x="10" y="30"/>
                          </a:moveTo>
                          <a:cubicBezTo>
                            <a:pt x="17" y="33"/>
                            <a:pt x="25" y="38"/>
                            <a:pt x="31" y="43"/>
                          </a:cubicBezTo>
                          <a:cubicBezTo>
                            <a:pt x="34" y="46"/>
                            <a:pt x="37" y="47"/>
                            <a:pt x="40" y="47"/>
                          </a:cubicBezTo>
                          <a:cubicBezTo>
                            <a:pt x="44" y="47"/>
                            <a:pt x="49" y="45"/>
                            <a:pt x="51" y="41"/>
                          </a:cubicBezTo>
                          <a:cubicBezTo>
                            <a:pt x="56" y="35"/>
                            <a:pt x="55" y="26"/>
                            <a:pt x="49" y="21"/>
                          </a:cubicBezTo>
                          <a:cubicBezTo>
                            <a:pt x="41" y="14"/>
                            <a:pt x="32" y="9"/>
                            <a:pt x="22" y="4"/>
                          </a:cubicBezTo>
                          <a:cubicBezTo>
                            <a:pt x="15" y="0"/>
                            <a:pt x="7" y="3"/>
                            <a:pt x="3" y="11"/>
                          </a:cubicBezTo>
                          <a:cubicBezTo>
                            <a:pt x="0" y="18"/>
                            <a:pt x="3" y="26"/>
                            <a:pt x="10" y="30"/>
                          </a:cubicBezTo>
                          <a:close/>
                        </a:path>
                      </a:pathLst>
                    </a:custGeom>
                    <a:solidFill>
                      <a:srgbClr val="4D4D4F"/>
                    </a:solidFill>
                    <a:ln>
                      <a:noFill/>
                    </a:ln>
                    <a:extLst>
                      <a:ext uri="{91240B29-F687-4f45-9708-019B960494DF}">
                        <a14:hiddenLine xmlns=""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algn="l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200" b="0" i="0" u="none" strike="noStrike" kern="0" cap="none" spc="0" normalizeH="0" baseline="0" noProof="0" dirty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Arial"/>
                        <a:cs typeface=""/>
                      </a:endParaRPr>
                    </a:p>
                  </p:txBody>
                </p:sp>
                <p:sp>
                  <p:nvSpPr>
                    <p:cNvPr id="333" name="Freeform 19"/>
                    <p:cNvSpPr>
                      <a:spLocks/>
                    </p:cNvSpPr>
                    <p:nvPr/>
                  </p:nvSpPr>
                  <p:spPr bwMode="auto">
                    <a:xfrm>
                      <a:off x="4476751" y="2039938"/>
                      <a:ext cx="39688" cy="52388"/>
                    </a:xfrm>
                    <a:custGeom>
                      <a:avLst/>
                      <a:gdLst>
                        <a:gd name="T0" fmla="*/ 12 w 45"/>
                        <a:gd name="T1" fmla="*/ 56 h 57"/>
                        <a:gd name="T2" fmla="*/ 16 w 45"/>
                        <a:gd name="T3" fmla="*/ 57 h 57"/>
                        <a:gd name="T4" fmla="*/ 30 w 45"/>
                        <a:gd name="T5" fmla="*/ 47 h 57"/>
                        <a:gd name="T6" fmla="*/ 41 w 45"/>
                        <a:gd name="T7" fmla="*/ 24 h 57"/>
                        <a:gd name="T8" fmla="*/ 36 w 45"/>
                        <a:gd name="T9" fmla="*/ 4 h 57"/>
                        <a:gd name="T10" fmla="*/ 16 w 45"/>
                        <a:gd name="T11" fmla="*/ 9 h 57"/>
                        <a:gd name="T12" fmla="*/ 3 w 45"/>
                        <a:gd name="T13" fmla="*/ 38 h 57"/>
                        <a:gd name="T14" fmla="*/ 12 w 45"/>
                        <a:gd name="T15" fmla="*/ 56 h 5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</a:cxnLst>
                      <a:rect l="0" t="0" r="r" b="b"/>
                      <a:pathLst>
                        <a:path w="45" h="57">
                          <a:moveTo>
                            <a:pt x="12" y="56"/>
                          </a:moveTo>
                          <a:cubicBezTo>
                            <a:pt x="13" y="57"/>
                            <a:pt x="15" y="57"/>
                            <a:pt x="16" y="57"/>
                          </a:cubicBezTo>
                          <a:cubicBezTo>
                            <a:pt x="22" y="57"/>
                            <a:pt x="28" y="53"/>
                            <a:pt x="30" y="47"/>
                          </a:cubicBezTo>
                          <a:cubicBezTo>
                            <a:pt x="33" y="39"/>
                            <a:pt x="36" y="32"/>
                            <a:pt x="41" y="24"/>
                          </a:cubicBezTo>
                          <a:cubicBezTo>
                            <a:pt x="45" y="17"/>
                            <a:pt x="43" y="9"/>
                            <a:pt x="36" y="4"/>
                          </a:cubicBezTo>
                          <a:cubicBezTo>
                            <a:pt x="29" y="0"/>
                            <a:pt x="21" y="2"/>
                            <a:pt x="16" y="9"/>
                          </a:cubicBezTo>
                          <a:cubicBezTo>
                            <a:pt x="11" y="18"/>
                            <a:pt x="6" y="28"/>
                            <a:pt x="3" y="38"/>
                          </a:cubicBezTo>
                          <a:cubicBezTo>
                            <a:pt x="0" y="45"/>
                            <a:pt x="4" y="54"/>
                            <a:pt x="12" y="56"/>
                          </a:cubicBezTo>
                          <a:close/>
                        </a:path>
                      </a:pathLst>
                    </a:custGeom>
                    <a:solidFill>
                      <a:srgbClr val="4D4D4F"/>
                    </a:solidFill>
                    <a:ln>
                      <a:noFill/>
                    </a:ln>
                    <a:extLst>
                      <a:ext uri="{91240B29-F687-4f45-9708-019B960494DF}">
                        <a14:hiddenLine xmlns=""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algn="l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200" b="0" i="0" u="none" strike="noStrike" kern="0" cap="none" spc="0" normalizeH="0" baseline="0" noProof="0" dirty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Arial"/>
                        <a:cs typeface=""/>
                      </a:endParaRPr>
                    </a:p>
                  </p:txBody>
                </p:sp>
                <p:sp>
                  <p:nvSpPr>
                    <p:cNvPr id="334" name="Freeform 20"/>
                    <p:cNvSpPr>
                      <a:spLocks/>
                    </p:cNvSpPr>
                    <p:nvPr/>
                  </p:nvSpPr>
                  <p:spPr bwMode="auto">
                    <a:xfrm>
                      <a:off x="4522788" y="1992313"/>
                      <a:ext cx="52388" cy="39688"/>
                    </a:xfrm>
                    <a:custGeom>
                      <a:avLst/>
                      <a:gdLst>
                        <a:gd name="T0" fmla="*/ 55 w 58"/>
                        <a:gd name="T1" fmla="*/ 11 h 43"/>
                        <a:gd name="T2" fmla="*/ 37 w 58"/>
                        <a:gd name="T3" fmla="*/ 2 h 43"/>
                        <a:gd name="T4" fmla="*/ 9 w 58"/>
                        <a:gd name="T5" fmla="*/ 17 h 43"/>
                        <a:gd name="T6" fmla="*/ 4 w 58"/>
                        <a:gd name="T7" fmla="*/ 37 h 43"/>
                        <a:gd name="T8" fmla="*/ 16 w 58"/>
                        <a:gd name="T9" fmla="*/ 43 h 43"/>
                        <a:gd name="T10" fmla="*/ 24 w 58"/>
                        <a:gd name="T11" fmla="*/ 41 h 43"/>
                        <a:gd name="T12" fmla="*/ 47 w 58"/>
                        <a:gd name="T13" fmla="*/ 29 h 43"/>
                        <a:gd name="T14" fmla="*/ 55 w 58"/>
                        <a:gd name="T15" fmla="*/ 11 h 4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</a:cxnLst>
                      <a:rect l="0" t="0" r="r" b="b"/>
                      <a:pathLst>
                        <a:path w="58" h="43">
                          <a:moveTo>
                            <a:pt x="55" y="11"/>
                          </a:moveTo>
                          <a:cubicBezTo>
                            <a:pt x="53" y="3"/>
                            <a:pt x="44" y="0"/>
                            <a:pt x="37" y="2"/>
                          </a:cubicBezTo>
                          <a:cubicBezTo>
                            <a:pt x="27" y="6"/>
                            <a:pt x="17" y="11"/>
                            <a:pt x="9" y="17"/>
                          </a:cubicBezTo>
                          <a:cubicBezTo>
                            <a:pt x="2" y="21"/>
                            <a:pt x="0" y="30"/>
                            <a:pt x="4" y="37"/>
                          </a:cubicBezTo>
                          <a:cubicBezTo>
                            <a:pt x="7" y="41"/>
                            <a:pt x="12" y="43"/>
                            <a:pt x="16" y="43"/>
                          </a:cubicBezTo>
                          <a:cubicBezTo>
                            <a:pt x="19" y="43"/>
                            <a:pt x="22" y="43"/>
                            <a:pt x="24" y="41"/>
                          </a:cubicBezTo>
                          <a:cubicBezTo>
                            <a:pt x="31" y="36"/>
                            <a:pt x="39" y="32"/>
                            <a:pt x="47" y="29"/>
                          </a:cubicBezTo>
                          <a:cubicBezTo>
                            <a:pt x="54" y="27"/>
                            <a:pt x="58" y="18"/>
                            <a:pt x="55" y="11"/>
                          </a:cubicBezTo>
                          <a:close/>
                        </a:path>
                      </a:pathLst>
                    </a:custGeom>
                    <a:solidFill>
                      <a:srgbClr val="4D4D4F"/>
                    </a:solidFill>
                    <a:ln>
                      <a:noFill/>
                    </a:ln>
                    <a:extLst>
                      <a:ext uri="{91240B29-F687-4f45-9708-019B960494DF}">
                        <a14:hiddenLine xmlns=""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algn="l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200" b="0" i="0" u="none" strike="noStrike" kern="0" cap="none" spc="0" normalizeH="0" baseline="0" noProof="0" dirty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Arial"/>
                        <a:cs typeface=""/>
                      </a:endParaRPr>
                    </a:p>
                  </p:txBody>
                </p:sp>
                <p:sp>
                  <p:nvSpPr>
                    <p:cNvPr id="335" name="Freeform 21"/>
                    <p:cNvSpPr>
                      <a:spLocks/>
                    </p:cNvSpPr>
                    <p:nvPr/>
                  </p:nvSpPr>
                  <p:spPr bwMode="auto">
                    <a:xfrm>
                      <a:off x="4959351" y="2051050"/>
                      <a:ext cx="36513" cy="52388"/>
                    </a:xfrm>
                    <a:custGeom>
                      <a:avLst/>
                      <a:gdLst>
                        <a:gd name="T0" fmla="*/ 13 w 42"/>
                        <a:gd name="T1" fmla="*/ 47 h 58"/>
                        <a:gd name="T2" fmla="*/ 27 w 42"/>
                        <a:gd name="T3" fmla="*/ 58 h 58"/>
                        <a:gd name="T4" fmla="*/ 30 w 42"/>
                        <a:gd name="T5" fmla="*/ 57 h 58"/>
                        <a:gd name="T6" fmla="*/ 41 w 42"/>
                        <a:gd name="T7" fmla="*/ 40 h 58"/>
                        <a:gd name="T8" fmla="*/ 30 w 42"/>
                        <a:gd name="T9" fmla="*/ 10 h 58"/>
                        <a:gd name="T10" fmla="*/ 11 w 42"/>
                        <a:gd name="T11" fmla="*/ 4 h 58"/>
                        <a:gd name="T12" fmla="*/ 4 w 42"/>
                        <a:gd name="T13" fmla="*/ 23 h 58"/>
                        <a:gd name="T14" fmla="*/ 13 w 42"/>
                        <a:gd name="T15" fmla="*/ 47 h 5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</a:cxnLst>
                      <a:rect l="0" t="0" r="r" b="b"/>
                      <a:pathLst>
                        <a:path w="42" h="58">
                          <a:moveTo>
                            <a:pt x="13" y="47"/>
                          </a:moveTo>
                          <a:cubicBezTo>
                            <a:pt x="14" y="53"/>
                            <a:pt x="20" y="58"/>
                            <a:pt x="27" y="58"/>
                          </a:cubicBezTo>
                          <a:cubicBezTo>
                            <a:pt x="28" y="58"/>
                            <a:pt x="29" y="58"/>
                            <a:pt x="30" y="57"/>
                          </a:cubicBezTo>
                          <a:cubicBezTo>
                            <a:pt x="38" y="56"/>
                            <a:pt x="42" y="48"/>
                            <a:pt x="41" y="40"/>
                          </a:cubicBezTo>
                          <a:cubicBezTo>
                            <a:pt x="38" y="30"/>
                            <a:pt x="35" y="20"/>
                            <a:pt x="30" y="10"/>
                          </a:cubicBezTo>
                          <a:cubicBezTo>
                            <a:pt x="26" y="3"/>
                            <a:pt x="18" y="0"/>
                            <a:pt x="11" y="4"/>
                          </a:cubicBezTo>
                          <a:cubicBezTo>
                            <a:pt x="3" y="7"/>
                            <a:pt x="0" y="16"/>
                            <a:pt x="4" y="23"/>
                          </a:cubicBezTo>
                          <a:cubicBezTo>
                            <a:pt x="8" y="31"/>
                            <a:pt x="11" y="39"/>
                            <a:pt x="13" y="47"/>
                          </a:cubicBezTo>
                          <a:close/>
                        </a:path>
                      </a:pathLst>
                    </a:custGeom>
                    <a:solidFill>
                      <a:srgbClr val="4D4D4F"/>
                    </a:solidFill>
                    <a:ln>
                      <a:noFill/>
                    </a:ln>
                    <a:extLst>
                      <a:ext uri="{91240B29-F687-4f45-9708-019B960494DF}">
                        <a14:hiddenLine xmlns=""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algn="l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200" b="0" i="0" u="none" strike="noStrike" kern="0" cap="none" spc="0" normalizeH="0" baseline="0" noProof="0" dirty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Arial"/>
                        <a:cs typeface=""/>
                      </a:endParaRPr>
                    </a:p>
                  </p:txBody>
                </p:sp>
                <p:sp>
                  <p:nvSpPr>
                    <p:cNvPr id="336" name="Freeform 22"/>
                    <p:cNvSpPr>
                      <a:spLocks/>
                    </p:cNvSpPr>
                    <p:nvPr/>
                  </p:nvSpPr>
                  <p:spPr bwMode="auto">
                    <a:xfrm>
                      <a:off x="4598988" y="1985963"/>
                      <a:ext cx="52388" cy="26988"/>
                    </a:xfrm>
                    <a:custGeom>
                      <a:avLst/>
                      <a:gdLst>
                        <a:gd name="T0" fmla="*/ 14 w 58"/>
                        <a:gd name="T1" fmla="*/ 29 h 29"/>
                        <a:gd name="T2" fmla="*/ 43 w 58"/>
                        <a:gd name="T3" fmla="*/ 29 h 29"/>
                        <a:gd name="T4" fmla="*/ 58 w 58"/>
                        <a:gd name="T5" fmla="*/ 15 h 29"/>
                        <a:gd name="T6" fmla="*/ 43 w 58"/>
                        <a:gd name="T7" fmla="*/ 0 h 29"/>
                        <a:gd name="T8" fmla="*/ 14 w 58"/>
                        <a:gd name="T9" fmla="*/ 0 h 29"/>
                        <a:gd name="T10" fmla="*/ 0 w 58"/>
                        <a:gd name="T11" fmla="*/ 15 h 29"/>
                        <a:gd name="T12" fmla="*/ 14 w 58"/>
                        <a:gd name="T13" fmla="*/ 29 h 2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58" h="29">
                          <a:moveTo>
                            <a:pt x="14" y="29"/>
                          </a:moveTo>
                          <a:cubicBezTo>
                            <a:pt x="43" y="29"/>
                            <a:pt x="43" y="29"/>
                            <a:pt x="43" y="29"/>
                          </a:cubicBezTo>
                          <a:cubicBezTo>
                            <a:pt x="51" y="29"/>
                            <a:pt x="58" y="23"/>
                            <a:pt x="58" y="15"/>
                          </a:cubicBezTo>
                          <a:cubicBezTo>
                            <a:pt x="58" y="7"/>
                            <a:pt x="51" y="0"/>
                            <a:pt x="43" y="0"/>
                          </a:cubicBezTo>
                          <a:cubicBezTo>
                            <a:pt x="14" y="0"/>
                            <a:pt x="14" y="0"/>
                            <a:pt x="14" y="0"/>
                          </a:cubicBezTo>
                          <a:cubicBezTo>
                            <a:pt x="6" y="0"/>
                            <a:pt x="0" y="7"/>
                            <a:pt x="0" y="15"/>
                          </a:cubicBezTo>
                          <a:cubicBezTo>
                            <a:pt x="0" y="23"/>
                            <a:pt x="6" y="29"/>
                            <a:pt x="14" y="29"/>
                          </a:cubicBezTo>
                          <a:close/>
                        </a:path>
                      </a:pathLst>
                    </a:custGeom>
                    <a:solidFill>
                      <a:srgbClr val="4D4D4F"/>
                    </a:solidFill>
                    <a:ln>
                      <a:noFill/>
                    </a:ln>
                    <a:extLst>
                      <a:ext uri="{91240B29-F687-4f45-9708-019B960494DF}">
                        <a14:hiddenLine xmlns=""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algn="l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200" b="0" i="0" u="none" strike="noStrike" kern="0" cap="none" spc="0" normalizeH="0" baseline="0" noProof="0" dirty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Arial"/>
                        <a:cs typeface=""/>
                      </a:endParaRPr>
                    </a:p>
                  </p:txBody>
                </p:sp>
                <p:sp>
                  <p:nvSpPr>
                    <p:cNvPr id="337" name="Freeform 23"/>
                    <p:cNvSpPr>
                      <a:spLocks/>
                    </p:cNvSpPr>
                    <p:nvPr/>
                  </p:nvSpPr>
                  <p:spPr bwMode="auto">
                    <a:xfrm>
                      <a:off x="4676776" y="1985963"/>
                      <a:ext cx="50800" cy="26988"/>
                    </a:xfrm>
                    <a:custGeom>
                      <a:avLst/>
                      <a:gdLst>
                        <a:gd name="T0" fmla="*/ 15 w 58"/>
                        <a:gd name="T1" fmla="*/ 29 h 29"/>
                        <a:gd name="T2" fmla="*/ 43 w 58"/>
                        <a:gd name="T3" fmla="*/ 29 h 29"/>
                        <a:gd name="T4" fmla="*/ 58 w 58"/>
                        <a:gd name="T5" fmla="*/ 15 h 29"/>
                        <a:gd name="T6" fmla="*/ 43 w 58"/>
                        <a:gd name="T7" fmla="*/ 0 h 29"/>
                        <a:gd name="T8" fmla="*/ 15 w 58"/>
                        <a:gd name="T9" fmla="*/ 0 h 29"/>
                        <a:gd name="T10" fmla="*/ 0 w 58"/>
                        <a:gd name="T11" fmla="*/ 15 h 29"/>
                        <a:gd name="T12" fmla="*/ 15 w 58"/>
                        <a:gd name="T13" fmla="*/ 29 h 2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58" h="29">
                          <a:moveTo>
                            <a:pt x="15" y="29"/>
                          </a:moveTo>
                          <a:cubicBezTo>
                            <a:pt x="43" y="29"/>
                            <a:pt x="43" y="29"/>
                            <a:pt x="43" y="29"/>
                          </a:cubicBezTo>
                          <a:cubicBezTo>
                            <a:pt x="51" y="29"/>
                            <a:pt x="58" y="23"/>
                            <a:pt x="58" y="15"/>
                          </a:cubicBezTo>
                          <a:cubicBezTo>
                            <a:pt x="58" y="7"/>
                            <a:pt x="51" y="0"/>
                            <a:pt x="43" y="0"/>
                          </a:cubicBezTo>
                          <a:cubicBezTo>
                            <a:pt x="15" y="0"/>
                            <a:pt x="15" y="0"/>
                            <a:pt x="15" y="0"/>
                          </a:cubicBezTo>
                          <a:cubicBezTo>
                            <a:pt x="7" y="0"/>
                            <a:pt x="0" y="7"/>
                            <a:pt x="0" y="15"/>
                          </a:cubicBezTo>
                          <a:cubicBezTo>
                            <a:pt x="0" y="23"/>
                            <a:pt x="7" y="29"/>
                            <a:pt x="15" y="29"/>
                          </a:cubicBezTo>
                          <a:close/>
                        </a:path>
                      </a:pathLst>
                    </a:custGeom>
                    <a:solidFill>
                      <a:srgbClr val="4D4D4F"/>
                    </a:solidFill>
                    <a:ln>
                      <a:noFill/>
                    </a:ln>
                    <a:extLst>
                      <a:ext uri="{91240B29-F687-4f45-9708-019B960494DF}">
                        <a14:hiddenLine xmlns=""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algn="l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200" b="0" i="0" u="none" strike="noStrike" kern="0" cap="none" spc="0" normalizeH="0" baseline="0" noProof="0" dirty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Arial"/>
                        <a:cs typeface=""/>
                      </a:endParaRPr>
                    </a:p>
                  </p:txBody>
                </p:sp>
                <p:sp>
                  <p:nvSpPr>
                    <p:cNvPr id="338" name="Freeform 24"/>
                    <p:cNvSpPr>
                      <a:spLocks/>
                    </p:cNvSpPr>
                    <p:nvPr/>
                  </p:nvSpPr>
                  <p:spPr bwMode="auto">
                    <a:xfrm>
                      <a:off x="4752976" y="1985963"/>
                      <a:ext cx="52388" cy="26988"/>
                    </a:xfrm>
                    <a:custGeom>
                      <a:avLst/>
                      <a:gdLst>
                        <a:gd name="T0" fmla="*/ 15 w 58"/>
                        <a:gd name="T1" fmla="*/ 29 h 29"/>
                        <a:gd name="T2" fmla="*/ 43 w 58"/>
                        <a:gd name="T3" fmla="*/ 29 h 29"/>
                        <a:gd name="T4" fmla="*/ 58 w 58"/>
                        <a:gd name="T5" fmla="*/ 15 h 29"/>
                        <a:gd name="T6" fmla="*/ 43 w 58"/>
                        <a:gd name="T7" fmla="*/ 0 h 29"/>
                        <a:gd name="T8" fmla="*/ 15 w 58"/>
                        <a:gd name="T9" fmla="*/ 0 h 29"/>
                        <a:gd name="T10" fmla="*/ 0 w 58"/>
                        <a:gd name="T11" fmla="*/ 15 h 29"/>
                        <a:gd name="T12" fmla="*/ 15 w 58"/>
                        <a:gd name="T13" fmla="*/ 29 h 2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58" h="29">
                          <a:moveTo>
                            <a:pt x="15" y="29"/>
                          </a:moveTo>
                          <a:cubicBezTo>
                            <a:pt x="43" y="29"/>
                            <a:pt x="43" y="29"/>
                            <a:pt x="43" y="29"/>
                          </a:cubicBezTo>
                          <a:cubicBezTo>
                            <a:pt x="51" y="29"/>
                            <a:pt x="58" y="23"/>
                            <a:pt x="58" y="15"/>
                          </a:cubicBezTo>
                          <a:cubicBezTo>
                            <a:pt x="58" y="7"/>
                            <a:pt x="51" y="0"/>
                            <a:pt x="43" y="0"/>
                          </a:cubicBezTo>
                          <a:cubicBezTo>
                            <a:pt x="15" y="0"/>
                            <a:pt x="15" y="0"/>
                            <a:pt x="15" y="0"/>
                          </a:cubicBezTo>
                          <a:cubicBezTo>
                            <a:pt x="7" y="0"/>
                            <a:pt x="0" y="7"/>
                            <a:pt x="0" y="15"/>
                          </a:cubicBezTo>
                          <a:cubicBezTo>
                            <a:pt x="0" y="23"/>
                            <a:pt x="7" y="29"/>
                            <a:pt x="15" y="29"/>
                          </a:cubicBezTo>
                          <a:close/>
                        </a:path>
                      </a:pathLst>
                    </a:custGeom>
                    <a:solidFill>
                      <a:srgbClr val="4D4D4F"/>
                    </a:solidFill>
                    <a:ln>
                      <a:noFill/>
                    </a:ln>
                    <a:extLst>
                      <a:ext uri="{91240B29-F687-4f45-9708-019B960494DF}">
                        <a14:hiddenLine xmlns=""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algn="l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200" b="0" i="0" u="none" strike="noStrike" kern="0" cap="none" spc="0" normalizeH="0" baseline="0" noProof="0" dirty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Arial"/>
                        <a:cs typeface=""/>
                      </a:endParaRPr>
                    </a:p>
                  </p:txBody>
                </p:sp>
                <p:sp>
                  <p:nvSpPr>
                    <p:cNvPr id="339" name="Freeform 25"/>
                    <p:cNvSpPr>
                      <a:spLocks/>
                    </p:cNvSpPr>
                    <p:nvPr/>
                  </p:nvSpPr>
                  <p:spPr bwMode="auto">
                    <a:xfrm>
                      <a:off x="4471988" y="2349500"/>
                      <a:ext cx="26988" cy="52388"/>
                    </a:xfrm>
                    <a:custGeom>
                      <a:avLst/>
                      <a:gdLst>
                        <a:gd name="T0" fmla="*/ 30 w 31"/>
                        <a:gd name="T1" fmla="*/ 42 h 58"/>
                        <a:gd name="T2" fmla="*/ 29 w 31"/>
                        <a:gd name="T3" fmla="*/ 28 h 58"/>
                        <a:gd name="T4" fmla="*/ 29 w 31"/>
                        <a:gd name="T5" fmla="*/ 15 h 58"/>
                        <a:gd name="T6" fmla="*/ 14 w 31"/>
                        <a:gd name="T7" fmla="*/ 0 h 58"/>
                        <a:gd name="T8" fmla="*/ 0 w 31"/>
                        <a:gd name="T9" fmla="*/ 15 h 58"/>
                        <a:gd name="T10" fmla="*/ 0 w 31"/>
                        <a:gd name="T11" fmla="*/ 28 h 58"/>
                        <a:gd name="T12" fmla="*/ 1 w 31"/>
                        <a:gd name="T13" fmla="*/ 45 h 58"/>
                        <a:gd name="T14" fmla="*/ 15 w 31"/>
                        <a:gd name="T15" fmla="*/ 58 h 58"/>
                        <a:gd name="T16" fmla="*/ 17 w 31"/>
                        <a:gd name="T17" fmla="*/ 58 h 58"/>
                        <a:gd name="T18" fmla="*/ 30 w 31"/>
                        <a:gd name="T19" fmla="*/ 42 h 5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</a:cxnLst>
                      <a:rect l="0" t="0" r="r" b="b"/>
                      <a:pathLst>
                        <a:path w="31" h="58">
                          <a:moveTo>
                            <a:pt x="30" y="42"/>
                          </a:moveTo>
                          <a:cubicBezTo>
                            <a:pt x="29" y="37"/>
                            <a:pt x="29" y="33"/>
                            <a:pt x="29" y="28"/>
                          </a:cubicBezTo>
                          <a:cubicBezTo>
                            <a:pt x="29" y="15"/>
                            <a:pt x="29" y="15"/>
                            <a:pt x="29" y="15"/>
                          </a:cubicBezTo>
                          <a:cubicBezTo>
                            <a:pt x="29" y="7"/>
                            <a:pt x="22" y="0"/>
                            <a:pt x="14" y="0"/>
                          </a:cubicBezTo>
                          <a:cubicBezTo>
                            <a:pt x="7" y="0"/>
                            <a:pt x="0" y="7"/>
                            <a:pt x="0" y="15"/>
                          </a:cubicBezTo>
                          <a:cubicBezTo>
                            <a:pt x="0" y="28"/>
                            <a:pt x="0" y="28"/>
                            <a:pt x="0" y="28"/>
                          </a:cubicBezTo>
                          <a:cubicBezTo>
                            <a:pt x="0" y="34"/>
                            <a:pt x="0" y="39"/>
                            <a:pt x="1" y="45"/>
                          </a:cubicBezTo>
                          <a:cubicBezTo>
                            <a:pt x="2" y="52"/>
                            <a:pt x="8" y="58"/>
                            <a:pt x="15" y="58"/>
                          </a:cubicBezTo>
                          <a:cubicBezTo>
                            <a:pt x="16" y="58"/>
                            <a:pt x="17" y="58"/>
                            <a:pt x="17" y="58"/>
                          </a:cubicBezTo>
                          <a:cubicBezTo>
                            <a:pt x="25" y="57"/>
                            <a:pt x="31" y="50"/>
                            <a:pt x="30" y="42"/>
                          </a:cubicBezTo>
                          <a:close/>
                        </a:path>
                      </a:pathLst>
                    </a:custGeom>
                    <a:solidFill>
                      <a:srgbClr val="4D4D4F"/>
                    </a:solidFill>
                    <a:ln>
                      <a:noFill/>
                    </a:ln>
                    <a:extLst>
                      <a:ext uri="{91240B29-F687-4f45-9708-019B960494DF}">
                        <a14:hiddenLine xmlns=""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algn="l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200" b="0" i="0" u="none" strike="noStrike" kern="0" cap="none" spc="0" normalizeH="0" baseline="0" noProof="0" dirty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Arial"/>
                        <a:cs typeface=""/>
                      </a:endParaRPr>
                    </a:p>
                  </p:txBody>
                </p:sp>
                <p:sp>
                  <p:nvSpPr>
                    <p:cNvPr id="340" name="Freeform 26"/>
                    <p:cNvSpPr>
                      <a:spLocks/>
                    </p:cNvSpPr>
                    <p:nvPr/>
                  </p:nvSpPr>
                  <p:spPr bwMode="auto">
                    <a:xfrm>
                      <a:off x="4973638" y="2282825"/>
                      <a:ext cx="25400" cy="52388"/>
                    </a:xfrm>
                    <a:custGeom>
                      <a:avLst/>
                      <a:gdLst>
                        <a:gd name="T0" fmla="*/ 14 w 29"/>
                        <a:gd name="T1" fmla="*/ 0 h 58"/>
                        <a:gd name="T2" fmla="*/ 0 w 29"/>
                        <a:gd name="T3" fmla="*/ 15 h 58"/>
                        <a:gd name="T4" fmla="*/ 0 w 29"/>
                        <a:gd name="T5" fmla="*/ 44 h 58"/>
                        <a:gd name="T6" fmla="*/ 14 w 29"/>
                        <a:gd name="T7" fmla="*/ 58 h 58"/>
                        <a:gd name="T8" fmla="*/ 29 w 29"/>
                        <a:gd name="T9" fmla="*/ 44 h 58"/>
                        <a:gd name="T10" fmla="*/ 29 w 29"/>
                        <a:gd name="T11" fmla="*/ 15 h 58"/>
                        <a:gd name="T12" fmla="*/ 14 w 29"/>
                        <a:gd name="T13" fmla="*/ 0 h 5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29" h="58">
                          <a:moveTo>
                            <a:pt x="14" y="0"/>
                          </a:moveTo>
                          <a:cubicBezTo>
                            <a:pt x="6" y="0"/>
                            <a:pt x="0" y="7"/>
                            <a:pt x="0" y="15"/>
                          </a:cubicBezTo>
                          <a:cubicBezTo>
                            <a:pt x="0" y="44"/>
                            <a:pt x="0" y="44"/>
                            <a:pt x="0" y="44"/>
                          </a:cubicBezTo>
                          <a:cubicBezTo>
                            <a:pt x="0" y="52"/>
                            <a:pt x="6" y="58"/>
                            <a:pt x="14" y="58"/>
                          </a:cubicBezTo>
                          <a:cubicBezTo>
                            <a:pt x="22" y="58"/>
                            <a:pt x="29" y="52"/>
                            <a:pt x="29" y="44"/>
                          </a:cubicBezTo>
                          <a:cubicBezTo>
                            <a:pt x="29" y="15"/>
                            <a:pt x="29" y="15"/>
                            <a:pt x="29" y="15"/>
                          </a:cubicBezTo>
                          <a:cubicBezTo>
                            <a:pt x="29" y="7"/>
                            <a:pt x="22" y="0"/>
                            <a:pt x="14" y="0"/>
                          </a:cubicBezTo>
                          <a:close/>
                        </a:path>
                      </a:pathLst>
                    </a:custGeom>
                    <a:solidFill>
                      <a:srgbClr val="4D4D4F"/>
                    </a:solidFill>
                    <a:ln>
                      <a:noFill/>
                    </a:ln>
                    <a:extLst>
                      <a:ext uri="{91240B29-F687-4f45-9708-019B960494DF}">
                        <a14:hiddenLine xmlns=""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algn="l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200" b="0" i="0" u="none" strike="noStrike" kern="0" cap="none" spc="0" normalizeH="0" baseline="0" noProof="0" dirty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Arial"/>
                        <a:cs typeface=""/>
                      </a:endParaRPr>
                    </a:p>
                  </p:txBody>
                </p:sp>
                <p:sp>
                  <p:nvSpPr>
                    <p:cNvPr id="341" name="Freeform 28"/>
                    <p:cNvSpPr>
                      <a:spLocks/>
                    </p:cNvSpPr>
                    <p:nvPr/>
                  </p:nvSpPr>
                  <p:spPr bwMode="auto">
                    <a:xfrm>
                      <a:off x="4927601" y="2432050"/>
                      <a:ext cx="47625" cy="46038"/>
                    </a:xfrm>
                    <a:custGeom>
                      <a:avLst/>
                      <a:gdLst>
                        <a:gd name="T0" fmla="*/ 25 w 53"/>
                        <a:gd name="T1" fmla="*/ 7 h 51"/>
                        <a:gd name="T2" fmla="*/ 7 w 53"/>
                        <a:gd name="T3" fmla="*/ 25 h 51"/>
                        <a:gd name="T4" fmla="*/ 5 w 53"/>
                        <a:gd name="T5" fmla="*/ 45 h 51"/>
                        <a:gd name="T6" fmla="*/ 16 w 53"/>
                        <a:gd name="T7" fmla="*/ 51 h 51"/>
                        <a:gd name="T8" fmla="*/ 25 w 53"/>
                        <a:gd name="T9" fmla="*/ 47 h 51"/>
                        <a:gd name="T10" fmla="*/ 48 w 53"/>
                        <a:gd name="T11" fmla="*/ 25 h 51"/>
                        <a:gd name="T12" fmla="*/ 45 w 53"/>
                        <a:gd name="T13" fmla="*/ 5 h 51"/>
                        <a:gd name="T14" fmla="*/ 25 w 53"/>
                        <a:gd name="T15" fmla="*/ 7 h 5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</a:cxnLst>
                      <a:rect l="0" t="0" r="r" b="b"/>
                      <a:pathLst>
                        <a:path w="53" h="51">
                          <a:moveTo>
                            <a:pt x="25" y="7"/>
                          </a:moveTo>
                          <a:cubicBezTo>
                            <a:pt x="20" y="14"/>
                            <a:pt x="14" y="20"/>
                            <a:pt x="7" y="25"/>
                          </a:cubicBezTo>
                          <a:cubicBezTo>
                            <a:pt x="1" y="30"/>
                            <a:pt x="0" y="39"/>
                            <a:pt x="5" y="45"/>
                          </a:cubicBezTo>
                          <a:cubicBezTo>
                            <a:pt x="8" y="49"/>
                            <a:pt x="12" y="51"/>
                            <a:pt x="16" y="51"/>
                          </a:cubicBezTo>
                          <a:cubicBezTo>
                            <a:pt x="20" y="51"/>
                            <a:pt x="23" y="50"/>
                            <a:pt x="25" y="47"/>
                          </a:cubicBezTo>
                          <a:cubicBezTo>
                            <a:pt x="34" y="41"/>
                            <a:pt x="41" y="33"/>
                            <a:pt x="48" y="25"/>
                          </a:cubicBezTo>
                          <a:cubicBezTo>
                            <a:pt x="53" y="19"/>
                            <a:pt x="52" y="9"/>
                            <a:pt x="45" y="5"/>
                          </a:cubicBezTo>
                          <a:cubicBezTo>
                            <a:pt x="39" y="0"/>
                            <a:pt x="30" y="1"/>
                            <a:pt x="25" y="7"/>
                          </a:cubicBezTo>
                          <a:close/>
                        </a:path>
                      </a:pathLst>
                    </a:custGeom>
                    <a:solidFill>
                      <a:srgbClr val="4D4D4F"/>
                    </a:solidFill>
                    <a:ln>
                      <a:noFill/>
                    </a:ln>
                    <a:extLst>
                      <a:ext uri="{91240B29-F687-4f45-9708-019B960494DF}">
                        <a14:hiddenLine xmlns=""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algn="l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200" b="0" i="0" u="none" strike="noStrike" kern="0" cap="none" spc="0" normalizeH="0" baseline="0" noProof="0" dirty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Arial"/>
                        <a:cs typeface=""/>
                      </a:endParaRPr>
                    </a:p>
                  </p:txBody>
                </p:sp>
                <p:sp>
                  <p:nvSpPr>
                    <p:cNvPr id="342" name="Freeform 29"/>
                    <p:cNvSpPr>
                      <a:spLocks/>
                    </p:cNvSpPr>
                    <p:nvPr/>
                  </p:nvSpPr>
                  <p:spPr bwMode="auto">
                    <a:xfrm>
                      <a:off x="4968876" y="2360613"/>
                      <a:ext cx="30163" cy="52388"/>
                    </a:xfrm>
                    <a:custGeom>
                      <a:avLst/>
                      <a:gdLst>
                        <a:gd name="T0" fmla="*/ 19 w 34"/>
                        <a:gd name="T1" fmla="*/ 0 h 58"/>
                        <a:gd name="T2" fmla="*/ 5 w 34"/>
                        <a:gd name="T3" fmla="*/ 15 h 58"/>
                        <a:gd name="T4" fmla="*/ 2 w 34"/>
                        <a:gd name="T5" fmla="*/ 40 h 58"/>
                        <a:gd name="T6" fmla="*/ 13 w 34"/>
                        <a:gd name="T7" fmla="*/ 58 h 58"/>
                        <a:gd name="T8" fmla="*/ 16 w 34"/>
                        <a:gd name="T9" fmla="*/ 58 h 58"/>
                        <a:gd name="T10" fmla="*/ 30 w 34"/>
                        <a:gd name="T11" fmla="*/ 47 h 58"/>
                        <a:gd name="T12" fmla="*/ 34 w 34"/>
                        <a:gd name="T13" fmla="*/ 15 h 58"/>
                        <a:gd name="T14" fmla="*/ 34 w 34"/>
                        <a:gd name="T15" fmla="*/ 14 h 58"/>
                        <a:gd name="T16" fmla="*/ 19 w 34"/>
                        <a:gd name="T17" fmla="*/ 0 h 5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</a:cxnLst>
                      <a:rect l="0" t="0" r="r" b="b"/>
                      <a:pathLst>
                        <a:path w="34" h="58">
                          <a:moveTo>
                            <a:pt x="19" y="0"/>
                          </a:moveTo>
                          <a:cubicBezTo>
                            <a:pt x="11" y="0"/>
                            <a:pt x="5" y="7"/>
                            <a:pt x="5" y="15"/>
                          </a:cubicBezTo>
                          <a:cubicBezTo>
                            <a:pt x="5" y="24"/>
                            <a:pt x="4" y="32"/>
                            <a:pt x="2" y="40"/>
                          </a:cubicBezTo>
                          <a:cubicBezTo>
                            <a:pt x="0" y="48"/>
                            <a:pt x="5" y="56"/>
                            <a:pt x="13" y="58"/>
                          </a:cubicBezTo>
                          <a:cubicBezTo>
                            <a:pt x="14" y="58"/>
                            <a:pt x="15" y="58"/>
                            <a:pt x="16" y="58"/>
                          </a:cubicBezTo>
                          <a:cubicBezTo>
                            <a:pt x="23" y="58"/>
                            <a:pt x="29" y="53"/>
                            <a:pt x="30" y="47"/>
                          </a:cubicBezTo>
                          <a:cubicBezTo>
                            <a:pt x="32" y="36"/>
                            <a:pt x="34" y="26"/>
                            <a:pt x="34" y="15"/>
                          </a:cubicBezTo>
                          <a:cubicBezTo>
                            <a:pt x="34" y="14"/>
                            <a:pt x="34" y="14"/>
                            <a:pt x="34" y="14"/>
                          </a:cubicBezTo>
                          <a:cubicBezTo>
                            <a:pt x="34" y="6"/>
                            <a:pt x="27" y="0"/>
                            <a:pt x="19" y="0"/>
                          </a:cubicBezTo>
                          <a:close/>
                        </a:path>
                      </a:pathLst>
                    </a:custGeom>
                    <a:solidFill>
                      <a:srgbClr val="4D4D4F"/>
                    </a:solidFill>
                    <a:ln>
                      <a:noFill/>
                    </a:ln>
                    <a:extLst>
                      <a:ext uri="{91240B29-F687-4f45-9708-019B960494DF}">
                        <a14:hiddenLine xmlns=""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algn="l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200" b="0" i="0" u="none" strike="noStrike" kern="0" cap="none" spc="0" normalizeH="0" baseline="0" noProof="0" dirty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Arial"/>
                        <a:cs typeface=""/>
                      </a:endParaRPr>
                    </a:p>
                  </p:txBody>
                </p:sp>
                <p:sp>
                  <p:nvSpPr>
                    <p:cNvPr id="343" name="Freeform 30"/>
                    <p:cNvSpPr>
                      <a:spLocks/>
                    </p:cNvSpPr>
                    <p:nvPr/>
                  </p:nvSpPr>
                  <p:spPr bwMode="auto">
                    <a:xfrm>
                      <a:off x="4973638" y="2205038"/>
                      <a:ext cx="25400" cy="52388"/>
                    </a:xfrm>
                    <a:custGeom>
                      <a:avLst/>
                      <a:gdLst>
                        <a:gd name="T0" fmla="*/ 14 w 29"/>
                        <a:gd name="T1" fmla="*/ 0 h 58"/>
                        <a:gd name="T2" fmla="*/ 0 w 29"/>
                        <a:gd name="T3" fmla="*/ 15 h 58"/>
                        <a:gd name="T4" fmla="*/ 0 w 29"/>
                        <a:gd name="T5" fmla="*/ 43 h 58"/>
                        <a:gd name="T6" fmla="*/ 14 w 29"/>
                        <a:gd name="T7" fmla="*/ 58 h 58"/>
                        <a:gd name="T8" fmla="*/ 29 w 29"/>
                        <a:gd name="T9" fmla="*/ 43 h 58"/>
                        <a:gd name="T10" fmla="*/ 29 w 29"/>
                        <a:gd name="T11" fmla="*/ 15 h 58"/>
                        <a:gd name="T12" fmla="*/ 14 w 29"/>
                        <a:gd name="T13" fmla="*/ 0 h 5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29" h="58">
                          <a:moveTo>
                            <a:pt x="14" y="0"/>
                          </a:moveTo>
                          <a:cubicBezTo>
                            <a:pt x="6" y="0"/>
                            <a:pt x="0" y="7"/>
                            <a:pt x="0" y="15"/>
                          </a:cubicBezTo>
                          <a:cubicBezTo>
                            <a:pt x="0" y="43"/>
                            <a:pt x="0" y="43"/>
                            <a:pt x="0" y="43"/>
                          </a:cubicBezTo>
                          <a:cubicBezTo>
                            <a:pt x="0" y="51"/>
                            <a:pt x="6" y="58"/>
                            <a:pt x="14" y="58"/>
                          </a:cubicBezTo>
                          <a:cubicBezTo>
                            <a:pt x="22" y="58"/>
                            <a:pt x="29" y="51"/>
                            <a:pt x="29" y="43"/>
                          </a:cubicBezTo>
                          <a:cubicBezTo>
                            <a:pt x="29" y="15"/>
                            <a:pt x="29" y="15"/>
                            <a:pt x="29" y="15"/>
                          </a:cubicBezTo>
                          <a:cubicBezTo>
                            <a:pt x="29" y="7"/>
                            <a:pt x="22" y="0"/>
                            <a:pt x="14" y="0"/>
                          </a:cubicBezTo>
                          <a:close/>
                        </a:path>
                      </a:pathLst>
                    </a:custGeom>
                    <a:solidFill>
                      <a:srgbClr val="4D4D4F"/>
                    </a:solidFill>
                    <a:ln>
                      <a:noFill/>
                    </a:ln>
                    <a:extLst>
                      <a:ext uri="{91240B29-F687-4f45-9708-019B960494DF}">
                        <a14:hiddenLine xmlns=""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algn="l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200" b="0" i="0" u="none" strike="noStrike" kern="0" cap="none" spc="0" normalizeH="0" baseline="0" noProof="0" dirty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Arial"/>
                        <a:cs typeface=""/>
                      </a:endParaRPr>
                    </a:p>
                  </p:txBody>
                </p:sp>
                <p:sp>
                  <p:nvSpPr>
                    <p:cNvPr id="344" name="Freeform 31"/>
                    <p:cNvSpPr>
                      <a:spLocks/>
                    </p:cNvSpPr>
                    <p:nvPr/>
                  </p:nvSpPr>
                  <p:spPr bwMode="auto">
                    <a:xfrm>
                      <a:off x="4973638" y="2127250"/>
                      <a:ext cx="25400" cy="52388"/>
                    </a:xfrm>
                    <a:custGeom>
                      <a:avLst/>
                      <a:gdLst>
                        <a:gd name="T0" fmla="*/ 14 w 29"/>
                        <a:gd name="T1" fmla="*/ 0 h 58"/>
                        <a:gd name="T2" fmla="*/ 0 w 29"/>
                        <a:gd name="T3" fmla="*/ 15 h 58"/>
                        <a:gd name="T4" fmla="*/ 0 w 29"/>
                        <a:gd name="T5" fmla="*/ 43 h 58"/>
                        <a:gd name="T6" fmla="*/ 14 w 29"/>
                        <a:gd name="T7" fmla="*/ 58 h 58"/>
                        <a:gd name="T8" fmla="*/ 29 w 29"/>
                        <a:gd name="T9" fmla="*/ 43 h 58"/>
                        <a:gd name="T10" fmla="*/ 29 w 29"/>
                        <a:gd name="T11" fmla="*/ 15 h 58"/>
                        <a:gd name="T12" fmla="*/ 14 w 29"/>
                        <a:gd name="T13" fmla="*/ 0 h 5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29" h="58">
                          <a:moveTo>
                            <a:pt x="14" y="0"/>
                          </a:moveTo>
                          <a:cubicBezTo>
                            <a:pt x="6" y="0"/>
                            <a:pt x="0" y="7"/>
                            <a:pt x="0" y="15"/>
                          </a:cubicBezTo>
                          <a:cubicBezTo>
                            <a:pt x="0" y="43"/>
                            <a:pt x="0" y="43"/>
                            <a:pt x="0" y="43"/>
                          </a:cubicBezTo>
                          <a:cubicBezTo>
                            <a:pt x="0" y="51"/>
                            <a:pt x="6" y="58"/>
                            <a:pt x="14" y="58"/>
                          </a:cubicBezTo>
                          <a:cubicBezTo>
                            <a:pt x="22" y="58"/>
                            <a:pt x="29" y="51"/>
                            <a:pt x="29" y="43"/>
                          </a:cubicBezTo>
                          <a:cubicBezTo>
                            <a:pt x="29" y="15"/>
                            <a:pt x="29" y="15"/>
                            <a:pt x="29" y="15"/>
                          </a:cubicBezTo>
                          <a:cubicBezTo>
                            <a:pt x="29" y="7"/>
                            <a:pt x="22" y="0"/>
                            <a:pt x="14" y="0"/>
                          </a:cubicBezTo>
                          <a:close/>
                        </a:path>
                      </a:pathLst>
                    </a:custGeom>
                    <a:solidFill>
                      <a:srgbClr val="4D4D4F"/>
                    </a:solidFill>
                    <a:ln>
                      <a:noFill/>
                    </a:ln>
                    <a:extLst>
                      <a:ext uri="{91240B29-F687-4f45-9708-019B960494DF}">
                        <a14:hiddenLine xmlns=""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algn="l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200" b="0" i="0" u="none" strike="noStrike" kern="0" cap="none" spc="0" normalizeH="0" baseline="0" noProof="0" dirty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Arial"/>
                        <a:cs typeface=""/>
                      </a:endParaRPr>
                    </a:p>
                  </p:txBody>
                </p:sp>
                <p:sp>
                  <p:nvSpPr>
                    <p:cNvPr id="345" name="Freeform 32"/>
                    <p:cNvSpPr>
                      <a:spLocks/>
                    </p:cNvSpPr>
                    <p:nvPr/>
                  </p:nvSpPr>
                  <p:spPr bwMode="auto">
                    <a:xfrm>
                      <a:off x="4546601" y="2470150"/>
                      <a:ext cx="53975" cy="33338"/>
                    </a:xfrm>
                    <a:custGeom>
                      <a:avLst/>
                      <a:gdLst>
                        <a:gd name="T0" fmla="*/ 46 w 60"/>
                        <a:gd name="T1" fmla="*/ 8 h 37"/>
                        <a:gd name="T2" fmla="*/ 21 w 60"/>
                        <a:gd name="T3" fmla="*/ 2 h 37"/>
                        <a:gd name="T4" fmla="*/ 3 w 60"/>
                        <a:gd name="T5" fmla="*/ 11 h 37"/>
                        <a:gd name="T6" fmla="*/ 12 w 60"/>
                        <a:gd name="T7" fmla="*/ 30 h 37"/>
                        <a:gd name="T8" fmla="*/ 43 w 60"/>
                        <a:gd name="T9" fmla="*/ 37 h 37"/>
                        <a:gd name="T10" fmla="*/ 44 w 60"/>
                        <a:gd name="T11" fmla="*/ 37 h 37"/>
                        <a:gd name="T12" fmla="*/ 59 w 60"/>
                        <a:gd name="T13" fmla="*/ 24 h 37"/>
                        <a:gd name="T14" fmla="*/ 46 w 60"/>
                        <a:gd name="T15" fmla="*/ 8 h 3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</a:cxnLst>
                      <a:rect l="0" t="0" r="r" b="b"/>
                      <a:pathLst>
                        <a:path w="60" h="37">
                          <a:moveTo>
                            <a:pt x="46" y="8"/>
                          </a:moveTo>
                          <a:cubicBezTo>
                            <a:pt x="38" y="7"/>
                            <a:pt x="29" y="5"/>
                            <a:pt x="21" y="2"/>
                          </a:cubicBezTo>
                          <a:cubicBezTo>
                            <a:pt x="14" y="0"/>
                            <a:pt x="6" y="4"/>
                            <a:pt x="3" y="11"/>
                          </a:cubicBezTo>
                          <a:cubicBezTo>
                            <a:pt x="0" y="19"/>
                            <a:pt x="4" y="27"/>
                            <a:pt x="12" y="30"/>
                          </a:cubicBezTo>
                          <a:cubicBezTo>
                            <a:pt x="22" y="33"/>
                            <a:pt x="32" y="36"/>
                            <a:pt x="43" y="37"/>
                          </a:cubicBezTo>
                          <a:cubicBezTo>
                            <a:pt x="43" y="37"/>
                            <a:pt x="44" y="37"/>
                            <a:pt x="44" y="37"/>
                          </a:cubicBezTo>
                          <a:cubicBezTo>
                            <a:pt x="51" y="37"/>
                            <a:pt x="58" y="32"/>
                            <a:pt x="59" y="24"/>
                          </a:cubicBezTo>
                          <a:cubicBezTo>
                            <a:pt x="60" y="16"/>
                            <a:pt x="54" y="9"/>
                            <a:pt x="46" y="8"/>
                          </a:cubicBezTo>
                          <a:close/>
                        </a:path>
                      </a:pathLst>
                    </a:custGeom>
                    <a:solidFill>
                      <a:srgbClr val="4D4D4F"/>
                    </a:solidFill>
                    <a:ln>
                      <a:noFill/>
                    </a:ln>
                    <a:extLst>
                      <a:ext uri="{91240B29-F687-4f45-9708-019B960494DF}">
                        <a14:hiddenLine xmlns=""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algn="l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200" b="0" i="0" u="none" strike="noStrike" kern="0" cap="none" spc="0" normalizeH="0" baseline="0" noProof="0" dirty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Arial"/>
                        <a:cs typeface=""/>
                      </a:endParaRPr>
                    </a:p>
                  </p:txBody>
                </p:sp>
                <p:sp>
                  <p:nvSpPr>
                    <p:cNvPr id="346" name="Freeform 33"/>
                    <p:cNvSpPr>
                      <a:spLocks/>
                    </p:cNvSpPr>
                    <p:nvPr/>
                  </p:nvSpPr>
                  <p:spPr bwMode="auto">
                    <a:xfrm>
                      <a:off x="4781551" y="2478088"/>
                      <a:ext cx="50800" cy="25400"/>
                    </a:xfrm>
                    <a:custGeom>
                      <a:avLst/>
                      <a:gdLst>
                        <a:gd name="T0" fmla="*/ 43 w 57"/>
                        <a:gd name="T1" fmla="*/ 0 h 29"/>
                        <a:gd name="T2" fmla="*/ 14 w 57"/>
                        <a:gd name="T3" fmla="*/ 0 h 29"/>
                        <a:gd name="T4" fmla="*/ 0 w 57"/>
                        <a:gd name="T5" fmla="*/ 15 h 29"/>
                        <a:gd name="T6" fmla="*/ 14 w 57"/>
                        <a:gd name="T7" fmla="*/ 29 h 29"/>
                        <a:gd name="T8" fmla="*/ 43 w 57"/>
                        <a:gd name="T9" fmla="*/ 29 h 29"/>
                        <a:gd name="T10" fmla="*/ 57 w 57"/>
                        <a:gd name="T11" fmla="*/ 15 h 29"/>
                        <a:gd name="T12" fmla="*/ 43 w 57"/>
                        <a:gd name="T13" fmla="*/ 0 h 2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57" h="29">
                          <a:moveTo>
                            <a:pt x="43" y="0"/>
                          </a:moveTo>
                          <a:cubicBezTo>
                            <a:pt x="14" y="0"/>
                            <a:pt x="14" y="0"/>
                            <a:pt x="14" y="0"/>
                          </a:cubicBezTo>
                          <a:cubicBezTo>
                            <a:pt x="6" y="0"/>
                            <a:pt x="0" y="7"/>
                            <a:pt x="0" y="15"/>
                          </a:cubicBezTo>
                          <a:cubicBezTo>
                            <a:pt x="0" y="23"/>
                            <a:pt x="6" y="29"/>
                            <a:pt x="14" y="29"/>
                          </a:cubicBezTo>
                          <a:cubicBezTo>
                            <a:pt x="43" y="29"/>
                            <a:pt x="43" y="29"/>
                            <a:pt x="43" y="29"/>
                          </a:cubicBezTo>
                          <a:cubicBezTo>
                            <a:pt x="51" y="29"/>
                            <a:pt x="57" y="23"/>
                            <a:pt x="57" y="15"/>
                          </a:cubicBezTo>
                          <a:cubicBezTo>
                            <a:pt x="57" y="7"/>
                            <a:pt x="51" y="0"/>
                            <a:pt x="43" y="0"/>
                          </a:cubicBezTo>
                          <a:close/>
                        </a:path>
                      </a:pathLst>
                    </a:custGeom>
                    <a:solidFill>
                      <a:srgbClr val="4D4D4F"/>
                    </a:solidFill>
                    <a:ln>
                      <a:noFill/>
                    </a:ln>
                    <a:extLst>
                      <a:ext uri="{91240B29-F687-4f45-9708-019B960494DF}">
                        <a14:hiddenLine xmlns=""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algn="l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200" b="0" i="0" u="none" strike="noStrike" kern="0" cap="none" spc="0" normalizeH="0" baseline="0" noProof="0" dirty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Arial"/>
                        <a:cs typeface=""/>
                      </a:endParaRPr>
                    </a:p>
                  </p:txBody>
                </p:sp>
                <p:sp>
                  <p:nvSpPr>
                    <p:cNvPr id="347" name="Freeform 34"/>
                    <p:cNvSpPr>
                      <a:spLocks/>
                    </p:cNvSpPr>
                    <p:nvPr/>
                  </p:nvSpPr>
                  <p:spPr bwMode="auto">
                    <a:xfrm>
                      <a:off x="4703763" y="2478088"/>
                      <a:ext cx="50800" cy="25400"/>
                    </a:xfrm>
                    <a:custGeom>
                      <a:avLst/>
                      <a:gdLst>
                        <a:gd name="T0" fmla="*/ 44 w 58"/>
                        <a:gd name="T1" fmla="*/ 0 h 29"/>
                        <a:gd name="T2" fmla="*/ 15 w 58"/>
                        <a:gd name="T3" fmla="*/ 0 h 29"/>
                        <a:gd name="T4" fmla="*/ 0 w 58"/>
                        <a:gd name="T5" fmla="*/ 15 h 29"/>
                        <a:gd name="T6" fmla="*/ 15 w 58"/>
                        <a:gd name="T7" fmla="*/ 29 h 29"/>
                        <a:gd name="T8" fmla="*/ 44 w 58"/>
                        <a:gd name="T9" fmla="*/ 29 h 29"/>
                        <a:gd name="T10" fmla="*/ 58 w 58"/>
                        <a:gd name="T11" fmla="*/ 15 h 29"/>
                        <a:gd name="T12" fmla="*/ 44 w 58"/>
                        <a:gd name="T13" fmla="*/ 0 h 2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58" h="29">
                          <a:moveTo>
                            <a:pt x="44" y="0"/>
                          </a:moveTo>
                          <a:cubicBezTo>
                            <a:pt x="15" y="0"/>
                            <a:pt x="15" y="0"/>
                            <a:pt x="15" y="0"/>
                          </a:cubicBezTo>
                          <a:cubicBezTo>
                            <a:pt x="7" y="0"/>
                            <a:pt x="0" y="7"/>
                            <a:pt x="0" y="15"/>
                          </a:cubicBezTo>
                          <a:cubicBezTo>
                            <a:pt x="0" y="23"/>
                            <a:pt x="7" y="29"/>
                            <a:pt x="15" y="29"/>
                          </a:cubicBezTo>
                          <a:cubicBezTo>
                            <a:pt x="44" y="29"/>
                            <a:pt x="44" y="29"/>
                            <a:pt x="44" y="29"/>
                          </a:cubicBezTo>
                          <a:cubicBezTo>
                            <a:pt x="51" y="29"/>
                            <a:pt x="58" y="23"/>
                            <a:pt x="58" y="15"/>
                          </a:cubicBezTo>
                          <a:cubicBezTo>
                            <a:pt x="58" y="7"/>
                            <a:pt x="51" y="0"/>
                            <a:pt x="44" y="0"/>
                          </a:cubicBezTo>
                          <a:close/>
                        </a:path>
                      </a:pathLst>
                    </a:custGeom>
                    <a:solidFill>
                      <a:srgbClr val="4D4D4F"/>
                    </a:solidFill>
                    <a:ln>
                      <a:noFill/>
                    </a:ln>
                    <a:extLst>
                      <a:ext uri="{91240B29-F687-4f45-9708-019B960494DF}">
                        <a14:hiddenLine xmlns=""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algn="l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200" b="0" i="0" u="none" strike="noStrike" kern="0" cap="none" spc="0" normalizeH="0" baseline="0" noProof="0" dirty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Arial"/>
                        <a:cs typeface=""/>
                      </a:endParaRPr>
                    </a:p>
                  </p:txBody>
                </p:sp>
                <p:sp>
                  <p:nvSpPr>
                    <p:cNvPr id="348" name="Freeform 35"/>
                    <p:cNvSpPr>
                      <a:spLocks/>
                    </p:cNvSpPr>
                    <p:nvPr/>
                  </p:nvSpPr>
                  <p:spPr bwMode="auto">
                    <a:xfrm>
                      <a:off x="4625976" y="2478088"/>
                      <a:ext cx="52388" cy="25400"/>
                    </a:xfrm>
                    <a:custGeom>
                      <a:avLst/>
                      <a:gdLst>
                        <a:gd name="T0" fmla="*/ 43 w 58"/>
                        <a:gd name="T1" fmla="*/ 0 h 29"/>
                        <a:gd name="T2" fmla="*/ 15 w 58"/>
                        <a:gd name="T3" fmla="*/ 0 h 29"/>
                        <a:gd name="T4" fmla="*/ 0 w 58"/>
                        <a:gd name="T5" fmla="*/ 15 h 29"/>
                        <a:gd name="T6" fmla="*/ 15 w 58"/>
                        <a:gd name="T7" fmla="*/ 29 h 29"/>
                        <a:gd name="T8" fmla="*/ 43 w 58"/>
                        <a:gd name="T9" fmla="*/ 29 h 29"/>
                        <a:gd name="T10" fmla="*/ 58 w 58"/>
                        <a:gd name="T11" fmla="*/ 15 h 29"/>
                        <a:gd name="T12" fmla="*/ 43 w 58"/>
                        <a:gd name="T13" fmla="*/ 0 h 2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58" h="29">
                          <a:moveTo>
                            <a:pt x="43" y="0"/>
                          </a:moveTo>
                          <a:cubicBezTo>
                            <a:pt x="15" y="0"/>
                            <a:pt x="15" y="0"/>
                            <a:pt x="15" y="0"/>
                          </a:cubicBezTo>
                          <a:cubicBezTo>
                            <a:pt x="7" y="0"/>
                            <a:pt x="0" y="7"/>
                            <a:pt x="0" y="15"/>
                          </a:cubicBezTo>
                          <a:cubicBezTo>
                            <a:pt x="0" y="23"/>
                            <a:pt x="7" y="29"/>
                            <a:pt x="15" y="29"/>
                          </a:cubicBezTo>
                          <a:cubicBezTo>
                            <a:pt x="43" y="29"/>
                            <a:pt x="43" y="29"/>
                            <a:pt x="43" y="29"/>
                          </a:cubicBezTo>
                          <a:cubicBezTo>
                            <a:pt x="51" y="29"/>
                            <a:pt x="58" y="23"/>
                            <a:pt x="58" y="15"/>
                          </a:cubicBezTo>
                          <a:cubicBezTo>
                            <a:pt x="58" y="7"/>
                            <a:pt x="51" y="0"/>
                            <a:pt x="43" y="0"/>
                          </a:cubicBezTo>
                          <a:close/>
                        </a:path>
                      </a:pathLst>
                    </a:custGeom>
                    <a:solidFill>
                      <a:srgbClr val="4D4D4F"/>
                    </a:solidFill>
                    <a:ln>
                      <a:noFill/>
                    </a:ln>
                    <a:extLst>
                      <a:ext uri="{91240B29-F687-4f45-9708-019B960494DF}">
                        <a14:hiddenLine xmlns=""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algn="l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200" b="0" i="0" u="none" strike="noStrike" kern="0" cap="none" spc="0" normalizeH="0" baseline="0" noProof="0" dirty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Arial"/>
                        <a:cs typeface=""/>
                      </a:endParaRPr>
                    </a:p>
                  </p:txBody>
                </p:sp>
                <p:sp>
                  <p:nvSpPr>
                    <p:cNvPr id="349" name="Freeform 38"/>
                    <p:cNvSpPr>
                      <a:spLocks/>
                    </p:cNvSpPr>
                    <p:nvPr/>
                  </p:nvSpPr>
                  <p:spPr bwMode="auto">
                    <a:xfrm>
                      <a:off x="4859338" y="2473325"/>
                      <a:ext cx="52388" cy="30163"/>
                    </a:xfrm>
                    <a:custGeom>
                      <a:avLst/>
                      <a:gdLst>
                        <a:gd name="T0" fmla="*/ 39 w 58"/>
                        <a:gd name="T1" fmla="*/ 2 h 34"/>
                        <a:gd name="T2" fmla="*/ 14 w 58"/>
                        <a:gd name="T3" fmla="*/ 5 h 34"/>
                        <a:gd name="T4" fmla="*/ 0 w 58"/>
                        <a:gd name="T5" fmla="*/ 20 h 34"/>
                        <a:gd name="T6" fmla="*/ 14 w 58"/>
                        <a:gd name="T7" fmla="*/ 34 h 34"/>
                        <a:gd name="T8" fmla="*/ 14 w 58"/>
                        <a:gd name="T9" fmla="*/ 34 h 34"/>
                        <a:gd name="T10" fmla="*/ 46 w 58"/>
                        <a:gd name="T11" fmla="*/ 30 h 34"/>
                        <a:gd name="T12" fmla="*/ 56 w 58"/>
                        <a:gd name="T13" fmla="*/ 12 h 34"/>
                        <a:gd name="T14" fmla="*/ 39 w 58"/>
                        <a:gd name="T15" fmla="*/ 2 h 3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</a:cxnLst>
                      <a:rect l="0" t="0" r="r" b="b"/>
                      <a:pathLst>
                        <a:path w="58" h="34">
                          <a:moveTo>
                            <a:pt x="39" y="2"/>
                          </a:moveTo>
                          <a:cubicBezTo>
                            <a:pt x="31" y="4"/>
                            <a:pt x="22" y="5"/>
                            <a:pt x="14" y="5"/>
                          </a:cubicBezTo>
                          <a:cubicBezTo>
                            <a:pt x="6" y="5"/>
                            <a:pt x="0" y="12"/>
                            <a:pt x="0" y="20"/>
                          </a:cubicBezTo>
                          <a:cubicBezTo>
                            <a:pt x="0" y="28"/>
                            <a:pt x="6" y="34"/>
                            <a:pt x="14" y="34"/>
                          </a:cubicBezTo>
                          <a:cubicBezTo>
                            <a:pt x="14" y="34"/>
                            <a:pt x="14" y="34"/>
                            <a:pt x="14" y="34"/>
                          </a:cubicBezTo>
                          <a:cubicBezTo>
                            <a:pt x="25" y="34"/>
                            <a:pt x="36" y="32"/>
                            <a:pt x="46" y="30"/>
                          </a:cubicBezTo>
                          <a:cubicBezTo>
                            <a:pt x="54" y="28"/>
                            <a:pt x="58" y="20"/>
                            <a:pt x="56" y="12"/>
                          </a:cubicBezTo>
                          <a:cubicBezTo>
                            <a:pt x="55" y="5"/>
                            <a:pt x="47" y="0"/>
                            <a:pt x="39" y="2"/>
                          </a:cubicBezTo>
                          <a:close/>
                        </a:path>
                      </a:pathLst>
                    </a:custGeom>
                    <a:solidFill>
                      <a:srgbClr val="4D4D4F"/>
                    </a:solidFill>
                    <a:ln>
                      <a:noFill/>
                    </a:ln>
                    <a:extLst>
                      <a:ext uri="{91240B29-F687-4f45-9708-019B960494DF}">
                        <a14:hiddenLine xmlns=""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algn="l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200" b="0" i="0" u="none" strike="noStrike" kern="0" cap="none" spc="0" normalizeH="0" baseline="0" noProof="0" dirty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Arial"/>
                        <a:cs typeface=""/>
                      </a:endParaRPr>
                    </a:p>
                  </p:txBody>
                </p:sp>
              </p:grpSp>
              <p:sp>
                <p:nvSpPr>
                  <p:cNvPr id="326" name="Freeform 12"/>
                  <p:cNvSpPr>
                    <a:spLocks noEditPoints="1"/>
                  </p:cNvSpPr>
                  <p:nvPr/>
                </p:nvSpPr>
                <p:spPr bwMode="auto">
                  <a:xfrm>
                    <a:off x="5406483" y="2446478"/>
                    <a:ext cx="214941" cy="191168"/>
                  </a:xfrm>
                  <a:custGeom>
                    <a:avLst/>
                    <a:gdLst>
                      <a:gd name="T0" fmla="*/ 419 w 494"/>
                      <a:gd name="T1" fmla="*/ 299 h 448"/>
                      <a:gd name="T2" fmla="*/ 403 w 494"/>
                      <a:gd name="T3" fmla="*/ 301 h 448"/>
                      <a:gd name="T4" fmla="*/ 302 w 494"/>
                      <a:gd name="T5" fmla="*/ 126 h 448"/>
                      <a:gd name="T6" fmla="*/ 322 w 494"/>
                      <a:gd name="T7" fmla="*/ 75 h 448"/>
                      <a:gd name="T8" fmla="*/ 247 w 494"/>
                      <a:gd name="T9" fmla="*/ 0 h 448"/>
                      <a:gd name="T10" fmla="*/ 173 w 494"/>
                      <a:gd name="T11" fmla="*/ 75 h 448"/>
                      <a:gd name="T12" fmla="*/ 193 w 494"/>
                      <a:gd name="T13" fmla="*/ 126 h 448"/>
                      <a:gd name="T14" fmla="*/ 91 w 494"/>
                      <a:gd name="T15" fmla="*/ 301 h 448"/>
                      <a:gd name="T16" fmla="*/ 75 w 494"/>
                      <a:gd name="T17" fmla="*/ 299 h 448"/>
                      <a:gd name="T18" fmla="*/ 0 w 494"/>
                      <a:gd name="T19" fmla="*/ 373 h 448"/>
                      <a:gd name="T20" fmla="*/ 75 w 494"/>
                      <a:gd name="T21" fmla="*/ 448 h 448"/>
                      <a:gd name="T22" fmla="*/ 146 w 494"/>
                      <a:gd name="T23" fmla="*/ 395 h 448"/>
                      <a:gd name="T24" fmla="*/ 349 w 494"/>
                      <a:gd name="T25" fmla="*/ 395 h 448"/>
                      <a:gd name="T26" fmla="*/ 419 w 494"/>
                      <a:gd name="T27" fmla="*/ 448 h 448"/>
                      <a:gd name="T28" fmla="*/ 494 w 494"/>
                      <a:gd name="T29" fmla="*/ 373 h 448"/>
                      <a:gd name="T30" fmla="*/ 419 w 494"/>
                      <a:gd name="T31" fmla="*/ 299 h 448"/>
                      <a:gd name="T32" fmla="*/ 349 w 494"/>
                      <a:gd name="T33" fmla="*/ 351 h 448"/>
                      <a:gd name="T34" fmla="*/ 146 w 494"/>
                      <a:gd name="T35" fmla="*/ 351 h 448"/>
                      <a:gd name="T36" fmla="*/ 130 w 494"/>
                      <a:gd name="T37" fmla="*/ 323 h 448"/>
                      <a:gd name="T38" fmla="*/ 231 w 494"/>
                      <a:gd name="T39" fmla="*/ 148 h 448"/>
                      <a:gd name="T40" fmla="*/ 247 w 494"/>
                      <a:gd name="T41" fmla="*/ 150 h 448"/>
                      <a:gd name="T42" fmla="*/ 264 w 494"/>
                      <a:gd name="T43" fmla="*/ 148 h 448"/>
                      <a:gd name="T44" fmla="*/ 365 w 494"/>
                      <a:gd name="T45" fmla="*/ 323 h 448"/>
                      <a:gd name="T46" fmla="*/ 349 w 494"/>
                      <a:gd name="T47" fmla="*/ 351 h 44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</a:cxnLst>
                    <a:rect l="0" t="0" r="r" b="b"/>
                    <a:pathLst>
                      <a:path w="494" h="448">
                        <a:moveTo>
                          <a:pt x="419" y="299"/>
                        </a:moveTo>
                        <a:cubicBezTo>
                          <a:pt x="414" y="299"/>
                          <a:pt x="408" y="300"/>
                          <a:pt x="403" y="301"/>
                        </a:cubicBezTo>
                        <a:cubicBezTo>
                          <a:pt x="302" y="126"/>
                          <a:pt x="302" y="126"/>
                          <a:pt x="302" y="126"/>
                        </a:cubicBezTo>
                        <a:cubicBezTo>
                          <a:pt x="314" y="112"/>
                          <a:pt x="322" y="95"/>
                          <a:pt x="322" y="75"/>
                        </a:cubicBezTo>
                        <a:cubicBezTo>
                          <a:pt x="322" y="34"/>
                          <a:pt x="288" y="0"/>
                          <a:pt x="247" y="0"/>
                        </a:cubicBezTo>
                        <a:cubicBezTo>
                          <a:pt x="206" y="0"/>
                          <a:pt x="173" y="34"/>
                          <a:pt x="173" y="75"/>
                        </a:cubicBezTo>
                        <a:cubicBezTo>
                          <a:pt x="173" y="95"/>
                          <a:pt x="180" y="112"/>
                          <a:pt x="193" y="126"/>
                        </a:cubicBezTo>
                        <a:cubicBezTo>
                          <a:pt x="91" y="301"/>
                          <a:pt x="91" y="301"/>
                          <a:pt x="91" y="301"/>
                        </a:cubicBezTo>
                        <a:cubicBezTo>
                          <a:pt x="86" y="300"/>
                          <a:pt x="81" y="299"/>
                          <a:pt x="75" y="299"/>
                        </a:cubicBezTo>
                        <a:cubicBezTo>
                          <a:pt x="34" y="299"/>
                          <a:pt x="0" y="332"/>
                          <a:pt x="0" y="373"/>
                        </a:cubicBezTo>
                        <a:cubicBezTo>
                          <a:pt x="0" y="415"/>
                          <a:pt x="34" y="448"/>
                          <a:pt x="75" y="448"/>
                        </a:cubicBezTo>
                        <a:cubicBezTo>
                          <a:pt x="108" y="448"/>
                          <a:pt x="136" y="426"/>
                          <a:pt x="146" y="395"/>
                        </a:cubicBezTo>
                        <a:cubicBezTo>
                          <a:pt x="349" y="395"/>
                          <a:pt x="349" y="395"/>
                          <a:pt x="349" y="395"/>
                        </a:cubicBezTo>
                        <a:cubicBezTo>
                          <a:pt x="358" y="426"/>
                          <a:pt x="386" y="448"/>
                          <a:pt x="419" y="448"/>
                        </a:cubicBezTo>
                        <a:cubicBezTo>
                          <a:pt x="461" y="448"/>
                          <a:pt x="494" y="415"/>
                          <a:pt x="494" y="373"/>
                        </a:cubicBezTo>
                        <a:cubicBezTo>
                          <a:pt x="494" y="332"/>
                          <a:pt x="461" y="299"/>
                          <a:pt x="419" y="299"/>
                        </a:cubicBezTo>
                        <a:close/>
                        <a:moveTo>
                          <a:pt x="349" y="351"/>
                        </a:moveTo>
                        <a:cubicBezTo>
                          <a:pt x="146" y="351"/>
                          <a:pt x="146" y="351"/>
                          <a:pt x="146" y="351"/>
                        </a:cubicBezTo>
                        <a:cubicBezTo>
                          <a:pt x="142" y="341"/>
                          <a:pt x="137" y="331"/>
                          <a:pt x="130" y="323"/>
                        </a:cubicBezTo>
                        <a:cubicBezTo>
                          <a:pt x="231" y="148"/>
                          <a:pt x="231" y="148"/>
                          <a:pt x="231" y="148"/>
                        </a:cubicBezTo>
                        <a:cubicBezTo>
                          <a:pt x="236" y="149"/>
                          <a:pt x="242" y="150"/>
                          <a:pt x="247" y="150"/>
                        </a:cubicBezTo>
                        <a:cubicBezTo>
                          <a:pt x="253" y="150"/>
                          <a:pt x="258" y="149"/>
                          <a:pt x="264" y="148"/>
                        </a:cubicBezTo>
                        <a:cubicBezTo>
                          <a:pt x="365" y="323"/>
                          <a:pt x="365" y="323"/>
                          <a:pt x="365" y="323"/>
                        </a:cubicBezTo>
                        <a:cubicBezTo>
                          <a:pt x="358" y="331"/>
                          <a:pt x="352" y="341"/>
                          <a:pt x="349" y="351"/>
                        </a:cubicBezTo>
                        <a:close/>
                      </a:path>
                    </a:pathLst>
                  </a:custGeom>
                  <a:solidFill>
                    <a:sysClr val="window" lastClr="FFFFFF"/>
                  </a:solidFill>
                  <a:ln>
                    <a:noFill/>
                  </a:ln>
                  <a:extLst/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200" b="0" i="0" u="none" strike="noStrike" kern="0" cap="none" spc="0" normalizeH="0" baseline="0" noProof="0" dirty="0" smtClean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rial"/>
                      <a:cs typeface=""/>
                    </a:endParaRPr>
                  </a:p>
                </p:txBody>
              </p:sp>
            </p:grpSp>
            <p:sp>
              <p:nvSpPr>
                <p:cNvPr id="323" name="Rounded Rectangle 322"/>
                <p:cNvSpPr/>
                <p:nvPr/>
              </p:nvSpPr>
              <p:spPr>
                <a:xfrm>
                  <a:off x="5352784" y="2386601"/>
                  <a:ext cx="308105" cy="310923"/>
                </a:xfrm>
                <a:prstGeom prst="roundRect">
                  <a:avLst/>
                </a:prstGeom>
                <a:solidFill>
                  <a:srgbClr val="4F81BD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smtClean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/>
                    <a:ea typeface=""/>
                    <a:cs typeface=""/>
                  </a:endParaRPr>
                </a:p>
              </p:txBody>
            </p:sp>
            <p:sp>
              <p:nvSpPr>
                <p:cNvPr id="324" name="Freeform 12"/>
                <p:cNvSpPr>
                  <a:spLocks noEditPoints="1"/>
                </p:cNvSpPr>
                <p:nvPr/>
              </p:nvSpPr>
              <p:spPr bwMode="auto">
                <a:xfrm>
                  <a:off x="5388323" y="2435434"/>
                  <a:ext cx="214941" cy="191168"/>
                </a:xfrm>
                <a:custGeom>
                  <a:avLst/>
                  <a:gdLst>
                    <a:gd name="T0" fmla="*/ 419 w 494"/>
                    <a:gd name="T1" fmla="*/ 299 h 448"/>
                    <a:gd name="T2" fmla="*/ 403 w 494"/>
                    <a:gd name="T3" fmla="*/ 301 h 448"/>
                    <a:gd name="T4" fmla="*/ 302 w 494"/>
                    <a:gd name="T5" fmla="*/ 126 h 448"/>
                    <a:gd name="T6" fmla="*/ 322 w 494"/>
                    <a:gd name="T7" fmla="*/ 75 h 448"/>
                    <a:gd name="T8" fmla="*/ 247 w 494"/>
                    <a:gd name="T9" fmla="*/ 0 h 448"/>
                    <a:gd name="T10" fmla="*/ 173 w 494"/>
                    <a:gd name="T11" fmla="*/ 75 h 448"/>
                    <a:gd name="T12" fmla="*/ 193 w 494"/>
                    <a:gd name="T13" fmla="*/ 126 h 448"/>
                    <a:gd name="T14" fmla="*/ 91 w 494"/>
                    <a:gd name="T15" fmla="*/ 301 h 448"/>
                    <a:gd name="T16" fmla="*/ 75 w 494"/>
                    <a:gd name="T17" fmla="*/ 299 h 448"/>
                    <a:gd name="T18" fmla="*/ 0 w 494"/>
                    <a:gd name="T19" fmla="*/ 373 h 448"/>
                    <a:gd name="T20" fmla="*/ 75 w 494"/>
                    <a:gd name="T21" fmla="*/ 448 h 448"/>
                    <a:gd name="T22" fmla="*/ 146 w 494"/>
                    <a:gd name="T23" fmla="*/ 395 h 448"/>
                    <a:gd name="T24" fmla="*/ 349 w 494"/>
                    <a:gd name="T25" fmla="*/ 395 h 448"/>
                    <a:gd name="T26" fmla="*/ 419 w 494"/>
                    <a:gd name="T27" fmla="*/ 448 h 448"/>
                    <a:gd name="T28" fmla="*/ 494 w 494"/>
                    <a:gd name="T29" fmla="*/ 373 h 448"/>
                    <a:gd name="T30" fmla="*/ 419 w 494"/>
                    <a:gd name="T31" fmla="*/ 299 h 448"/>
                    <a:gd name="T32" fmla="*/ 349 w 494"/>
                    <a:gd name="T33" fmla="*/ 351 h 448"/>
                    <a:gd name="T34" fmla="*/ 146 w 494"/>
                    <a:gd name="T35" fmla="*/ 351 h 448"/>
                    <a:gd name="T36" fmla="*/ 130 w 494"/>
                    <a:gd name="T37" fmla="*/ 323 h 448"/>
                    <a:gd name="T38" fmla="*/ 231 w 494"/>
                    <a:gd name="T39" fmla="*/ 148 h 448"/>
                    <a:gd name="T40" fmla="*/ 247 w 494"/>
                    <a:gd name="T41" fmla="*/ 150 h 448"/>
                    <a:gd name="T42" fmla="*/ 264 w 494"/>
                    <a:gd name="T43" fmla="*/ 148 h 448"/>
                    <a:gd name="T44" fmla="*/ 365 w 494"/>
                    <a:gd name="T45" fmla="*/ 323 h 448"/>
                    <a:gd name="T46" fmla="*/ 349 w 494"/>
                    <a:gd name="T47" fmla="*/ 351 h 44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</a:cxnLst>
                  <a:rect l="0" t="0" r="r" b="b"/>
                  <a:pathLst>
                    <a:path w="494" h="448">
                      <a:moveTo>
                        <a:pt x="419" y="299"/>
                      </a:moveTo>
                      <a:cubicBezTo>
                        <a:pt x="414" y="299"/>
                        <a:pt x="408" y="300"/>
                        <a:pt x="403" y="301"/>
                      </a:cubicBezTo>
                      <a:cubicBezTo>
                        <a:pt x="302" y="126"/>
                        <a:pt x="302" y="126"/>
                        <a:pt x="302" y="126"/>
                      </a:cubicBezTo>
                      <a:cubicBezTo>
                        <a:pt x="314" y="112"/>
                        <a:pt x="322" y="95"/>
                        <a:pt x="322" y="75"/>
                      </a:cubicBezTo>
                      <a:cubicBezTo>
                        <a:pt x="322" y="34"/>
                        <a:pt x="288" y="0"/>
                        <a:pt x="247" y="0"/>
                      </a:cubicBezTo>
                      <a:cubicBezTo>
                        <a:pt x="206" y="0"/>
                        <a:pt x="173" y="34"/>
                        <a:pt x="173" y="75"/>
                      </a:cubicBezTo>
                      <a:cubicBezTo>
                        <a:pt x="173" y="95"/>
                        <a:pt x="180" y="112"/>
                        <a:pt x="193" y="126"/>
                      </a:cubicBezTo>
                      <a:cubicBezTo>
                        <a:pt x="91" y="301"/>
                        <a:pt x="91" y="301"/>
                        <a:pt x="91" y="301"/>
                      </a:cubicBezTo>
                      <a:cubicBezTo>
                        <a:pt x="86" y="300"/>
                        <a:pt x="81" y="299"/>
                        <a:pt x="75" y="299"/>
                      </a:cubicBezTo>
                      <a:cubicBezTo>
                        <a:pt x="34" y="299"/>
                        <a:pt x="0" y="332"/>
                        <a:pt x="0" y="373"/>
                      </a:cubicBezTo>
                      <a:cubicBezTo>
                        <a:pt x="0" y="415"/>
                        <a:pt x="34" y="448"/>
                        <a:pt x="75" y="448"/>
                      </a:cubicBezTo>
                      <a:cubicBezTo>
                        <a:pt x="108" y="448"/>
                        <a:pt x="136" y="426"/>
                        <a:pt x="146" y="395"/>
                      </a:cubicBezTo>
                      <a:cubicBezTo>
                        <a:pt x="349" y="395"/>
                        <a:pt x="349" y="395"/>
                        <a:pt x="349" y="395"/>
                      </a:cubicBezTo>
                      <a:cubicBezTo>
                        <a:pt x="358" y="426"/>
                        <a:pt x="386" y="448"/>
                        <a:pt x="419" y="448"/>
                      </a:cubicBezTo>
                      <a:cubicBezTo>
                        <a:pt x="461" y="448"/>
                        <a:pt x="494" y="415"/>
                        <a:pt x="494" y="373"/>
                      </a:cubicBezTo>
                      <a:cubicBezTo>
                        <a:pt x="494" y="332"/>
                        <a:pt x="461" y="299"/>
                        <a:pt x="419" y="299"/>
                      </a:cubicBezTo>
                      <a:close/>
                      <a:moveTo>
                        <a:pt x="349" y="351"/>
                      </a:moveTo>
                      <a:cubicBezTo>
                        <a:pt x="146" y="351"/>
                        <a:pt x="146" y="351"/>
                        <a:pt x="146" y="351"/>
                      </a:cubicBezTo>
                      <a:cubicBezTo>
                        <a:pt x="142" y="341"/>
                        <a:pt x="137" y="331"/>
                        <a:pt x="130" y="323"/>
                      </a:cubicBezTo>
                      <a:cubicBezTo>
                        <a:pt x="231" y="148"/>
                        <a:pt x="231" y="148"/>
                        <a:pt x="231" y="148"/>
                      </a:cubicBezTo>
                      <a:cubicBezTo>
                        <a:pt x="236" y="149"/>
                        <a:pt x="242" y="150"/>
                        <a:pt x="247" y="150"/>
                      </a:cubicBezTo>
                      <a:cubicBezTo>
                        <a:pt x="253" y="150"/>
                        <a:pt x="258" y="149"/>
                        <a:pt x="264" y="148"/>
                      </a:cubicBezTo>
                      <a:cubicBezTo>
                        <a:pt x="365" y="323"/>
                        <a:pt x="365" y="323"/>
                        <a:pt x="365" y="323"/>
                      </a:cubicBezTo>
                      <a:cubicBezTo>
                        <a:pt x="358" y="331"/>
                        <a:pt x="352" y="341"/>
                        <a:pt x="349" y="351"/>
                      </a:cubicBezTo>
                      <a:close/>
                    </a:path>
                  </a:pathLst>
                </a:custGeom>
                <a:solidFill>
                  <a:sysClr val="window" lastClr="FFFFFF"/>
                </a:solidFill>
                <a:ln>
                  <a:noFill/>
                </a:ln>
                <a:extLst/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2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/>
                    <a:cs typeface=""/>
                  </a:endParaRPr>
                </a:p>
              </p:txBody>
            </p:sp>
          </p:grpSp>
          <p:grpSp>
            <p:nvGrpSpPr>
              <p:cNvPr id="293" name="Group 292"/>
              <p:cNvGrpSpPr/>
              <p:nvPr/>
            </p:nvGrpSpPr>
            <p:grpSpPr>
              <a:xfrm>
                <a:off x="4160113" y="3040864"/>
                <a:ext cx="309858" cy="281520"/>
                <a:chOff x="5310724" y="2352924"/>
                <a:chExt cx="398754" cy="374816"/>
              </a:xfrm>
            </p:grpSpPr>
            <p:grpSp>
              <p:nvGrpSpPr>
                <p:cNvPr id="294" name="Group 293"/>
                <p:cNvGrpSpPr/>
                <p:nvPr/>
              </p:nvGrpSpPr>
              <p:grpSpPr>
                <a:xfrm>
                  <a:off x="5310724" y="2352924"/>
                  <a:ext cx="398754" cy="374816"/>
                  <a:chOff x="5310724" y="2352924"/>
                  <a:chExt cx="398754" cy="374816"/>
                </a:xfrm>
              </p:grpSpPr>
              <p:grpSp>
                <p:nvGrpSpPr>
                  <p:cNvPr id="297" name="Group 296"/>
                  <p:cNvGrpSpPr/>
                  <p:nvPr/>
                </p:nvGrpSpPr>
                <p:grpSpPr>
                  <a:xfrm rot="5400000">
                    <a:off x="5322693" y="2340955"/>
                    <a:ext cx="374816" cy="398754"/>
                    <a:chOff x="4471988" y="1985963"/>
                    <a:chExt cx="527051" cy="517525"/>
                  </a:xfrm>
                </p:grpSpPr>
                <p:sp>
                  <p:nvSpPr>
                    <p:cNvPr id="299" name="Freeform 13"/>
                    <p:cNvSpPr>
                      <a:spLocks/>
                    </p:cNvSpPr>
                    <p:nvPr/>
                  </p:nvSpPr>
                  <p:spPr bwMode="auto">
                    <a:xfrm>
                      <a:off x="4471988" y="2117725"/>
                      <a:ext cx="25400" cy="50800"/>
                    </a:xfrm>
                    <a:custGeom>
                      <a:avLst/>
                      <a:gdLst>
                        <a:gd name="T0" fmla="*/ 14 w 29"/>
                        <a:gd name="T1" fmla="*/ 57 h 57"/>
                        <a:gd name="T2" fmla="*/ 29 w 29"/>
                        <a:gd name="T3" fmla="*/ 43 h 57"/>
                        <a:gd name="T4" fmla="*/ 29 w 29"/>
                        <a:gd name="T5" fmla="*/ 14 h 57"/>
                        <a:gd name="T6" fmla="*/ 14 w 29"/>
                        <a:gd name="T7" fmla="*/ 0 h 57"/>
                        <a:gd name="T8" fmla="*/ 0 w 29"/>
                        <a:gd name="T9" fmla="*/ 14 h 57"/>
                        <a:gd name="T10" fmla="*/ 0 w 29"/>
                        <a:gd name="T11" fmla="*/ 43 h 57"/>
                        <a:gd name="T12" fmla="*/ 14 w 29"/>
                        <a:gd name="T13" fmla="*/ 57 h 5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29" h="57">
                          <a:moveTo>
                            <a:pt x="14" y="57"/>
                          </a:moveTo>
                          <a:cubicBezTo>
                            <a:pt x="22" y="57"/>
                            <a:pt x="29" y="51"/>
                            <a:pt x="29" y="43"/>
                          </a:cubicBezTo>
                          <a:cubicBezTo>
                            <a:pt x="29" y="14"/>
                            <a:pt x="29" y="14"/>
                            <a:pt x="29" y="14"/>
                          </a:cubicBezTo>
                          <a:cubicBezTo>
                            <a:pt x="29" y="6"/>
                            <a:pt x="22" y="0"/>
                            <a:pt x="14" y="0"/>
                          </a:cubicBezTo>
                          <a:cubicBezTo>
                            <a:pt x="7" y="0"/>
                            <a:pt x="0" y="6"/>
                            <a:pt x="0" y="14"/>
                          </a:cubicBezTo>
                          <a:cubicBezTo>
                            <a:pt x="0" y="43"/>
                            <a:pt x="0" y="43"/>
                            <a:pt x="0" y="43"/>
                          </a:cubicBezTo>
                          <a:cubicBezTo>
                            <a:pt x="0" y="51"/>
                            <a:pt x="7" y="57"/>
                            <a:pt x="14" y="57"/>
                          </a:cubicBezTo>
                          <a:close/>
                        </a:path>
                      </a:pathLst>
                    </a:custGeom>
                    <a:solidFill>
                      <a:srgbClr val="4D4D4F"/>
                    </a:solidFill>
                    <a:ln>
                      <a:noFill/>
                    </a:ln>
                    <a:extLst>
                      <a:ext uri="{91240B29-F687-4f45-9708-019B960494DF}">
                        <a14:hiddenLine xmlns=""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algn="l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200" b="0" i="0" u="none" strike="noStrike" kern="0" cap="none" spc="0" normalizeH="0" baseline="0" noProof="0" dirty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Arial"/>
                        <a:cs typeface=""/>
                      </a:endParaRPr>
                    </a:p>
                  </p:txBody>
                </p:sp>
                <p:sp>
                  <p:nvSpPr>
                    <p:cNvPr id="300" name="Freeform 14"/>
                    <p:cNvSpPr>
                      <a:spLocks/>
                    </p:cNvSpPr>
                    <p:nvPr/>
                  </p:nvSpPr>
                  <p:spPr bwMode="auto">
                    <a:xfrm>
                      <a:off x="4471988" y="2271713"/>
                      <a:ext cx="25400" cy="52388"/>
                    </a:xfrm>
                    <a:custGeom>
                      <a:avLst/>
                      <a:gdLst>
                        <a:gd name="T0" fmla="*/ 14 w 29"/>
                        <a:gd name="T1" fmla="*/ 58 h 58"/>
                        <a:gd name="T2" fmla="*/ 29 w 29"/>
                        <a:gd name="T3" fmla="*/ 43 h 58"/>
                        <a:gd name="T4" fmla="*/ 29 w 29"/>
                        <a:gd name="T5" fmla="*/ 15 h 58"/>
                        <a:gd name="T6" fmla="*/ 14 w 29"/>
                        <a:gd name="T7" fmla="*/ 0 h 58"/>
                        <a:gd name="T8" fmla="*/ 0 w 29"/>
                        <a:gd name="T9" fmla="*/ 15 h 58"/>
                        <a:gd name="T10" fmla="*/ 0 w 29"/>
                        <a:gd name="T11" fmla="*/ 43 h 58"/>
                        <a:gd name="T12" fmla="*/ 14 w 29"/>
                        <a:gd name="T13" fmla="*/ 58 h 5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29" h="58">
                          <a:moveTo>
                            <a:pt x="14" y="58"/>
                          </a:moveTo>
                          <a:cubicBezTo>
                            <a:pt x="22" y="58"/>
                            <a:pt x="29" y="51"/>
                            <a:pt x="29" y="43"/>
                          </a:cubicBezTo>
                          <a:cubicBezTo>
                            <a:pt x="29" y="15"/>
                            <a:pt x="29" y="15"/>
                            <a:pt x="29" y="15"/>
                          </a:cubicBezTo>
                          <a:cubicBezTo>
                            <a:pt x="29" y="7"/>
                            <a:pt x="22" y="0"/>
                            <a:pt x="14" y="0"/>
                          </a:cubicBezTo>
                          <a:cubicBezTo>
                            <a:pt x="7" y="0"/>
                            <a:pt x="0" y="7"/>
                            <a:pt x="0" y="15"/>
                          </a:cubicBezTo>
                          <a:cubicBezTo>
                            <a:pt x="0" y="43"/>
                            <a:pt x="0" y="43"/>
                            <a:pt x="0" y="43"/>
                          </a:cubicBezTo>
                          <a:cubicBezTo>
                            <a:pt x="0" y="51"/>
                            <a:pt x="7" y="58"/>
                            <a:pt x="14" y="58"/>
                          </a:cubicBezTo>
                          <a:close/>
                        </a:path>
                      </a:pathLst>
                    </a:custGeom>
                    <a:solidFill>
                      <a:srgbClr val="4D4D4F"/>
                    </a:solidFill>
                    <a:ln>
                      <a:noFill/>
                    </a:ln>
                    <a:extLst>
                      <a:ext uri="{91240B29-F687-4f45-9708-019B960494DF}">
                        <a14:hiddenLine xmlns=""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algn="l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200" b="0" i="0" u="none" strike="noStrike" kern="0" cap="none" spc="0" normalizeH="0" baseline="0" noProof="0" dirty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Arial"/>
                        <a:cs typeface=""/>
                      </a:endParaRPr>
                    </a:p>
                  </p:txBody>
                </p:sp>
                <p:sp>
                  <p:nvSpPr>
                    <p:cNvPr id="301" name="Freeform 15"/>
                    <p:cNvSpPr>
                      <a:spLocks/>
                    </p:cNvSpPr>
                    <p:nvPr/>
                  </p:nvSpPr>
                  <p:spPr bwMode="auto">
                    <a:xfrm>
                      <a:off x="4487863" y="2422525"/>
                      <a:ext cx="44450" cy="47625"/>
                    </a:xfrm>
                    <a:custGeom>
                      <a:avLst/>
                      <a:gdLst>
                        <a:gd name="T0" fmla="*/ 29 w 50"/>
                        <a:gd name="T1" fmla="*/ 8 h 53"/>
                        <a:gd name="T2" fmla="*/ 9 w 50"/>
                        <a:gd name="T3" fmla="*/ 4 h 53"/>
                        <a:gd name="T4" fmla="*/ 4 w 50"/>
                        <a:gd name="T5" fmla="*/ 24 h 53"/>
                        <a:gd name="T6" fmla="*/ 24 w 50"/>
                        <a:gd name="T7" fmla="*/ 49 h 53"/>
                        <a:gd name="T8" fmla="*/ 34 w 50"/>
                        <a:gd name="T9" fmla="*/ 53 h 53"/>
                        <a:gd name="T10" fmla="*/ 45 w 50"/>
                        <a:gd name="T11" fmla="*/ 49 h 53"/>
                        <a:gd name="T12" fmla="*/ 45 w 50"/>
                        <a:gd name="T13" fmla="*/ 28 h 53"/>
                        <a:gd name="T14" fmla="*/ 29 w 50"/>
                        <a:gd name="T15" fmla="*/ 8 h 5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</a:cxnLst>
                      <a:rect l="0" t="0" r="r" b="b"/>
                      <a:pathLst>
                        <a:path w="50" h="53">
                          <a:moveTo>
                            <a:pt x="29" y="8"/>
                          </a:moveTo>
                          <a:cubicBezTo>
                            <a:pt x="24" y="2"/>
                            <a:pt x="15" y="0"/>
                            <a:pt x="9" y="4"/>
                          </a:cubicBezTo>
                          <a:cubicBezTo>
                            <a:pt x="2" y="8"/>
                            <a:pt x="0" y="17"/>
                            <a:pt x="4" y="24"/>
                          </a:cubicBezTo>
                          <a:cubicBezTo>
                            <a:pt x="10" y="33"/>
                            <a:pt x="17" y="41"/>
                            <a:pt x="24" y="49"/>
                          </a:cubicBezTo>
                          <a:cubicBezTo>
                            <a:pt x="27" y="51"/>
                            <a:pt x="31" y="53"/>
                            <a:pt x="34" y="53"/>
                          </a:cubicBezTo>
                          <a:cubicBezTo>
                            <a:pt x="38" y="53"/>
                            <a:pt x="42" y="51"/>
                            <a:pt x="45" y="49"/>
                          </a:cubicBezTo>
                          <a:cubicBezTo>
                            <a:pt x="50" y="43"/>
                            <a:pt x="50" y="34"/>
                            <a:pt x="45" y="28"/>
                          </a:cubicBezTo>
                          <a:cubicBezTo>
                            <a:pt x="39" y="22"/>
                            <a:pt x="33" y="15"/>
                            <a:pt x="29" y="8"/>
                          </a:cubicBezTo>
                          <a:close/>
                        </a:path>
                      </a:pathLst>
                    </a:custGeom>
                    <a:solidFill>
                      <a:srgbClr val="4D4D4F"/>
                    </a:solidFill>
                    <a:ln>
                      <a:noFill/>
                    </a:ln>
                    <a:extLst>
                      <a:ext uri="{91240B29-F687-4f45-9708-019B960494DF}">
                        <a14:hiddenLine xmlns=""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algn="l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200" b="0" i="0" u="none" strike="noStrike" kern="0" cap="none" spc="0" normalizeH="0" baseline="0" noProof="0" dirty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Arial"/>
                        <a:cs typeface=""/>
                      </a:endParaRPr>
                    </a:p>
                  </p:txBody>
                </p:sp>
                <p:sp>
                  <p:nvSpPr>
                    <p:cNvPr id="302" name="Freeform 16"/>
                    <p:cNvSpPr>
                      <a:spLocks/>
                    </p:cNvSpPr>
                    <p:nvPr/>
                  </p:nvSpPr>
                  <p:spPr bwMode="auto">
                    <a:xfrm>
                      <a:off x="4471988" y="2193925"/>
                      <a:ext cx="25400" cy="52388"/>
                    </a:xfrm>
                    <a:custGeom>
                      <a:avLst/>
                      <a:gdLst>
                        <a:gd name="T0" fmla="*/ 14 w 29"/>
                        <a:gd name="T1" fmla="*/ 58 h 58"/>
                        <a:gd name="T2" fmla="*/ 29 w 29"/>
                        <a:gd name="T3" fmla="*/ 43 h 58"/>
                        <a:gd name="T4" fmla="*/ 29 w 29"/>
                        <a:gd name="T5" fmla="*/ 14 h 58"/>
                        <a:gd name="T6" fmla="*/ 14 w 29"/>
                        <a:gd name="T7" fmla="*/ 0 h 58"/>
                        <a:gd name="T8" fmla="*/ 0 w 29"/>
                        <a:gd name="T9" fmla="*/ 14 h 58"/>
                        <a:gd name="T10" fmla="*/ 0 w 29"/>
                        <a:gd name="T11" fmla="*/ 43 h 58"/>
                        <a:gd name="T12" fmla="*/ 14 w 29"/>
                        <a:gd name="T13" fmla="*/ 58 h 5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29" h="58">
                          <a:moveTo>
                            <a:pt x="14" y="58"/>
                          </a:moveTo>
                          <a:cubicBezTo>
                            <a:pt x="22" y="58"/>
                            <a:pt x="29" y="51"/>
                            <a:pt x="29" y="43"/>
                          </a:cubicBezTo>
                          <a:cubicBezTo>
                            <a:pt x="29" y="14"/>
                            <a:pt x="29" y="14"/>
                            <a:pt x="29" y="14"/>
                          </a:cubicBezTo>
                          <a:cubicBezTo>
                            <a:pt x="29" y="6"/>
                            <a:pt x="22" y="0"/>
                            <a:pt x="14" y="0"/>
                          </a:cubicBezTo>
                          <a:cubicBezTo>
                            <a:pt x="7" y="0"/>
                            <a:pt x="0" y="6"/>
                            <a:pt x="0" y="14"/>
                          </a:cubicBezTo>
                          <a:cubicBezTo>
                            <a:pt x="0" y="43"/>
                            <a:pt x="0" y="43"/>
                            <a:pt x="0" y="43"/>
                          </a:cubicBezTo>
                          <a:cubicBezTo>
                            <a:pt x="0" y="51"/>
                            <a:pt x="7" y="58"/>
                            <a:pt x="14" y="58"/>
                          </a:cubicBezTo>
                          <a:close/>
                        </a:path>
                      </a:pathLst>
                    </a:custGeom>
                    <a:solidFill>
                      <a:srgbClr val="4D4D4F"/>
                    </a:solidFill>
                    <a:ln>
                      <a:noFill/>
                    </a:ln>
                    <a:extLst>
                      <a:ext uri="{91240B29-F687-4f45-9708-019B960494DF}">
                        <a14:hiddenLine xmlns=""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algn="l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200" b="0" i="0" u="none" strike="noStrike" kern="0" cap="none" spc="0" normalizeH="0" baseline="0" noProof="0" dirty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Arial"/>
                        <a:cs typeface=""/>
                      </a:endParaRPr>
                    </a:p>
                  </p:txBody>
                </p:sp>
                <p:sp>
                  <p:nvSpPr>
                    <p:cNvPr id="303" name="Freeform 17"/>
                    <p:cNvSpPr>
                      <a:spLocks/>
                    </p:cNvSpPr>
                    <p:nvPr/>
                  </p:nvSpPr>
                  <p:spPr bwMode="auto">
                    <a:xfrm>
                      <a:off x="4830763" y="1985963"/>
                      <a:ext cx="50800" cy="26988"/>
                    </a:xfrm>
                    <a:custGeom>
                      <a:avLst/>
                      <a:gdLst>
                        <a:gd name="T0" fmla="*/ 15 w 57"/>
                        <a:gd name="T1" fmla="*/ 29 h 29"/>
                        <a:gd name="T2" fmla="*/ 44 w 57"/>
                        <a:gd name="T3" fmla="*/ 29 h 29"/>
                        <a:gd name="T4" fmla="*/ 57 w 57"/>
                        <a:gd name="T5" fmla="*/ 15 h 29"/>
                        <a:gd name="T6" fmla="*/ 43 w 57"/>
                        <a:gd name="T7" fmla="*/ 0 h 29"/>
                        <a:gd name="T8" fmla="*/ 15 w 57"/>
                        <a:gd name="T9" fmla="*/ 0 h 29"/>
                        <a:gd name="T10" fmla="*/ 0 w 57"/>
                        <a:gd name="T11" fmla="*/ 15 h 29"/>
                        <a:gd name="T12" fmla="*/ 15 w 57"/>
                        <a:gd name="T13" fmla="*/ 29 h 2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57" h="29">
                          <a:moveTo>
                            <a:pt x="15" y="29"/>
                          </a:moveTo>
                          <a:cubicBezTo>
                            <a:pt x="44" y="29"/>
                            <a:pt x="44" y="29"/>
                            <a:pt x="44" y="29"/>
                          </a:cubicBezTo>
                          <a:cubicBezTo>
                            <a:pt x="51" y="29"/>
                            <a:pt x="57" y="23"/>
                            <a:pt x="57" y="15"/>
                          </a:cubicBezTo>
                          <a:cubicBezTo>
                            <a:pt x="57" y="7"/>
                            <a:pt x="50" y="0"/>
                            <a:pt x="43" y="0"/>
                          </a:cubicBezTo>
                          <a:cubicBezTo>
                            <a:pt x="15" y="0"/>
                            <a:pt x="15" y="0"/>
                            <a:pt x="15" y="0"/>
                          </a:cubicBezTo>
                          <a:cubicBezTo>
                            <a:pt x="7" y="0"/>
                            <a:pt x="0" y="7"/>
                            <a:pt x="0" y="15"/>
                          </a:cubicBezTo>
                          <a:cubicBezTo>
                            <a:pt x="0" y="23"/>
                            <a:pt x="7" y="29"/>
                            <a:pt x="15" y="29"/>
                          </a:cubicBezTo>
                          <a:close/>
                        </a:path>
                      </a:pathLst>
                    </a:custGeom>
                    <a:solidFill>
                      <a:srgbClr val="4D4D4F"/>
                    </a:solidFill>
                    <a:ln>
                      <a:noFill/>
                    </a:ln>
                    <a:extLst>
                      <a:ext uri="{91240B29-F687-4f45-9708-019B960494DF}">
                        <a14:hiddenLine xmlns=""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algn="l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200" b="0" i="0" u="none" strike="noStrike" kern="0" cap="none" spc="0" normalizeH="0" baseline="0" noProof="0" dirty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Arial"/>
                        <a:cs typeface=""/>
                      </a:endParaRPr>
                    </a:p>
                  </p:txBody>
                </p:sp>
                <p:sp>
                  <p:nvSpPr>
                    <p:cNvPr id="304" name="Freeform 18"/>
                    <p:cNvSpPr>
                      <a:spLocks/>
                    </p:cNvSpPr>
                    <p:nvPr/>
                  </p:nvSpPr>
                  <p:spPr bwMode="auto">
                    <a:xfrm>
                      <a:off x="4905376" y="1997075"/>
                      <a:ext cx="50800" cy="41275"/>
                    </a:xfrm>
                    <a:custGeom>
                      <a:avLst/>
                      <a:gdLst>
                        <a:gd name="T0" fmla="*/ 10 w 56"/>
                        <a:gd name="T1" fmla="*/ 30 h 47"/>
                        <a:gd name="T2" fmla="*/ 31 w 56"/>
                        <a:gd name="T3" fmla="*/ 43 h 47"/>
                        <a:gd name="T4" fmla="*/ 40 w 56"/>
                        <a:gd name="T5" fmla="*/ 47 h 47"/>
                        <a:gd name="T6" fmla="*/ 51 w 56"/>
                        <a:gd name="T7" fmla="*/ 41 h 47"/>
                        <a:gd name="T8" fmla="*/ 49 w 56"/>
                        <a:gd name="T9" fmla="*/ 21 h 47"/>
                        <a:gd name="T10" fmla="*/ 22 w 56"/>
                        <a:gd name="T11" fmla="*/ 4 h 47"/>
                        <a:gd name="T12" fmla="*/ 3 w 56"/>
                        <a:gd name="T13" fmla="*/ 11 h 47"/>
                        <a:gd name="T14" fmla="*/ 10 w 56"/>
                        <a:gd name="T15" fmla="*/ 30 h 4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</a:cxnLst>
                      <a:rect l="0" t="0" r="r" b="b"/>
                      <a:pathLst>
                        <a:path w="56" h="47">
                          <a:moveTo>
                            <a:pt x="10" y="30"/>
                          </a:moveTo>
                          <a:cubicBezTo>
                            <a:pt x="17" y="33"/>
                            <a:pt x="25" y="38"/>
                            <a:pt x="31" y="43"/>
                          </a:cubicBezTo>
                          <a:cubicBezTo>
                            <a:pt x="34" y="46"/>
                            <a:pt x="37" y="47"/>
                            <a:pt x="40" y="47"/>
                          </a:cubicBezTo>
                          <a:cubicBezTo>
                            <a:pt x="44" y="47"/>
                            <a:pt x="49" y="45"/>
                            <a:pt x="51" y="41"/>
                          </a:cubicBezTo>
                          <a:cubicBezTo>
                            <a:pt x="56" y="35"/>
                            <a:pt x="55" y="26"/>
                            <a:pt x="49" y="21"/>
                          </a:cubicBezTo>
                          <a:cubicBezTo>
                            <a:pt x="41" y="14"/>
                            <a:pt x="32" y="9"/>
                            <a:pt x="22" y="4"/>
                          </a:cubicBezTo>
                          <a:cubicBezTo>
                            <a:pt x="15" y="0"/>
                            <a:pt x="7" y="3"/>
                            <a:pt x="3" y="11"/>
                          </a:cubicBezTo>
                          <a:cubicBezTo>
                            <a:pt x="0" y="18"/>
                            <a:pt x="3" y="26"/>
                            <a:pt x="10" y="30"/>
                          </a:cubicBezTo>
                          <a:close/>
                        </a:path>
                      </a:pathLst>
                    </a:custGeom>
                    <a:solidFill>
                      <a:srgbClr val="4D4D4F"/>
                    </a:solidFill>
                    <a:ln>
                      <a:noFill/>
                    </a:ln>
                    <a:extLst>
                      <a:ext uri="{91240B29-F687-4f45-9708-019B960494DF}">
                        <a14:hiddenLine xmlns=""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algn="l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200" b="0" i="0" u="none" strike="noStrike" kern="0" cap="none" spc="0" normalizeH="0" baseline="0" noProof="0" dirty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Arial"/>
                        <a:cs typeface=""/>
                      </a:endParaRPr>
                    </a:p>
                  </p:txBody>
                </p:sp>
                <p:sp>
                  <p:nvSpPr>
                    <p:cNvPr id="305" name="Freeform 19"/>
                    <p:cNvSpPr>
                      <a:spLocks/>
                    </p:cNvSpPr>
                    <p:nvPr/>
                  </p:nvSpPr>
                  <p:spPr bwMode="auto">
                    <a:xfrm>
                      <a:off x="4476751" y="2039938"/>
                      <a:ext cx="39688" cy="52388"/>
                    </a:xfrm>
                    <a:custGeom>
                      <a:avLst/>
                      <a:gdLst>
                        <a:gd name="T0" fmla="*/ 12 w 45"/>
                        <a:gd name="T1" fmla="*/ 56 h 57"/>
                        <a:gd name="T2" fmla="*/ 16 w 45"/>
                        <a:gd name="T3" fmla="*/ 57 h 57"/>
                        <a:gd name="T4" fmla="*/ 30 w 45"/>
                        <a:gd name="T5" fmla="*/ 47 h 57"/>
                        <a:gd name="T6" fmla="*/ 41 w 45"/>
                        <a:gd name="T7" fmla="*/ 24 h 57"/>
                        <a:gd name="T8" fmla="*/ 36 w 45"/>
                        <a:gd name="T9" fmla="*/ 4 h 57"/>
                        <a:gd name="T10" fmla="*/ 16 w 45"/>
                        <a:gd name="T11" fmla="*/ 9 h 57"/>
                        <a:gd name="T12" fmla="*/ 3 w 45"/>
                        <a:gd name="T13" fmla="*/ 38 h 57"/>
                        <a:gd name="T14" fmla="*/ 12 w 45"/>
                        <a:gd name="T15" fmla="*/ 56 h 5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</a:cxnLst>
                      <a:rect l="0" t="0" r="r" b="b"/>
                      <a:pathLst>
                        <a:path w="45" h="57">
                          <a:moveTo>
                            <a:pt x="12" y="56"/>
                          </a:moveTo>
                          <a:cubicBezTo>
                            <a:pt x="13" y="57"/>
                            <a:pt x="15" y="57"/>
                            <a:pt x="16" y="57"/>
                          </a:cubicBezTo>
                          <a:cubicBezTo>
                            <a:pt x="22" y="57"/>
                            <a:pt x="28" y="53"/>
                            <a:pt x="30" y="47"/>
                          </a:cubicBezTo>
                          <a:cubicBezTo>
                            <a:pt x="33" y="39"/>
                            <a:pt x="36" y="32"/>
                            <a:pt x="41" y="24"/>
                          </a:cubicBezTo>
                          <a:cubicBezTo>
                            <a:pt x="45" y="17"/>
                            <a:pt x="43" y="9"/>
                            <a:pt x="36" y="4"/>
                          </a:cubicBezTo>
                          <a:cubicBezTo>
                            <a:pt x="29" y="0"/>
                            <a:pt x="21" y="2"/>
                            <a:pt x="16" y="9"/>
                          </a:cubicBezTo>
                          <a:cubicBezTo>
                            <a:pt x="11" y="18"/>
                            <a:pt x="6" y="28"/>
                            <a:pt x="3" y="38"/>
                          </a:cubicBezTo>
                          <a:cubicBezTo>
                            <a:pt x="0" y="45"/>
                            <a:pt x="4" y="54"/>
                            <a:pt x="12" y="56"/>
                          </a:cubicBezTo>
                          <a:close/>
                        </a:path>
                      </a:pathLst>
                    </a:custGeom>
                    <a:solidFill>
                      <a:srgbClr val="4D4D4F"/>
                    </a:solidFill>
                    <a:ln>
                      <a:noFill/>
                    </a:ln>
                    <a:extLst>
                      <a:ext uri="{91240B29-F687-4f45-9708-019B960494DF}">
                        <a14:hiddenLine xmlns=""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algn="l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200" b="0" i="0" u="none" strike="noStrike" kern="0" cap="none" spc="0" normalizeH="0" baseline="0" noProof="0" dirty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Arial"/>
                        <a:cs typeface=""/>
                      </a:endParaRPr>
                    </a:p>
                  </p:txBody>
                </p:sp>
                <p:sp>
                  <p:nvSpPr>
                    <p:cNvPr id="306" name="Freeform 20"/>
                    <p:cNvSpPr>
                      <a:spLocks/>
                    </p:cNvSpPr>
                    <p:nvPr/>
                  </p:nvSpPr>
                  <p:spPr bwMode="auto">
                    <a:xfrm>
                      <a:off x="4522788" y="1992313"/>
                      <a:ext cx="52388" cy="39688"/>
                    </a:xfrm>
                    <a:custGeom>
                      <a:avLst/>
                      <a:gdLst>
                        <a:gd name="T0" fmla="*/ 55 w 58"/>
                        <a:gd name="T1" fmla="*/ 11 h 43"/>
                        <a:gd name="T2" fmla="*/ 37 w 58"/>
                        <a:gd name="T3" fmla="*/ 2 h 43"/>
                        <a:gd name="T4" fmla="*/ 9 w 58"/>
                        <a:gd name="T5" fmla="*/ 17 h 43"/>
                        <a:gd name="T6" fmla="*/ 4 w 58"/>
                        <a:gd name="T7" fmla="*/ 37 h 43"/>
                        <a:gd name="T8" fmla="*/ 16 w 58"/>
                        <a:gd name="T9" fmla="*/ 43 h 43"/>
                        <a:gd name="T10" fmla="*/ 24 w 58"/>
                        <a:gd name="T11" fmla="*/ 41 h 43"/>
                        <a:gd name="T12" fmla="*/ 47 w 58"/>
                        <a:gd name="T13" fmla="*/ 29 h 43"/>
                        <a:gd name="T14" fmla="*/ 55 w 58"/>
                        <a:gd name="T15" fmla="*/ 11 h 4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</a:cxnLst>
                      <a:rect l="0" t="0" r="r" b="b"/>
                      <a:pathLst>
                        <a:path w="58" h="43">
                          <a:moveTo>
                            <a:pt x="55" y="11"/>
                          </a:moveTo>
                          <a:cubicBezTo>
                            <a:pt x="53" y="3"/>
                            <a:pt x="44" y="0"/>
                            <a:pt x="37" y="2"/>
                          </a:cubicBezTo>
                          <a:cubicBezTo>
                            <a:pt x="27" y="6"/>
                            <a:pt x="17" y="11"/>
                            <a:pt x="9" y="17"/>
                          </a:cubicBezTo>
                          <a:cubicBezTo>
                            <a:pt x="2" y="21"/>
                            <a:pt x="0" y="30"/>
                            <a:pt x="4" y="37"/>
                          </a:cubicBezTo>
                          <a:cubicBezTo>
                            <a:pt x="7" y="41"/>
                            <a:pt x="12" y="43"/>
                            <a:pt x="16" y="43"/>
                          </a:cubicBezTo>
                          <a:cubicBezTo>
                            <a:pt x="19" y="43"/>
                            <a:pt x="22" y="43"/>
                            <a:pt x="24" y="41"/>
                          </a:cubicBezTo>
                          <a:cubicBezTo>
                            <a:pt x="31" y="36"/>
                            <a:pt x="39" y="32"/>
                            <a:pt x="47" y="29"/>
                          </a:cubicBezTo>
                          <a:cubicBezTo>
                            <a:pt x="54" y="27"/>
                            <a:pt x="58" y="18"/>
                            <a:pt x="55" y="11"/>
                          </a:cubicBezTo>
                          <a:close/>
                        </a:path>
                      </a:pathLst>
                    </a:custGeom>
                    <a:solidFill>
                      <a:srgbClr val="4D4D4F"/>
                    </a:solidFill>
                    <a:ln>
                      <a:noFill/>
                    </a:ln>
                    <a:extLst>
                      <a:ext uri="{91240B29-F687-4f45-9708-019B960494DF}">
                        <a14:hiddenLine xmlns=""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algn="l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200" b="0" i="0" u="none" strike="noStrike" kern="0" cap="none" spc="0" normalizeH="0" baseline="0" noProof="0" dirty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Arial"/>
                        <a:cs typeface=""/>
                      </a:endParaRPr>
                    </a:p>
                  </p:txBody>
                </p:sp>
                <p:sp>
                  <p:nvSpPr>
                    <p:cNvPr id="307" name="Freeform 21"/>
                    <p:cNvSpPr>
                      <a:spLocks/>
                    </p:cNvSpPr>
                    <p:nvPr/>
                  </p:nvSpPr>
                  <p:spPr bwMode="auto">
                    <a:xfrm>
                      <a:off x="4959351" y="2051050"/>
                      <a:ext cx="36513" cy="52388"/>
                    </a:xfrm>
                    <a:custGeom>
                      <a:avLst/>
                      <a:gdLst>
                        <a:gd name="T0" fmla="*/ 13 w 42"/>
                        <a:gd name="T1" fmla="*/ 47 h 58"/>
                        <a:gd name="T2" fmla="*/ 27 w 42"/>
                        <a:gd name="T3" fmla="*/ 58 h 58"/>
                        <a:gd name="T4" fmla="*/ 30 w 42"/>
                        <a:gd name="T5" fmla="*/ 57 h 58"/>
                        <a:gd name="T6" fmla="*/ 41 w 42"/>
                        <a:gd name="T7" fmla="*/ 40 h 58"/>
                        <a:gd name="T8" fmla="*/ 30 w 42"/>
                        <a:gd name="T9" fmla="*/ 10 h 58"/>
                        <a:gd name="T10" fmla="*/ 11 w 42"/>
                        <a:gd name="T11" fmla="*/ 4 h 58"/>
                        <a:gd name="T12" fmla="*/ 4 w 42"/>
                        <a:gd name="T13" fmla="*/ 23 h 58"/>
                        <a:gd name="T14" fmla="*/ 13 w 42"/>
                        <a:gd name="T15" fmla="*/ 47 h 5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</a:cxnLst>
                      <a:rect l="0" t="0" r="r" b="b"/>
                      <a:pathLst>
                        <a:path w="42" h="58">
                          <a:moveTo>
                            <a:pt x="13" y="47"/>
                          </a:moveTo>
                          <a:cubicBezTo>
                            <a:pt x="14" y="53"/>
                            <a:pt x="20" y="58"/>
                            <a:pt x="27" y="58"/>
                          </a:cubicBezTo>
                          <a:cubicBezTo>
                            <a:pt x="28" y="58"/>
                            <a:pt x="29" y="58"/>
                            <a:pt x="30" y="57"/>
                          </a:cubicBezTo>
                          <a:cubicBezTo>
                            <a:pt x="38" y="56"/>
                            <a:pt x="42" y="48"/>
                            <a:pt x="41" y="40"/>
                          </a:cubicBezTo>
                          <a:cubicBezTo>
                            <a:pt x="38" y="30"/>
                            <a:pt x="35" y="20"/>
                            <a:pt x="30" y="10"/>
                          </a:cubicBezTo>
                          <a:cubicBezTo>
                            <a:pt x="26" y="3"/>
                            <a:pt x="18" y="0"/>
                            <a:pt x="11" y="4"/>
                          </a:cubicBezTo>
                          <a:cubicBezTo>
                            <a:pt x="3" y="7"/>
                            <a:pt x="0" y="16"/>
                            <a:pt x="4" y="23"/>
                          </a:cubicBezTo>
                          <a:cubicBezTo>
                            <a:pt x="8" y="31"/>
                            <a:pt x="11" y="39"/>
                            <a:pt x="13" y="47"/>
                          </a:cubicBezTo>
                          <a:close/>
                        </a:path>
                      </a:pathLst>
                    </a:custGeom>
                    <a:solidFill>
                      <a:srgbClr val="4D4D4F"/>
                    </a:solidFill>
                    <a:ln>
                      <a:noFill/>
                    </a:ln>
                    <a:extLst>
                      <a:ext uri="{91240B29-F687-4f45-9708-019B960494DF}">
                        <a14:hiddenLine xmlns=""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algn="l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200" b="0" i="0" u="none" strike="noStrike" kern="0" cap="none" spc="0" normalizeH="0" baseline="0" noProof="0" dirty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Arial"/>
                        <a:cs typeface=""/>
                      </a:endParaRPr>
                    </a:p>
                  </p:txBody>
                </p:sp>
                <p:sp>
                  <p:nvSpPr>
                    <p:cNvPr id="308" name="Freeform 22"/>
                    <p:cNvSpPr>
                      <a:spLocks/>
                    </p:cNvSpPr>
                    <p:nvPr/>
                  </p:nvSpPr>
                  <p:spPr bwMode="auto">
                    <a:xfrm>
                      <a:off x="4598988" y="1985963"/>
                      <a:ext cx="52388" cy="26988"/>
                    </a:xfrm>
                    <a:custGeom>
                      <a:avLst/>
                      <a:gdLst>
                        <a:gd name="T0" fmla="*/ 14 w 58"/>
                        <a:gd name="T1" fmla="*/ 29 h 29"/>
                        <a:gd name="T2" fmla="*/ 43 w 58"/>
                        <a:gd name="T3" fmla="*/ 29 h 29"/>
                        <a:gd name="T4" fmla="*/ 58 w 58"/>
                        <a:gd name="T5" fmla="*/ 15 h 29"/>
                        <a:gd name="T6" fmla="*/ 43 w 58"/>
                        <a:gd name="T7" fmla="*/ 0 h 29"/>
                        <a:gd name="T8" fmla="*/ 14 w 58"/>
                        <a:gd name="T9" fmla="*/ 0 h 29"/>
                        <a:gd name="T10" fmla="*/ 0 w 58"/>
                        <a:gd name="T11" fmla="*/ 15 h 29"/>
                        <a:gd name="T12" fmla="*/ 14 w 58"/>
                        <a:gd name="T13" fmla="*/ 29 h 2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58" h="29">
                          <a:moveTo>
                            <a:pt x="14" y="29"/>
                          </a:moveTo>
                          <a:cubicBezTo>
                            <a:pt x="43" y="29"/>
                            <a:pt x="43" y="29"/>
                            <a:pt x="43" y="29"/>
                          </a:cubicBezTo>
                          <a:cubicBezTo>
                            <a:pt x="51" y="29"/>
                            <a:pt x="58" y="23"/>
                            <a:pt x="58" y="15"/>
                          </a:cubicBezTo>
                          <a:cubicBezTo>
                            <a:pt x="58" y="7"/>
                            <a:pt x="51" y="0"/>
                            <a:pt x="43" y="0"/>
                          </a:cubicBezTo>
                          <a:cubicBezTo>
                            <a:pt x="14" y="0"/>
                            <a:pt x="14" y="0"/>
                            <a:pt x="14" y="0"/>
                          </a:cubicBezTo>
                          <a:cubicBezTo>
                            <a:pt x="6" y="0"/>
                            <a:pt x="0" y="7"/>
                            <a:pt x="0" y="15"/>
                          </a:cubicBezTo>
                          <a:cubicBezTo>
                            <a:pt x="0" y="23"/>
                            <a:pt x="6" y="29"/>
                            <a:pt x="14" y="29"/>
                          </a:cubicBezTo>
                          <a:close/>
                        </a:path>
                      </a:pathLst>
                    </a:custGeom>
                    <a:solidFill>
                      <a:srgbClr val="4D4D4F"/>
                    </a:solidFill>
                    <a:ln>
                      <a:noFill/>
                    </a:ln>
                    <a:extLst>
                      <a:ext uri="{91240B29-F687-4f45-9708-019B960494DF}">
                        <a14:hiddenLine xmlns=""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algn="l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200" b="0" i="0" u="none" strike="noStrike" kern="0" cap="none" spc="0" normalizeH="0" baseline="0" noProof="0" dirty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Arial"/>
                        <a:cs typeface=""/>
                      </a:endParaRPr>
                    </a:p>
                  </p:txBody>
                </p:sp>
                <p:sp>
                  <p:nvSpPr>
                    <p:cNvPr id="309" name="Freeform 23"/>
                    <p:cNvSpPr>
                      <a:spLocks/>
                    </p:cNvSpPr>
                    <p:nvPr/>
                  </p:nvSpPr>
                  <p:spPr bwMode="auto">
                    <a:xfrm>
                      <a:off x="4676776" y="1985963"/>
                      <a:ext cx="50800" cy="26988"/>
                    </a:xfrm>
                    <a:custGeom>
                      <a:avLst/>
                      <a:gdLst>
                        <a:gd name="T0" fmla="*/ 15 w 58"/>
                        <a:gd name="T1" fmla="*/ 29 h 29"/>
                        <a:gd name="T2" fmla="*/ 43 w 58"/>
                        <a:gd name="T3" fmla="*/ 29 h 29"/>
                        <a:gd name="T4" fmla="*/ 58 w 58"/>
                        <a:gd name="T5" fmla="*/ 15 h 29"/>
                        <a:gd name="T6" fmla="*/ 43 w 58"/>
                        <a:gd name="T7" fmla="*/ 0 h 29"/>
                        <a:gd name="T8" fmla="*/ 15 w 58"/>
                        <a:gd name="T9" fmla="*/ 0 h 29"/>
                        <a:gd name="T10" fmla="*/ 0 w 58"/>
                        <a:gd name="T11" fmla="*/ 15 h 29"/>
                        <a:gd name="T12" fmla="*/ 15 w 58"/>
                        <a:gd name="T13" fmla="*/ 29 h 2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58" h="29">
                          <a:moveTo>
                            <a:pt x="15" y="29"/>
                          </a:moveTo>
                          <a:cubicBezTo>
                            <a:pt x="43" y="29"/>
                            <a:pt x="43" y="29"/>
                            <a:pt x="43" y="29"/>
                          </a:cubicBezTo>
                          <a:cubicBezTo>
                            <a:pt x="51" y="29"/>
                            <a:pt x="58" y="23"/>
                            <a:pt x="58" y="15"/>
                          </a:cubicBezTo>
                          <a:cubicBezTo>
                            <a:pt x="58" y="7"/>
                            <a:pt x="51" y="0"/>
                            <a:pt x="43" y="0"/>
                          </a:cubicBezTo>
                          <a:cubicBezTo>
                            <a:pt x="15" y="0"/>
                            <a:pt x="15" y="0"/>
                            <a:pt x="15" y="0"/>
                          </a:cubicBezTo>
                          <a:cubicBezTo>
                            <a:pt x="7" y="0"/>
                            <a:pt x="0" y="7"/>
                            <a:pt x="0" y="15"/>
                          </a:cubicBezTo>
                          <a:cubicBezTo>
                            <a:pt x="0" y="23"/>
                            <a:pt x="7" y="29"/>
                            <a:pt x="15" y="29"/>
                          </a:cubicBezTo>
                          <a:close/>
                        </a:path>
                      </a:pathLst>
                    </a:custGeom>
                    <a:solidFill>
                      <a:srgbClr val="4D4D4F"/>
                    </a:solidFill>
                    <a:ln>
                      <a:noFill/>
                    </a:ln>
                    <a:extLst>
                      <a:ext uri="{91240B29-F687-4f45-9708-019B960494DF}">
                        <a14:hiddenLine xmlns=""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algn="l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200" b="0" i="0" u="none" strike="noStrike" kern="0" cap="none" spc="0" normalizeH="0" baseline="0" noProof="0" dirty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Arial"/>
                        <a:cs typeface=""/>
                      </a:endParaRPr>
                    </a:p>
                  </p:txBody>
                </p:sp>
                <p:sp>
                  <p:nvSpPr>
                    <p:cNvPr id="310" name="Freeform 24"/>
                    <p:cNvSpPr>
                      <a:spLocks/>
                    </p:cNvSpPr>
                    <p:nvPr/>
                  </p:nvSpPr>
                  <p:spPr bwMode="auto">
                    <a:xfrm>
                      <a:off x="4752976" y="1985963"/>
                      <a:ext cx="52388" cy="26988"/>
                    </a:xfrm>
                    <a:custGeom>
                      <a:avLst/>
                      <a:gdLst>
                        <a:gd name="T0" fmla="*/ 15 w 58"/>
                        <a:gd name="T1" fmla="*/ 29 h 29"/>
                        <a:gd name="T2" fmla="*/ 43 w 58"/>
                        <a:gd name="T3" fmla="*/ 29 h 29"/>
                        <a:gd name="T4" fmla="*/ 58 w 58"/>
                        <a:gd name="T5" fmla="*/ 15 h 29"/>
                        <a:gd name="T6" fmla="*/ 43 w 58"/>
                        <a:gd name="T7" fmla="*/ 0 h 29"/>
                        <a:gd name="T8" fmla="*/ 15 w 58"/>
                        <a:gd name="T9" fmla="*/ 0 h 29"/>
                        <a:gd name="T10" fmla="*/ 0 w 58"/>
                        <a:gd name="T11" fmla="*/ 15 h 29"/>
                        <a:gd name="T12" fmla="*/ 15 w 58"/>
                        <a:gd name="T13" fmla="*/ 29 h 2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58" h="29">
                          <a:moveTo>
                            <a:pt x="15" y="29"/>
                          </a:moveTo>
                          <a:cubicBezTo>
                            <a:pt x="43" y="29"/>
                            <a:pt x="43" y="29"/>
                            <a:pt x="43" y="29"/>
                          </a:cubicBezTo>
                          <a:cubicBezTo>
                            <a:pt x="51" y="29"/>
                            <a:pt x="58" y="23"/>
                            <a:pt x="58" y="15"/>
                          </a:cubicBezTo>
                          <a:cubicBezTo>
                            <a:pt x="58" y="7"/>
                            <a:pt x="51" y="0"/>
                            <a:pt x="43" y="0"/>
                          </a:cubicBezTo>
                          <a:cubicBezTo>
                            <a:pt x="15" y="0"/>
                            <a:pt x="15" y="0"/>
                            <a:pt x="15" y="0"/>
                          </a:cubicBezTo>
                          <a:cubicBezTo>
                            <a:pt x="7" y="0"/>
                            <a:pt x="0" y="7"/>
                            <a:pt x="0" y="15"/>
                          </a:cubicBezTo>
                          <a:cubicBezTo>
                            <a:pt x="0" y="23"/>
                            <a:pt x="7" y="29"/>
                            <a:pt x="15" y="29"/>
                          </a:cubicBezTo>
                          <a:close/>
                        </a:path>
                      </a:pathLst>
                    </a:custGeom>
                    <a:solidFill>
                      <a:srgbClr val="4D4D4F"/>
                    </a:solidFill>
                    <a:ln>
                      <a:noFill/>
                    </a:ln>
                    <a:extLst>
                      <a:ext uri="{91240B29-F687-4f45-9708-019B960494DF}">
                        <a14:hiddenLine xmlns=""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algn="l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200" b="0" i="0" u="none" strike="noStrike" kern="0" cap="none" spc="0" normalizeH="0" baseline="0" noProof="0" dirty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Arial"/>
                        <a:cs typeface=""/>
                      </a:endParaRPr>
                    </a:p>
                  </p:txBody>
                </p:sp>
                <p:sp>
                  <p:nvSpPr>
                    <p:cNvPr id="311" name="Freeform 25"/>
                    <p:cNvSpPr>
                      <a:spLocks/>
                    </p:cNvSpPr>
                    <p:nvPr/>
                  </p:nvSpPr>
                  <p:spPr bwMode="auto">
                    <a:xfrm>
                      <a:off x="4471988" y="2349500"/>
                      <a:ext cx="26988" cy="52388"/>
                    </a:xfrm>
                    <a:custGeom>
                      <a:avLst/>
                      <a:gdLst>
                        <a:gd name="T0" fmla="*/ 30 w 31"/>
                        <a:gd name="T1" fmla="*/ 42 h 58"/>
                        <a:gd name="T2" fmla="*/ 29 w 31"/>
                        <a:gd name="T3" fmla="*/ 28 h 58"/>
                        <a:gd name="T4" fmla="*/ 29 w 31"/>
                        <a:gd name="T5" fmla="*/ 15 h 58"/>
                        <a:gd name="T6" fmla="*/ 14 w 31"/>
                        <a:gd name="T7" fmla="*/ 0 h 58"/>
                        <a:gd name="T8" fmla="*/ 0 w 31"/>
                        <a:gd name="T9" fmla="*/ 15 h 58"/>
                        <a:gd name="T10" fmla="*/ 0 w 31"/>
                        <a:gd name="T11" fmla="*/ 28 h 58"/>
                        <a:gd name="T12" fmla="*/ 1 w 31"/>
                        <a:gd name="T13" fmla="*/ 45 h 58"/>
                        <a:gd name="T14" fmla="*/ 15 w 31"/>
                        <a:gd name="T15" fmla="*/ 58 h 58"/>
                        <a:gd name="T16" fmla="*/ 17 w 31"/>
                        <a:gd name="T17" fmla="*/ 58 h 58"/>
                        <a:gd name="T18" fmla="*/ 30 w 31"/>
                        <a:gd name="T19" fmla="*/ 42 h 5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</a:cxnLst>
                      <a:rect l="0" t="0" r="r" b="b"/>
                      <a:pathLst>
                        <a:path w="31" h="58">
                          <a:moveTo>
                            <a:pt x="30" y="42"/>
                          </a:moveTo>
                          <a:cubicBezTo>
                            <a:pt x="29" y="37"/>
                            <a:pt x="29" y="33"/>
                            <a:pt x="29" y="28"/>
                          </a:cubicBezTo>
                          <a:cubicBezTo>
                            <a:pt x="29" y="15"/>
                            <a:pt x="29" y="15"/>
                            <a:pt x="29" y="15"/>
                          </a:cubicBezTo>
                          <a:cubicBezTo>
                            <a:pt x="29" y="7"/>
                            <a:pt x="22" y="0"/>
                            <a:pt x="14" y="0"/>
                          </a:cubicBezTo>
                          <a:cubicBezTo>
                            <a:pt x="7" y="0"/>
                            <a:pt x="0" y="7"/>
                            <a:pt x="0" y="15"/>
                          </a:cubicBezTo>
                          <a:cubicBezTo>
                            <a:pt x="0" y="28"/>
                            <a:pt x="0" y="28"/>
                            <a:pt x="0" y="28"/>
                          </a:cubicBezTo>
                          <a:cubicBezTo>
                            <a:pt x="0" y="34"/>
                            <a:pt x="0" y="39"/>
                            <a:pt x="1" y="45"/>
                          </a:cubicBezTo>
                          <a:cubicBezTo>
                            <a:pt x="2" y="52"/>
                            <a:pt x="8" y="58"/>
                            <a:pt x="15" y="58"/>
                          </a:cubicBezTo>
                          <a:cubicBezTo>
                            <a:pt x="16" y="58"/>
                            <a:pt x="17" y="58"/>
                            <a:pt x="17" y="58"/>
                          </a:cubicBezTo>
                          <a:cubicBezTo>
                            <a:pt x="25" y="57"/>
                            <a:pt x="31" y="50"/>
                            <a:pt x="30" y="42"/>
                          </a:cubicBezTo>
                          <a:close/>
                        </a:path>
                      </a:pathLst>
                    </a:custGeom>
                    <a:solidFill>
                      <a:srgbClr val="4D4D4F"/>
                    </a:solidFill>
                    <a:ln>
                      <a:noFill/>
                    </a:ln>
                    <a:extLst>
                      <a:ext uri="{91240B29-F687-4f45-9708-019B960494DF}">
                        <a14:hiddenLine xmlns=""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algn="l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200" b="0" i="0" u="none" strike="noStrike" kern="0" cap="none" spc="0" normalizeH="0" baseline="0" noProof="0" dirty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Arial"/>
                        <a:cs typeface=""/>
                      </a:endParaRPr>
                    </a:p>
                  </p:txBody>
                </p:sp>
                <p:sp>
                  <p:nvSpPr>
                    <p:cNvPr id="312" name="Freeform 26"/>
                    <p:cNvSpPr>
                      <a:spLocks/>
                    </p:cNvSpPr>
                    <p:nvPr/>
                  </p:nvSpPr>
                  <p:spPr bwMode="auto">
                    <a:xfrm>
                      <a:off x="4973638" y="2282825"/>
                      <a:ext cx="25400" cy="52388"/>
                    </a:xfrm>
                    <a:custGeom>
                      <a:avLst/>
                      <a:gdLst>
                        <a:gd name="T0" fmla="*/ 14 w 29"/>
                        <a:gd name="T1" fmla="*/ 0 h 58"/>
                        <a:gd name="T2" fmla="*/ 0 w 29"/>
                        <a:gd name="T3" fmla="*/ 15 h 58"/>
                        <a:gd name="T4" fmla="*/ 0 w 29"/>
                        <a:gd name="T5" fmla="*/ 44 h 58"/>
                        <a:gd name="T6" fmla="*/ 14 w 29"/>
                        <a:gd name="T7" fmla="*/ 58 h 58"/>
                        <a:gd name="T8" fmla="*/ 29 w 29"/>
                        <a:gd name="T9" fmla="*/ 44 h 58"/>
                        <a:gd name="T10" fmla="*/ 29 w 29"/>
                        <a:gd name="T11" fmla="*/ 15 h 58"/>
                        <a:gd name="T12" fmla="*/ 14 w 29"/>
                        <a:gd name="T13" fmla="*/ 0 h 5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29" h="58">
                          <a:moveTo>
                            <a:pt x="14" y="0"/>
                          </a:moveTo>
                          <a:cubicBezTo>
                            <a:pt x="6" y="0"/>
                            <a:pt x="0" y="7"/>
                            <a:pt x="0" y="15"/>
                          </a:cubicBezTo>
                          <a:cubicBezTo>
                            <a:pt x="0" y="44"/>
                            <a:pt x="0" y="44"/>
                            <a:pt x="0" y="44"/>
                          </a:cubicBezTo>
                          <a:cubicBezTo>
                            <a:pt x="0" y="52"/>
                            <a:pt x="6" y="58"/>
                            <a:pt x="14" y="58"/>
                          </a:cubicBezTo>
                          <a:cubicBezTo>
                            <a:pt x="22" y="58"/>
                            <a:pt x="29" y="52"/>
                            <a:pt x="29" y="44"/>
                          </a:cubicBezTo>
                          <a:cubicBezTo>
                            <a:pt x="29" y="15"/>
                            <a:pt x="29" y="15"/>
                            <a:pt x="29" y="15"/>
                          </a:cubicBezTo>
                          <a:cubicBezTo>
                            <a:pt x="29" y="7"/>
                            <a:pt x="22" y="0"/>
                            <a:pt x="14" y="0"/>
                          </a:cubicBezTo>
                          <a:close/>
                        </a:path>
                      </a:pathLst>
                    </a:custGeom>
                    <a:solidFill>
                      <a:srgbClr val="4D4D4F"/>
                    </a:solidFill>
                    <a:ln>
                      <a:noFill/>
                    </a:ln>
                    <a:extLst>
                      <a:ext uri="{91240B29-F687-4f45-9708-019B960494DF}">
                        <a14:hiddenLine xmlns=""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algn="l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200" b="0" i="0" u="none" strike="noStrike" kern="0" cap="none" spc="0" normalizeH="0" baseline="0" noProof="0" dirty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Arial"/>
                        <a:cs typeface=""/>
                      </a:endParaRPr>
                    </a:p>
                  </p:txBody>
                </p:sp>
                <p:sp>
                  <p:nvSpPr>
                    <p:cNvPr id="313" name="Freeform 28"/>
                    <p:cNvSpPr>
                      <a:spLocks/>
                    </p:cNvSpPr>
                    <p:nvPr/>
                  </p:nvSpPr>
                  <p:spPr bwMode="auto">
                    <a:xfrm>
                      <a:off x="4927601" y="2432050"/>
                      <a:ext cx="47625" cy="46038"/>
                    </a:xfrm>
                    <a:custGeom>
                      <a:avLst/>
                      <a:gdLst>
                        <a:gd name="T0" fmla="*/ 25 w 53"/>
                        <a:gd name="T1" fmla="*/ 7 h 51"/>
                        <a:gd name="T2" fmla="*/ 7 w 53"/>
                        <a:gd name="T3" fmla="*/ 25 h 51"/>
                        <a:gd name="T4" fmla="*/ 5 w 53"/>
                        <a:gd name="T5" fmla="*/ 45 h 51"/>
                        <a:gd name="T6" fmla="*/ 16 w 53"/>
                        <a:gd name="T7" fmla="*/ 51 h 51"/>
                        <a:gd name="T8" fmla="*/ 25 w 53"/>
                        <a:gd name="T9" fmla="*/ 47 h 51"/>
                        <a:gd name="T10" fmla="*/ 48 w 53"/>
                        <a:gd name="T11" fmla="*/ 25 h 51"/>
                        <a:gd name="T12" fmla="*/ 45 w 53"/>
                        <a:gd name="T13" fmla="*/ 5 h 51"/>
                        <a:gd name="T14" fmla="*/ 25 w 53"/>
                        <a:gd name="T15" fmla="*/ 7 h 5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</a:cxnLst>
                      <a:rect l="0" t="0" r="r" b="b"/>
                      <a:pathLst>
                        <a:path w="53" h="51">
                          <a:moveTo>
                            <a:pt x="25" y="7"/>
                          </a:moveTo>
                          <a:cubicBezTo>
                            <a:pt x="20" y="14"/>
                            <a:pt x="14" y="20"/>
                            <a:pt x="7" y="25"/>
                          </a:cubicBezTo>
                          <a:cubicBezTo>
                            <a:pt x="1" y="30"/>
                            <a:pt x="0" y="39"/>
                            <a:pt x="5" y="45"/>
                          </a:cubicBezTo>
                          <a:cubicBezTo>
                            <a:pt x="8" y="49"/>
                            <a:pt x="12" y="51"/>
                            <a:pt x="16" y="51"/>
                          </a:cubicBezTo>
                          <a:cubicBezTo>
                            <a:pt x="20" y="51"/>
                            <a:pt x="23" y="50"/>
                            <a:pt x="25" y="47"/>
                          </a:cubicBezTo>
                          <a:cubicBezTo>
                            <a:pt x="34" y="41"/>
                            <a:pt x="41" y="33"/>
                            <a:pt x="48" y="25"/>
                          </a:cubicBezTo>
                          <a:cubicBezTo>
                            <a:pt x="53" y="19"/>
                            <a:pt x="52" y="9"/>
                            <a:pt x="45" y="5"/>
                          </a:cubicBezTo>
                          <a:cubicBezTo>
                            <a:pt x="39" y="0"/>
                            <a:pt x="30" y="1"/>
                            <a:pt x="25" y="7"/>
                          </a:cubicBezTo>
                          <a:close/>
                        </a:path>
                      </a:pathLst>
                    </a:custGeom>
                    <a:solidFill>
                      <a:srgbClr val="4D4D4F"/>
                    </a:solidFill>
                    <a:ln>
                      <a:noFill/>
                    </a:ln>
                    <a:extLst>
                      <a:ext uri="{91240B29-F687-4f45-9708-019B960494DF}">
                        <a14:hiddenLine xmlns=""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algn="l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200" b="0" i="0" u="none" strike="noStrike" kern="0" cap="none" spc="0" normalizeH="0" baseline="0" noProof="0" dirty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Arial"/>
                        <a:cs typeface=""/>
                      </a:endParaRPr>
                    </a:p>
                  </p:txBody>
                </p:sp>
                <p:sp>
                  <p:nvSpPr>
                    <p:cNvPr id="314" name="Freeform 29"/>
                    <p:cNvSpPr>
                      <a:spLocks/>
                    </p:cNvSpPr>
                    <p:nvPr/>
                  </p:nvSpPr>
                  <p:spPr bwMode="auto">
                    <a:xfrm>
                      <a:off x="4968876" y="2360613"/>
                      <a:ext cx="30163" cy="52388"/>
                    </a:xfrm>
                    <a:custGeom>
                      <a:avLst/>
                      <a:gdLst>
                        <a:gd name="T0" fmla="*/ 19 w 34"/>
                        <a:gd name="T1" fmla="*/ 0 h 58"/>
                        <a:gd name="T2" fmla="*/ 5 w 34"/>
                        <a:gd name="T3" fmla="*/ 15 h 58"/>
                        <a:gd name="T4" fmla="*/ 2 w 34"/>
                        <a:gd name="T5" fmla="*/ 40 h 58"/>
                        <a:gd name="T6" fmla="*/ 13 w 34"/>
                        <a:gd name="T7" fmla="*/ 58 h 58"/>
                        <a:gd name="T8" fmla="*/ 16 w 34"/>
                        <a:gd name="T9" fmla="*/ 58 h 58"/>
                        <a:gd name="T10" fmla="*/ 30 w 34"/>
                        <a:gd name="T11" fmla="*/ 47 h 58"/>
                        <a:gd name="T12" fmla="*/ 34 w 34"/>
                        <a:gd name="T13" fmla="*/ 15 h 58"/>
                        <a:gd name="T14" fmla="*/ 34 w 34"/>
                        <a:gd name="T15" fmla="*/ 14 h 58"/>
                        <a:gd name="T16" fmla="*/ 19 w 34"/>
                        <a:gd name="T17" fmla="*/ 0 h 5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</a:cxnLst>
                      <a:rect l="0" t="0" r="r" b="b"/>
                      <a:pathLst>
                        <a:path w="34" h="58">
                          <a:moveTo>
                            <a:pt x="19" y="0"/>
                          </a:moveTo>
                          <a:cubicBezTo>
                            <a:pt x="11" y="0"/>
                            <a:pt x="5" y="7"/>
                            <a:pt x="5" y="15"/>
                          </a:cubicBezTo>
                          <a:cubicBezTo>
                            <a:pt x="5" y="24"/>
                            <a:pt x="4" y="32"/>
                            <a:pt x="2" y="40"/>
                          </a:cubicBezTo>
                          <a:cubicBezTo>
                            <a:pt x="0" y="48"/>
                            <a:pt x="5" y="56"/>
                            <a:pt x="13" y="58"/>
                          </a:cubicBezTo>
                          <a:cubicBezTo>
                            <a:pt x="14" y="58"/>
                            <a:pt x="15" y="58"/>
                            <a:pt x="16" y="58"/>
                          </a:cubicBezTo>
                          <a:cubicBezTo>
                            <a:pt x="23" y="58"/>
                            <a:pt x="29" y="53"/>
                            <a:pt x="30" y="47"/>
                          </a:cubicBezTo>
                          <a:cubicBezTo>
                            <a:pt x="32" y="36"/>
                            <a:pt x="34" y="26"/>
                            <a:pt x="34" y="15"/>
                          </a:cubicBezTo>
                          <a:cubicBezTo>
                            <a:pt x="34" y="14"/>
                            <a:pt x="34" y="14"/>
                            <a:pt x="34" y="14"/>
                          </a:cubicBezTo>
                          <a:cubicBezTo>
                            <a:pt x="34" y="6"/>
                            <a:pt x="27" y="0"/>
                            <a:pt x="19" y="0"/>
                          </a:cubicBezTo>
                          <a:close/>
                        </a:path>
                      </a:pathLst>
                    </a:custGeom>
                    <a:solidFill>
                      <a:srgbClr val="4D4D4F"/>
                    </a:solidFill>
                    <a:ln>
                      <a:noFill/>
                    </a:ln>
                    <a:extLst>
                      <a:ext uri="{91240B29-F687-4f45-9708-019B960494DF}">
                        <a14:hiddenLine xmlns=""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algn="l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200" b="0" i="0" u="none" strike="noStrike" kern="0" cap="none" spc="0" normalizeH="0" baseline="0" noProof="0" dirty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Arial"/>
                        <a:cs typeface=""/>
                      </a:endParaRPr>
                    </a:p>
                  </p:txBody>
                </p:sp>
                <p:sp>
                  <p:nvSpPr>
                    <p:cNvPr id="315" name="Freeform 30"/>
                    <p:cNvSpPr>
                      <a:spLocks/>
                    </p:cNvSpPr>
                    <p:nvPr/>
                  </p:nvSpPr>
                  <p:spPr bwMode="auto">
                    <a:xfrm>
                      <a:off x="4973638" y="2205038"/>
                      <a:ext cx="25400" cy="52388"/>
                    </a:xfrm>
                    <a:custGeom>
                      <a:avLst/>
                      <a:gdLst>
                        <a:gd name="T0" fmla="*/ 14 w 29"/>
                        <a:gd name="T1" fmla="*/ 0 h 58"/>
                        <a:gd name="T2" fmla="*/ 0 w 29"/>
                        <a:gd name="T3" fmla="*/ 15 h 58"/>
                        <a:gd name="T4" fmla="*/ 0 w 29"/>
                        <a:gd name="T5" fmla="*/ 43 h 58"/>
                        <a:gd name="T6" fmla="*/ 14 w 29"/>
                        <a:gd name="T7" fmla="*/ 58 h 58"/>
                        <a:gd name="T8" fmla="*/ 29 w 29"/>
                        <a:gd name="T9" fmla="*/ 43 h 58"/>
                        <a:gd name="T10" fmla="*/ 29 w 29"/>
                        <a:gd name="T11" fmla="*/ 15 h 58"/>
                        <a:gd name="T12" fmla="*/ 14 w 29"/>
                        <a:gd name="T13" fmla="*/ 0 h 5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29" h="58">
                          <a:moveTo>
                            <a:pt x="14" y="0"/>
                          </a:moveTo>
                          <a:cubicBezTo>
                            <a:pt x="6" y="0"/>
                            <a:pt x="0" y="7"/>
                            <a:pt x="0" y="15"/>
                          </a:cubicBezTo>
                          <a:cubicBezTo>
                            <a:pt x="0" y="43"/>
                            <a:pt x="0" y="43"/>
                            <a:pt x="0" y="43"/>
                          </a:cubicBezTo>
                          <a:cubicBezTo>
                            <a:pt x="0" y="51"/>
                            <a:pt x="6" y="58"/>
                            <a:pt x="14" y="58"/>
                          </a:cubicBezTo>
                          <a:cubicBezTo>
                            <a:pt x="22" y="58"/>
                            <a:pt x="29" y="51"/>
                            <a:pt x="29" y="43"/>
                          </a:cubicBezTo>
                          <a:cubicBezTo>
                            <a:pt x="29" y="15"/>
                            <a:pt x="29" y="15"/>
                            <a:pt x="29" y="15"/>
                          </a:cubicBezTo>
                          <a:cubicBezTo>
                            <a:pt x="29" y="7"/>
                            <a:pt x="22" y="0"/>
                            <a:pt x="14" y="0"/>
                          </a:cubicBezTo>
                          <a:close/>
                        </a:path>
                      </a:pathLst>
                    </a:custGeom>
                    <a:solidFill>
                      <a:srgbClr val="4D4D4F"/>
                    </a:solidFill>
                    <a:ln>
                      <a:noFill/>
                    </a:ln>
                    <a:extLst>
                      <a:ext uri="{91240B29-F687-4f45-9708-019B960494DF}">
                        <a14:hiddenLine xmlns=""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algn="l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200" b="0" i="0" u="none" strike="noStrike" kern="0" cap="none" spc="0" normalizeH="0" baseline="0" noProof="0" dirty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Arial"/>
                        <a:cs typeface=""/>
                      </a:endParaRPr>
                    </a:p>
                  </p:txBody>
                </p:sp>
                <p:sp>
                  <p:nvSpPr>
                    <p:cNvPr id="316" name="Freeform 31"/>
                    <p:cNvSpPr>
                      <a:spLocks/>
                    </p:cNvSpPr>
                    <p:nvPr/>
                  </p:nvSpPr>
                  <p:spPr bwMode="auto">
                    <a:xfrm>
                      <a:off x="4973638" y="2127250"/>
                      <a:ext cx="25400" cy="52388"/>
                    </a:xfrm>
                    <a:custGeom>
                      <a:avLst/>
                      <a:gdLst>
                        <a:gd name="T0" fmla="*/ 14 w 29"/>
                        <a:gd name="T1" fmla="*/ 0 h 58"/>
                        <a:gd name="T2" fmla="*/ 0 w 29"/>
                        <a:gd name="T3" fmla="*/ 15 h 58"/>
                        <a:gd name="T4" fmla="*/ 0 w 29"/>
                        <a:gd name="T5" fmla="*/ 43 h 58"/>
                        <a:gd name="T6" fmla="*/ 14 w 29"/>
                        <a:gd name="T7" fmla="*/ 58 h 58"/>
                        <a:gd name="T8" fmla="*/ 29 w 29"/>
                        <a:gd name="T9" fmla="*/ 43 h 58"/>
                        <a:gd name="T10" fmla="*/ 29 w 29"/>
                        <a:gd name="T11" fmla="*/ 15 h 58"/>
                        <a:gd name="T12" fmla="*/ 14 w 29"/>
                        <a:gd name="T13" fmla="*/ 0 h 5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29" h="58">
                          <a:moveTo>
                            <a:pt x="14" y="0"/>
                          </a:moveTo>
                          <a:cubicBezTo>
                            <a:pt x="6" y="0"/>
                            <a:pt x="0" y="7"/>
                            <a:pt x="0" y="15"/>
                          </a:cubicBezTo>
                          <a:cubicBezTo>
                            <a:pt x="0" y="43"/>
                            <a:pt x="0" y="43"/>
                            <a:pt x="0" y="43"/>
                          </a:cubicBezTo>
                          <a:cubicBezTo>
                            <a:pt x="0" y="51"/>
                            <a:pt x="6" y="58"/>
                            <a:pt x="14" y="58"/>
                          </a:cubicBezTo>
                          <a:cubicBezTo>
                            <a:pt x="22" y="58"/>
                            <a:pt x="29" y="51"/>
                            <a:pt x="29" y="43"/>
                          </a:cubicBezTo>
                          <a:cubicBezTo>
                            <a:pt x="29" y="15"/>
                            <a:pt x="29" y="15"/>
                            <a:pt x="29" y="15"/>
                          </a:cubicBezTo>
                          <a:cubicBezTo>
                            <a:pt x="29" y="7"/>
                            <a:pt x="22" y="0"/>
                            <a:pt x="14" y="0"/>
                          </a:cubicBezTo>
                          <a:close/>
                        </a:path>
                      </a:pathLst>
                    </a:custGeom>
                    <a:solidFill>
                      <a:srgbClr val="4D4D4F"/>
                    </a:solidFill>
                    <a:ln>
                      <a:noFill/>
                    </a:ln>
                    <a:extLst>
                      <a:ext uri="{91240B29-F687-4f45-9708-019B960494DF}">
                        <a14:hiddenLine xmlns=""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algn="l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200" b="0" i="0" u="none" strike="noStrike" kern="0" cap="none" spc="0" normalizeH="0" baseline="0" noProof="0" dirty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Arial"/>
                        <a:cs typeface=""/>
                      </a:endParaRPr>
                    </a:p>
                  </p:txBody>
                </p:sp>
                <p:sp>
                  <p:nvSpPr>
                    <p:cNvPr id="317" name="Freeform 32"/>
                    <p:cNvSpPr>
                      <a:spLocks/>
                    </p:cNvSpPr>
                    <p:nvPr/>
                  </p:nvSpPr>
                  <p:spPr bwMode="auto">
                    <a:xfrm>
                      <a:off x="4546601" y="2470150"/>
                      <a:ext cx="53975" cy="33338"/>
                    </a:xfrm>
                    <a:custGeom>
                      <a:avLst/>
                      <a:gdLst>
                        <a:gd name="T0" fmla="*/ 46 w 60"/>
                        <a:gd name="T1" fmla="*/ 8 h 37"/>
                        <a:gd name="T2" fmla="*/ 21 w 60"/>
                        <a:gd name="T3" fmla="*/ 2 h 37"/>
                        <a:gd name="T4" fmla="*/ 3 w 60"/>
                        <a:gd name="T5" fmla="*/ 11 h 37"/>
                        <a:gd name="T6" fmla="*/ 12 w 60"/>
                        <a:gd name="T7" fmla="*/ 30 h 37"/>
                        <a:gd name="T8" fmla="*/ 43 w 60"/>
                        <a:gd name="T9" fmla="*/ 37 h 37"/>
                        <a:gd name="T10" fmla="*/ 44 w 60"/>
                        <a:gd name="T11" fmla="*/ 37 h 37"/>
                        <a:gd name="T12" fmla="*/ 59 w 60"/>
                        <a:gd name="T13" fmla="*/ 24 h 37"/>
                        <a:gd name="T14" fmla="*/ 46 w 60"/>
                        <a:gd name="T15" fmla="*/ 8 h 3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</a:cxnLst>
                      <a:rect l="0" t="0" r="r" b="b"/>
                      <a:pathLst>
                        <a:path w="60" h="37">
                          <a:moveTo>
                            <a:pt x="46" y="8"/>
                          </a:moveTo>
                          <a:cubicBezTo>
                            <a:pt x="38" y="7"/>
                            <a:pt x="29" y="5"/>
                            <a:pt x="21" y="2"/>
                          </a:cubicBezTo>
                          <a:cubicBezTo>
                            <a:pt x="14" y="0"/>
                            <a:pt x="6" y="4"/>
                            <a:pt x="3" y="11"/>
                          </a:cubicBezTo>
                          <a:cubicBezTo>
                            <a:pt x="0" y="19"/>
                            <a:pt x="4" y="27"/>
                            <a:pt x="12" y="30"/>
                          </a:cubicBezTo>
                          <a:cubicBezTo>
                            <a:pt x="22" y="33"/>
                            <a:pt x="32" y="36"/>
                            <a:pt x="43" y="37"/>
                          </a:cubicBezTo>
                          <a:cubicBezTo>
                            <a:pt x="43" y="37"/>
                            <a:pt x="44" y="37"/>
                            <a:pt x="44" y="37"/>
                          </a:cubicBezTo>
                          <a:cubicBezTo>
                            <a:pt x="51" y="37"/>
                            <a:pt x="58" y="32"/>
                            <a:pt x="59" y="24"/>
                          </a:cubicBezTo>
                          <a:cubicBezTo>
                            <a:pt x="60" y="16"/>
                            <a:pt x="54" y="9"/>
                            <a:pt x="46" y="8"/>
                          </a:cubicBezTo>
                          <a:close/>
                        </a:path>
                      </a:pathLst>
                    </a:custGeom>
                    <a:solidFill>
                      <a:srgbClr val="4D4D4F"/>
                    </a:solidFill>
                    <a:ln>
                      <a:noFill/>
                    </a:ln>
                    <a:extLst>
                      <a:ext uri="{91240B29-F687-4f45-9708-019B960494DF}">
                        <a14:hiddenLine xmlns=""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algn="l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200" b="0" i="0" u="none" strike="noStrike" kern="0" cap="none" spc="0" normalizeH="0" baseline="0" noProof="0" dirty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Arial"/>
                        <a:cs typeface=""/>
                      </a:endParaRPr>
                    </a:p>
                  </p:txBody>
                </p:sp>
                <p:sp>
                  <p:nvSpPr>
                    <p:cNvPr id="318" name="Freeform 33"/>
                    <p:cNvSpPr>
                      <a:spLocks/>
                    </p:cNvSpPr>
                    <p:nvPr/>
                  </p:nvSpPr>
                  <p:spPr bwMode="auto">
                    <a:xfrm>
                      <a:off x="4781551" y="2478088"/>
                      <a:ext cx="50800" cy="25400"/>
                    </a:xfrm>
                    <a:custGeom>
                      <a:avLst/>
                      <a:gdLst>
                        <a:gd name="T0" fmla="*/ 43 w 57"/>
                        <a:gd name="T1" fmla="*/ 0 h 29"/>
                        <a:gd name="T2" fmla="*/ 14 w 57"/>
                        <a:gd name="T3" fmla="*/ 0 h 29"/>
                        <a:gd name="T4" fmla="*/ 0 w 57"/>
                        <a:gd name="T5" fmla="*/ 15 h 29"/>
                        <a:gd name="T6" fmla="*/ 14 w 57"/>
                        <a:gd name="T7" fmla="*/ 29 h 29"/>
                        <a:gd name="T8" fmla="*/ 43 w 57"/>
                        <a:gd name="T9" fmla="*/ 29 h 29"/>
                        <a:gd name="T10" fmla="*/ 57 w 57"/>
                        <a:gd name="T11" fmla="*/ 15 h 29"/>
                        <a:gd name="T12" fmla="*/ 43 w 57"/>
                        <a:gd name="T13" fmla="*/ 0 h 2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57" h="29">
                          <a:moveTo>
                            <a:pt x="43" y="0"/>
                          </a:moveTo>
                          <a:cubicBezTo>
                            <a:pt x="14" y="0"/>
                            <a:pt x="14" y="0"/>
                            <a:pt x="14" y="0"/>
                          </a:cubicBezTo>
                          <a:cubicBezTo>
                            <a:pt x="6" y="0"/>
                            <a:pt x="0" y="7"/>
                            <a:pt x="0" y="15"/>
                          </a:cubicBezTo>
                          <a:cubicBezTo>
                            <a:pt x="0" y="23"/>
                            <a:pt x="6" y="29"/>
                            <a:pt x="14" y="29"/>
                          </a:cubicBezTo>
                          <a:cubicBezTo>
                            <a:pt x="43" y="29"/>
                            <a:pt x="43" y="29"/>
                            <a:pt x="43" y="29"/>
                          </a:cubicBezTo>
                          <a:cubicBezTo>
                            <a:pt x="51" y="29"/>
                            <a:pt x="57" y="23"/>
                            <a:pt x="57" y="15"/>
                          </a:cubicBezTo>
                          <a:cubicBezTo>
                            <a:pt x="57" y="7"/>
                            <a:pt x="51" y="0"/>
                            <a:pt x="43" y="0"/>
                          </a:cubicBezTo>
                          <a:close/>
                        </a:path>
                      </a:pathLst>
                    </a:custGeom>
                    <a:solidFill>
                      <a:srgbClr val="4D4D4F"/>
                    </a:solidFill>
                    <a:ln>
                      <a:noFill/>
                    </a:ln>
                    <a:extLst>
                      <a:ext uri="{91240B29-F687-4f45-9708-019B960494DF}">
                        <a14:hiddenLine xmlns=""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algn="l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200" b="0" i="0" u="none" strike="noStrike" kern="0" cap="none" spc="0" normalizeH="0" baseline="0" noProof="0" dirty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Arial"/>
                        <a:cs typeface=""/>
                      </a:endParaRPr>
                    </a:p>
                  </p:txBody>
                </p:sp>
                <p:sp>
                  <p:nvSpPr>
                    <p:cNvPr id="319" name="Freeform 34"/>
                    <p:cNvSpPr>
                      <a:spLocks/>
                    </p:cNvSpPr>
                    <p:nvPr/>
                  </p:nvSpPr>
                  <p:spPr bwMode="auto">
                    <a:xfrm>
                      <a:off x="4703763" y="2478088"/>
                      <a:ext cx="50800" cy="25400"/>
                    </a:xfrm>
                    <a:custGeom>
                      <a:avLst/>
                      <a:gdLst>
                        <a:gd name="T0" fmla="*/ 44 w 58"/>
                        <a:gd name="T1" fmla="*/ 0 h 29"/>
                        <a:gd name="T2" fmla="*/ 15 w 58"/>
                        <a:gd name="T3" fmla="*/ 0 h 29"/>
                        <a:gd name="T4" fmla="*/ 0 w 58"/>
                        <a:gd name="T5" fmla="*/ 15 h 29"/>
                        <a:gd name="T6" fmla="*/ 15 w 58"/>
                        <a:gd name="T7" fmla="*/ 29 h 29"/>
                        <a:gd name="T8" fmla="*/ 44 w 58"/>
                        <a:gd name="T9" fmla="*/ 29 h 29"/>
                        <a:gd name="T10" fmla="*/ 58 w 58"/>
                        <a:gd name="T11" fmla="*/ 15 h 29"/>
                        <a:gd name="T12" fmla="*/ 44 w 58"/>
                        <a:gd name="T13" fmla="*/ 0 h 2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58" h="29">
                          <a:moveTo>
                            <a:pt x="44" y="0"/>
                          </a:moveTo>
                          <a:cubicBezTo>
                            <a:pt x="15" y="0"/>
                            <a:pt x="15" y="0"/>
                            <a:pt x="15" y="0"/>
                          </a:cubicBezTo>
                          <a:cubicBezTo>
                            <a:pt x="7" y="0"/>
                            <a:pt x="0" y="7"/>
                            <a:pt x="0" y="15"/>
                          </a:cubicBezTo>
                          <a:cubicBezTo>
                            <a:pt x="0" y="23"/>
                            <a:pt x="7" y="29"/>
                            <a:pt x="15" y="29"/>
                          </a:cubicBezTo>
                          <a:cubicBezTo>
                            <a:pt x="44" y="29"/>
                            <a:pt x="44" y="29"/>
                            <a:pt x="44" y="29"/>
                          </a:cubicBezTo>
                          <a:cubicBezTo>
                            <a:pt x="51" y="29"/>
                            <a:pt x="58" y="23"/>
                            <a:pt x="58" y="15"/>
                          </a:cubicBezTo>
                          <a:cubicBezTo>
                            <a:pt x="58" y="7"/>
                            <a:pt x="51" y="0"/>
                            <a:pt x="44" y="0"/>
                          </a:cubicBezTo>
                          <a:close/>
                        </a:path>
                      </a:pathLst>
                    </a:custGeom>
                    <a:solidFill>
                      <a:srgbClr val="4D4D4F"/>
                    </a:solidFill>
                    <a:ln>
                      <a:noFill/>
                    </a:ln>
                    <a:extLst>
                      <a:ext uri="{91240B29-F687-4f45-9708-019B960494DF}">
                        <a14:hiddenLine xmlns=""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algn="l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200" b="0" i="0" u="none" strike="noStrike" kern="0" cap="none" spc="0" normalizeH="0" baseline="0" noProof="0" dirty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Arial"/>
                        <a:cs typeface=""/>
                      </a:endParaRPr>
                    </a:p>
                  </p:txBody>
                </p:sp>
                <p:sp>
                  <p:nvSpPr>
                    <p:cNvPr id="320" name="Freeform 35"/>
                    <p:cNvSpPr>
                      <a:spLocks/>
                    </p:cNvSpPr>
                    <p:nvPr/>
                  </p:nvSpPr>
                  <p:spPr bwMode="auto">
                    <a:xfrm>
                      <a:off x="4625976" y="2478088"/>
                      <a:ext cx="52388" cy="25400"/>
                    </a:xfrm>
                    <a:custGeom>
                      <a:avLst/>
                      <a:gdLst>
                        <a:gd name="T0" fmla="*/ 43 w 58"/>
                        <a:gd name="T1" fmla="*/ 0 h 29"/>
                        <a:gd name="T2" fmla="*/ 15 w 58"/>
                        <a:gd name="T3" fmla="*/ 0 h 29"/>
                        <a:gd name="T4" fmla="*/ 0 w 58"/>
                        <a:gd name="T5" fmla="*/ 15 h 29"/>
                        <a:gd name="T6" fmla="*/ 15 w 58"/>
                        <a:gd name="T7" fmla="*/ 29 h 29"/>
                        <a:gd name="T8" fmla="*/ 43 w 58"/>
                        <a:gd name="T9" fmla="*/ 29 h 29"/>
                        <a:gd name="T10" fmla="*/ 58 w 58"/>
                        <a:gd name="T11" fmla="*/ 15 h 29"/>
                        <a:gd name="T12" fmla="*/ 43 w 58"/>
                        <a:gd name="T13" fmla="*/ 0 h 2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58" h="29">
                          <a:moveTo>
                            <a:pt x="43" y="0"/>
                          </a:moveTo>
                          <a:cubicBezTo>
                            <a:pt x="15" y="0"/>
                            <a:pt x="15" y="0"/>
                            <a:pt x="15" y="0"/>
                          </a:cubicBezTo>
                          <a:cubicBezTo>
                            <a:pt x="7" y="0"/>
                            <a:pt x="0" y="7"/>
                            <a:pt x="0" y="15"/>
                          </a:cubicBezTo>
                          <a:cubicBezTo>
                            <a:pt x="0" y="23"/>
                            <a:pt x="7" y="29"/>
                            <a:pt x="15" y="29"/>
                          </a:cubicBezTo>
                          <a:cubicBezTo>
                            <a:pt x="43" y="29"/>
                            <a:pt x="43" y="29"/>
                            <a:pt x="43" y="29"/>
                          </a:cubicBezTo>
                          <a:cubicBezTo>
                            <a:pt x="51" y="29"/>
                            <a:pt x="58" y="23"/>
                            <a:pt x="58" y="15"/>
                          </a:cubicBezTo>
                          <a:cubicBezTo>
                            <a:pt x="58" y="7"/>
                            <a:pt x="51" y="0"/>
                            <a:pt x="43" y="0"/>
                          </a:cubicBezTo>
                          <a:close/>
                        </a:path>
                      </a:pathLst>
                    </a:custGeom>
                    <a:solidFill>
                      <a:srgbClr val="4D4D4F"/>
                    </a:solidFill>
                    <a:ln>
                      <a:noFill/>
                    </a:ln>
                    <a:extLst>
                      <a:ext uri="{91240B29-F687-4f45-9708-019B960494DF}">
                        <a14:hiddenLine xmlns=""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algn="l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200" b="0" i="0" u="none" strike="noStrike" kern="0" cap="none" spc="0" normalizeH="0" baseline="0" noProof="0" dirty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Arial"/>
                        <a:cs typeface=""/>
                      </a:endParaRPr>
                    </a:p>
                  </p:txBody>
                </p:sp>
                <p:sp>
                  <p:nvSpPr>
                    <p:cNvPr id="321" name="Freeform 320"/>
                    <p:cNvSpPr>
                      <a:spLocks/>
                    </p:cNvSpPr>
                    <p:nvPr/>
                  </p:nvSpPr>
                  <p:spPr bwMode="auto">
                    <a:xfrm>
                      <a:off x="4859338" y="2473325"/>
                      <a:ext cx="52388" cy="30163"/>
                    </a:xfrm>
                    <a:custGeom>
                      <a:avLst/>
                      <a:gdLst>
                        <a:gd name="T0" fmla="*/ 39 w 58"/>
                        <a:gd name="T1" fmla="*/ 2 h 34"/>
                        <a:gd name="T2" fmla="*/ 14 w 58"/>
                        <a:gd name="T3" fmla="*/ 5 h 34"/>
                        <a:gd name="T4" fmla="*/ 0 w 58"/>
                        <a:gd name="T5" fmla="*/ 20 h 34"/>
                        <a:gd name="T6" fmla="*/ 14 w 58"/>
                        <a:gd name="T7" fmla="*/ 34 h 34"/>
                        <a:gd name="T8" fmla="*/ 14 w 58"/>
                        <a:gd name="T9" fmla="*/ 34 h 34"/>
                        <a:gd name="T10" fmla="*/ 46 w 58"/>
                        <a:gd name="T11" fmla="*/ 30 h 34"/>
                        <a:gd name="T12" fmla="*/ 56 w 58"/>
                        <a:gd name="T13" fmla="*/ 12 h 34"/>
                        <a:gd name="T14" fmla="*/ 39 w 58"/>
                        <a:gd name="T15" fmla="*/ 2 h 3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</a:cxnLst>
                      <a:rect l="0" t="0" r="r" b="b"/>
                      <a:pathLst>
                        <a:path w="58" h="34">
                          <a:moveTo>
                            <a:pt x="39" y="2"/>
                          </a:moveTo>
                          <a:cubicBezTo>
                            <a:pt x="31" y="4"/>
                            <a:pt x="22" y="5"/>
                            <a:pt x="14" y="5"/>
                          </a:cubicBezTo>
                          <a:cubicBezTo>
                            <a:pt x="6" y="5"/>
                            <a:pt x="0" y="12"/>
                            <a:pt x="0" y="20"/>
                          </a:cubicBezTo>
                          <a:cubicBezTo>
                            <a:pt x="0" y="28"/>
                            <a:pt x="6" y="34"/>
                            <a:pt x="14" y="34"/>
                          </a:cubicBezTo>
                          <a:cubicBezTo>
                            <a:pt x="14" y="34"/>
                            <a:pt x="14" y="34"/>
                            <a:pt x="14" y="34"/>
                          </a:cubicBezTo>
                          <a:cubicBezTo>
                            <a:pt x="25" y="34"/>
                            <a:pt x="36" y="32"/>
                            <a:pt x="46" y="30"/>
                          </a:cubicBezTo>
                          <a:cubicBezTo>
                            <a:pt x="54" y="28"/>
                            <a:pt x="58" y="20"/>
                            <a:pt x="56" y="12"/>
                          </a:cubicBezTo>
                          <a:cubicBezTo>
                            <a:pt x="55" y="5"/>
                            <a:pt x="47" y="0"/>
                            <a:pt x="39" y="2"/>
                          </a:cubicBezTo>
                          <a:close/>
                        </a:path>
                      </a:pathLst>
                    </a:custGeom>
                    <a:solidFill>
                      <a:srgbClr val="4D4D4F"/>
                    </a:solidFill>
                    <a:ln>
                      <a:noFill/>
                    </a:ln>
                    <a:extLst>
                      <a:ext uri="{91240B29-F687-4f45-9708-019B960494DF}">
                        <a14:hiddenLine xmlns=""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algn="l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200" b="0" i="0" u="none" strike="noStrike" kern="0" cap="none" spc="0" normalizeH="0" baseline="0" noProof="0" dirty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Arial"/>
                        <a:cs typeface=""/>
                      </a:endParaRPr>
                    </a:p>
                  </p:txBody>
                </p:sp>
              </p:grpSp>
              <p:sp>
                <p:nvSpPr>
                  <p:cNvPr id="298" name="Freeform 12"/>
                  <p:cNvSpPr>
                    <a:spLocks noEditPoints="1"/>
                  </p:cNvSpPr>
                  <p:nvPr/>
                </p:nvSpPr>
                <p:spPr bwMode="auto">
                  <a:xfrm>
                    <a:off x="5406483" y="2446478"/>
                    <a:ext cx="214941" cy="191168"/>
                  </a:xfrm>
                  <a:custGeom>
                    <a:avLst/>
                    <a:gdLst>
                      <a:gd name="T0" fmla="*/ 419 w 494"/>
                      <a:gd name="T1" fmla="*/ 299 h 448"/>
                      <a:gd name="T2" fmla="*/ 403 w 494"/>
                      <a:gd name="T3" fmla="*/ 301 h 448"/>
                      <a:gd name="T4" fmla="*/ 302 w 494"/>
                      <a:gd name="T5" fmla="*/ 126 h 448"/>
                      <a:gd name="T6" fmla="*/ 322 w 494"/>
                      <a:gd name="T7" fmla="*/ 75 h 448"/>
                      <a:gd name="T8" fmla="*/ 247 w 494"/>
                      <a:gd name="T9" fmla="*/ 0 h 448"/>
                      <a:gd name="T10" fmla="*/ 173 w 494"/>
                      <a:gd name="T11" fmla="*/ 75 h 448"/>
                      <a:gd name="T12" fmla="*/ 193 w 494"/>
                      <a:gd name="T13" fmla="*/ 126 h 448"/>
                      <a:gd name="T14" fmla="*/ 91 w 494"/>
                      <a:gd name="T15" fmla="*/ 301 h 448"/>
                      <a:gd name="T16" fmla="*/ 75 w 494"/>
                      <a:gd name="T17" fmla="*/ 299 h 448"/>
                      <a:gd name="T18" fmla="*/ 0 w 494"/>
                      <a:gd name="T19" fmla="*/ 373 h 448"/>
                      <a:gd name="T20" fmla="*/ 75 w 494"/>
                      <a:gd name="T21" fmla="*/ 448 h 448"/>
                      <a:gd name="T22" fmla="*/ 146 w 494"/>
                      <a:gd name="T23" fmla="*/ 395 h 448"/>
                      <a:gd name="T24" fmla="*/ 349 w 494"/>
                      <a:gd name="T25" fmla="*/ 395 h 448"/>
                      <a:gd name="T26" fmla="*/ 419 w 494"/>
                      <a:gd name="T27" fmla="*/ 448 h 448"/>
                      <a:gd name="T28" fmla="*/ 494 w 494"/>
                      <a:gd name="T29" fmla="*/ 373 h 448"/>
                      <a:gd name="T30" fmla="*/ 419 w 494"/>
                      <a:gd name="T31" fmla="*/ 299 h 448"/>
                      <a:gd name="T32" fmla="*/ 349 w 494"/>
                      <a:gd name="T33" fmla="*/ 351 h 448"/>
                      <a:gd name="T34" fmla="*/ 146 w 494"/>
                      <a:gd name="T35" fmla="*/ 351 h 448"/>
                      <a:gd name="T36" fmla="*/ 130 w 494"/>
                      <a:gd name="T37" fmla="*/ 323 h 448"/>
                      <a:gd name="T38" fmla="*/ 231 w 494"/>
                      <a:gd name="T39" fmla="*/ 148 h 448"/>
                      <a:gd name="T40" fmla="*/ 247 w 494"/>
                      <a:gd name="T41" fmla="*/ 150 h 448"/>
                      <a:gd name="T42" fmla="*/ 264 w 494"/>
                      <a:gd name="T43" fmla="*/ 148 h 448"/>
                      <a:gd name="T44" fmla="*/ 365 w 494"/>
                      <a:gd name="T45" fmla="*/ 323 h 448"/>
                      <a:gd name="T46" fmla="*/ 349 w 494"/>
                      <a:gd name="T47" fmla="*/ 351 h 44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</a:cxnLst>
                    <a:rect l="0" t="0" r="r" b="b"/>
                    <a:pathLst>
                      <a:path w="494" h="448">
                        <a:moveTo>
                          <a:pt x="419" y="299"/>
                        </a:moveTo>
                        <a:cubicBezTo>
                          <a:pt x="414" y="299"/>
                          <a:pt x="408" y="300"/>
                          <a:pt x="403" y="301"/>
                        </a:cubicBezTo>
                        <a:cubicBezTo>
                          <a:pt x="302" y="126"/>
                          <a:pt x="302" y="126"/>
                          <a:pt x="302" y="126"/>
                        </a:cubicBezTo>
                        <a:cubicBezTo>
                          <a:pt x="314" y="112"/>
                          <a:pt x="322" y="95"/>
                          <a:pt x="322" y="75"/>
                        </a:cubicBezTo>
                        <a:cubicBezTo>
                          <a:pt x="322" y="34"/>
                          <a:pt x="288" y="0"/>
                          <a:pt x="247" y="0"/>
                        </a:cubicBezTo>
                        <a:cubicBezTo>
                          <a:pt x="206" y="0"/>
                          <a:pt x="173" y="34"/>
                          <a:pt x="173" y="75"/>
                        </a:cubicBezTo>
                        <a:cubicBezTo>
                          <a:pt x="173" y="95"/>
                          <a:pt x="180" y="112"/>
                          <a:pt x="193" y="126"/>
                        </a:cubicBezTo>
                        <a:cubicBezTo>
                          <a:pt x="91" y="301"/>
                          <a:pt x="91" y="301"/>
                          <a:pt x="91" y="301"/>
                        </a:cubicBezTo>
                        <a:cubicBezTo>
                          <a:pt x="86" y="300"/>
                          <a:pt x="81" y="299"/>
                          <a:pt x="75" y="299"/>
                        </a:cubicBezTo>
                        <a:cubicBezTo>
                          <a:pt x="34" y="299"/>
                          <a:pt x="0" y="332"/>
                          <a:pt x="0" y="373"/>
                        </a:cubicBezTo>
                        <a:cubicBezTo>
                          <a:pt x="0" y="415"/>
                          <a:pt x="34" y="448"/>
                          <a:pt x="75" y="448"/>
                        </a:cubicBezTo>
                        <a:cubicBezTo>
                          <a:pt x="108" y="448"/>
                          <a:pt x="136" y="426"/>
                          <a:pt x="146" y="395"/>
                        </a:cubicBezTo>
                        <a:cubicBezTo>
                          <a:pt x="349" y="395"/>
                          <a:pt x="349" y="395"/>
                          <a:pt x="349" y="395"/>
                        </a:cubicBezTo>
                        <a:cubicBezTo>
                          <a:pt x="358" y="426"/>
                          <a:pt x="386" y="448"/>
                          <a:pt x="419" y="448"/>
                        </a:cubicBezTo>
                        <a:cubicBezTo>
                          <a:pt x="461" y="448"/>
                          <a:pt x="494" y="415"/>
                          <a:pt x="494" y="373"/>
                        </a:cubicBezTo>
                        <a:cubicBezTo>
                          <a:pt x="494" y="332"/>
                          <a:pt x="461" y="299"/>
                          <a:pt x="419" y="299"/>
                        </a:cubicBezTo>
                        <a:close/>
                        <a:moveTo>
                          <a:pt x="349" y="351"/>
                        </a:moveTo>
                        <a:cubicBezTo>
                          <a:pt x="146" y="351"/>
                          <a:pt x="146" y="351"/>
                          <a:pt x="146" y="351"/>
                        </a:cubicBezTo>
                        <a:cubicBezTo>
                          <a:pt x="142" y="341"/>
                          <a:pt x="137" y="331"/>
                          <a:pt x="130" y="323"/>
                        </a:cubicBezTo>
                        <a:cubicBezTo>
                          <a:pt x="231" y="148"/>
                          <a:pt x="231" y="148"/>
                          <a:pt x="231" y="148"/>
                        </a:cubicBezTo>
                        <a:cubicBezTo>
                          <a:pt x="236" y="149"/>
                          <a:pt x="242" y="150"/>
                          <a:pt x="247" y="150"/>
                        </a:cubicBezTo>
                        <a:cubicBezTo>
                          <a:pt x="253" y="150"/>
                          <a:pt x="258" y="149"/>
                          <a:pt x="264" y="148"/>
                        </a:cubicBezTo>
                        <a:cubicBezTo>
                          <a:pt x="365" y="323"/>
                          <a:pt x="365" y="323"/>
                          <a:pt x="365" y="323"/>
                        </a:cubicBezTo>
                        <a:cubicBezTo>
                          <a:pt x="358" y="331"/>
                          <a:pt x="352" y="341"/>
                          <a:pt x="349" y="351"/>
                        </a:cubicBezTo>
                        <a:close/>
                      </a:path>
                    </a:pathLst>
                  </a:custGeom>
                  <a:solidFill>
                    <a:sysClr val="window" lastClr="FFFFFF"/>
                  </a:solidFill>
                  <a:ln>
                    <a:noFill/>
                  </a:ln>
                  <a:extLst/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200" b="0" i="0" u="none" strike="noStrike" kern="0" cap="none" spc="0" normalizeH="0" baseline="0" noProof="0" dirty="0" smtClean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rial"/>
                      <a:cs typeface=""/>
                    </a:endParaRPr>
                  </a:p>
                </p:txBody>
              </p:sp>
            </p:grpSp>
            <p:sp>
              <p:nvSpPr>
                <p:cNvPr id="295" name="Rounded Rectangle 294"/>
                <p:cNvSpPr/>
                <p:nvPr/>
              </p:nvSpPr>
              <p:spPr>
                <a:xfrm>
                  <a:off x="5352784" y="2386601"/>
                  <a:ext cx="308105" cy="310923"/>
                </a:xfrm>
                <a:prstGeom prst="roundRect">
                  <a:avLst/>
                </a:prstGeom>
                <a:solidFill>
                  <a:srgbClr val="4F81BD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smtClean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/>
                    <a:ea typeface=""/>
                    <a:cs typeface=""/>
                  </a:endParaRPr>
                </a:p>
              </p:txBody>
            </p:sp>
            <p:sp>
              <p:nvSpPr>
                <p:cNvPr id="296" name="Freeform 12"/>
                <p:cNvSpPr>
                  <a:spLocks noEditPoints="1"/>
                </p:cNvSpPr>
                <p:nvPr/>
              </p:nvSpPr>
              <p:spPr bwMode="auto">
                <a:xfrm>
                  <a:off x="5388323" y="2435434"/>
                  <a:ext cx="214941" cy="191168"/>
                </a:xfrm>
                <a:custGeom>
                  <a:avLst/>
                  <a:gdLst>
                    <a:gd name="T0" fmla="*/ 419 w 494"/>
                    <a:gd name="T1" fmla="*/ 299 h 448"/>
                    <a:gd name="T2" fmla="*/ 403 w 494"/>
                    <a:gd name="T3" fmla="*/ 301 h 448"/>
                    <a:gd name="T4" fmla="*/ 302 w 494"/>
                    <a:gd name="T5" fmla="*/ 126 h 448"/>
                    <a:gd name="T6" fmla="*/ 322 w 494"/>
                    <a:gd name="T7" fmla="*/ 75 h 448"/>
                    <a:gd name="T8" fmla="*/ 247 w 494"/>
                    <a:gd name="T9" fmla="*/ 0 h 448"/>
                    <a:gd name="T10" fmla="*/ 173 w 494"/>
                    <a:gd name="T11" fmla="*/ 75 h 448"/>
                    <a:gd name="T12" fmla="*/ 193 w 494"/>
                    <a:gd name="T13" fmla="*/ 126 h 448"/>
                    <a:gd name="T14" fmla="*/ 91 w 494"/>
                    <a:gd name="T15" fmla="*/ 301 h 448"/>
                    <a:gd name="T16" fmla="*/ 75 w 494"/>
                    <a:gd name="T17" fmla="*/ 299 h 448"/>
                    <a:gd name="T18" fmla="*/ 0 w 494"/>
                    <a:gd name="T19" fmla="*/ 373 h 448"/>
                    <a:gd name="T20" fmla="*/ 75 w 494"/>
                    <a:gd name="T21" fmla="*/ 448 h 448"/>
                    <a:gd name="T22" fmla="*/ 146 w 494"/>
                    <a:gd name="T23" fmla="*/ 395 h 448"/>
                    <a:gd name="T24" fmla="*/ 349 w 494"/>
                    <a:gd name="T25" fmla="*/ 395 h 448"/>
                    <a:gd name="T26" fmla="*/ 419 w 494"/>
                    <a:gd name="T27" fmla="*/ 448 h 448"/>
                    <a:gd name="T28" fmla="*/ 494 w 494"/>
                    <a:gd name="T29" fmla="*/ 373 h 448"/>
                    <a:gd name="T30" fmla="*/ 419 w 494"/>
                    <a:gd name="T31" fmla="*/ 299 h 448"/>
                    <a:gd name="T32" fmla="*/ 349 w 494"/>
                    <a:gd name="T33" fmla="*/ 351 h 448"/>
                    <a:gd name="T34" fmla="*/ 146 w 494"/>
                    <a:gd name="T35" fmla="*/ 351 h 448"/>
                    <a:gd name="T36" fmla="*/ 130 w 494"/>
                    <a:gd name="T37" fmla="*/ 323 h 448"/>
                    <a:gd name="T38" fmla="*/ 231 w 494"/>
                    <a:gd name="T39" fmla="*/ 148 h 448"/>
                    <a:gd name="T40" fmla="*/ 247 w 494"/>
                    <a:gd name="T41" fmla="*/ 150 h 448"/>
                    <a:gd name="T42" fmla="*/ 264 w 494"/>
                    <a:gd name="T43" fmla="*/ 148 h 448"/>
                    <a:gd name="T44" fmla="*/ 365 w 494"/>
                    <a:gd name="T45" fmla="*/ 323 h 448"/>
                    <a:gd name="T46" fmla="*/ 349 w 494"/>
                    <a:gd name="T47" fmla="*/ 351 h 44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</a:cxnLst>
                  <a:rect l="0" t="0" r="r" b="b"/>
                  <a:pathLst>
                    <a:path w="494" h="448">
                      <a:moveTo>
                        <a:pt x="419" y="299"/>
                      </a:moveTo>
                      <a:cubicBezTo>
                        <a:pt x="414" y="299"/>
                        <a:pt x="408" y="300"/>
                        <a:pt x="403" y="301"/>
                      </a:cubicBezTo>
                      <a:cubicBezTo>
                        <a:pt x="302" y="126"/>
                        <a:pt x="302" y="126"/>
                        <a:pt x="302" y="126"/>
                      </a:cubicBezTo>
                      <a:cubicBezTo>
                        <a:pt x="314" y="112"/>
                        <a:pt x="322" y="95"/>
                        <a:pt x="322" y="75"/>
                      </a:cubicBezTo>
                      <a:cubicBezTo>
                        <a:pt x="322" y="34"/>
                        <a:pt x="288" y="0"/>
                        <a:pt x="247" y="0"/>
                      </a:cubicBezTo>
                      <a:cubicBezTo>
                        <a:pt x="206" y="0"/>
                        <a:pt x="173" y="34"/>
                        <a:pt x="173" y="75"/>
                      </a:cubicBezTo>
                      <a:cubicBezTo>
                        <a:pt x="173" y="95"/>
                        <a:pt x="180" y="112"/>
                        <a:pt x="193" y="126"/>
                      </a:cubicBezTo>
                      <a:cubicBezTo>
                        <a:pt x="91" y="301"/>
                        <a:pt x="91" y="301"/>
                        <a:pt x="91" y="301"/>
                      </a:cubicBezTo>
                      <a:cubicBezTo>
                        <a:pt x="86" y="300"/>
                        <a:pt x="81" y="299"/>
                        <a:pt x="75" y="299"/>
                      </a:cubicBezTo>
                      <a:cubicBezTo>
                        <a:pt x="34" y="299"/>
                        <a:pt x="0" y="332"/>
                        <a:pt x="0" y="373"/>
                      </a:cubicBezTo>
                      <a:cubicBezTo>
                        <a:pt x="0" y="415"/>
                        <a:pt x="34" y="448"/>
                        <a:pt x="75" y="448"/>
                      </a:cubicBezTo>
                      <a:cubicBezTo>
                        <a:pt x="108" y="448"/>
                        <a:pt x="136" y="426"/>
                        <a:pt x="146" y="395"/>
                      </a:cubicBezTo>
                      <a:cubicBezTo>
                        <a:pt x="349" y="395"/>
                        <a:pt x="349" y="395"/>
                        <a:pt x="349" y="395"/>
                      </a:cubicBezTo>
                      <a:cubicBezTo>
                        <a:pt x="358" y="426"/>
                        <a:pt x="386" y="448"/>
                        <a:pt x="419" y="448"/>
                      </a:cubicBezTo>
                      <a:cubicBezTo>
                        <a:pt x="461" y="448"/>
                        <a:pt x="494" y="415"/>
                        <a:pt x="494" y="373"/>
                      </a:cubicBezTo>
                      <a:cubicBezTo>
                        <a:pt x="494" y="332"/>
                        <a:pt x="461" y="299"/>
                        <a:pt x="419" y="299"/>
                      </a:cubicBezTo>
                      <a:close/>
                      <a:moveTo>
                        <a:pt x="349" y="351"/>
                      </a:moveTo>
                      <a:cubicBezTo>
                        <a:pt x="146" y="351"/>
                        <a:pt x="146" y="351"/>
                        <a:pt x="146" y="351"/>
                      </a:cubicBezTo>
                      <a:cubicBezTo>
                        <a:pt x="142" y="341"/>
                        <a:pt x="137" y="331"/>
                        <a:pt x="130" y="323"/>
                      </a:cubicBezTo>
                      <a:cubicBezTo>
                        <a:pt x="231" y="148"/>
                        <a:pt x="231" y="148"/>
                        <a:pt x="231" y="148"/>
                      </a:cubicBezTo>
                      <a:cubicBezTo>
                        <a:pt x="236" y="149"/>
                        <a:pt x="242" y="150"/>
                        <a:pt x="247" y="150"/>
                      </a:cubicBezTo>
                      <a:cubicBezTo>
                        <a:pt x="253" y="150"/>
                        <a:pt x="258" y="149"/>
                        <a:pt x="264" y="148"/>
                      </a:cubicBezTo>
                      <a:cubicBezTo>
                        <a:pt x="365" y="323"/>
                        <a:pt x="365" y="323"/>
                        <a:pt x="365" y="323"/>
                      </a:cubicBezTo>
                      <a:cubicBezTo>
                        <a:pt x="358" y="331"/>
                        <a:pt x="352" y="341"/>
                        <a:pt x="349" y="351"/>
                      </a:cubicBezTo>
                      <a:close/>
                    </a:path>
                  </a:pathLst>
                </a:custGeom>
                <a:solidFill>
                  <a:sysClr val="window" lastClr="FFFFFF"/>
                </a:solidFill>
                <a:ln>
                  <a:noFill/>
                </a:ln>
                <a:extLst/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2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/>
                    <a:cs typeface=""/>
                  </a:endParaRPr>
                </a:p>
              </p:txBody>
            </p:sp>
          </p:grpSp>
        </p:grpSp>
      </p:grpSp>
      <p:grpSp>
        <p:nvGrpSpPr>
          <p:cNvPr id="694" name="Group 693"/>
          <p:cNvGrpSpPr/>
          <p:nvPr/>
        </p:nvGrpSpPr>
        <p:grpSpPr>
          <a:xfrm>
            <a:off x="5418386" y="2433310"/>
            <a:ext cx="1376825" cy="901433"/>
            <a:chOff x="3512757" y="2773280"/>
            <a:chExt cx="1376825" cy="901433"/>
          </a:xfrm>
        </p:grpSpPr>
        <p:sp>
          <p:nvSpPr>
            <p:cNvPr id="695" name="Rounded Rectangle 694"/>
            <p:cNvSpPr/>
            <p:nvPr/>
          </p:nvSpPr>
          <p:spPr bwMode="auto">
            <a:xfrm>
              <a:off x="3634462" y="2796564"/>
              <a:ext cx="1161947" cy="878149"/>
            </a:xfrm>
            <a:prstGeom prst="roundRect">
              <a:avLst>
                <a:gd name="adj" fmla="val 7065"/>
              </a:avLst>
            </a:prstGeom>
            <a:solidFill>
              <a:sysClr val="window" lastClr="FFFFFF"/>
            </a:solidFill>
            <a:ln w="9525" cap="flat" cmpd="sng" algn="ctr">
              <a:solidFill>
                <a:sysClr val="window" lastClr="FFFFFF">
                  <a:lumMod val="50000"/>
                </a:sysClr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121917" tIns="60958" rIns="121917" bIns="60958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ＭＳ Ｐゴシック" pitchFamily="-12" charset="-128"/>
                <a:cs typeface="ＭＳ Ｐゴシック" pitchFamily="-12" charset="-128"/>
              </a:endParaRPr>
            </a:p>
          </p:txBody>
        </p:sp>
        <p:grpSp>
          <p:nvGrpSpPr>
            <p:cNvPr id="696" name="Group 695"/>
            <p:cNvGrpSpPr/>
            <p:nvPr/>
          </p:nvGrpSpPr>
          <p:grpSpPr>
            <a:xfrm>
              <a:off x="3743448" y="2999214"/>
              <a:ext cx="323368" cy="283709"/>
              <a:chOff x="5310724" y="2352924"/>
              <a:chExt cx="398754" cy="374816"/>
            </a:xfrm>
          </p:grpSpPr>
          <p:grpSp>
            <p:nvGrpSpPr>
              <p:cNvPr id="833" name="Group 832"/>
              <p:cNvGrpSpPr/>
              <p:nvPr/>
            </p:nvGrpSpPr>
            <p:grpSpPr>
              <a:xfrm rot="5400000">
                <a:off x="5322693" y="2340955"/>
                <a:ext cx="374816" cy="398754"/>
                <a:chOff x="4471988" y="1985963"/>
                <a:chExt cx="527051" cy="517525"/>
              </a:xfrm>
            </p:grpSpPr>
            <p:sp>
              <p:nvSpPr>
                <p:cNvPr id="836" name="Freeform 13"/>
                <p:cNvSpPr>
                  <a:spLocks/>
                </p:cNvSpPr>
                <p:nvPr/>
              </p:nvSpPr>
              <p:spPr bwMode="auto">
                <a:xfrm>
                  <a:off x="4471988" y="2117725"/>
                  <a:ext cx="25400" cy="50800"/>
                </a:xfrm>
                <a:custGeom>
                  <a:avLst/>
                  <a:gdLst>
                    <a:gd name="T0" fmla="*/ 14 w 29"/>
                    <a:gd name="T1" fmla="*/ 57 h 57"/>
                    <a:gd name="T2" fmla="*/ 29 w 29"/>
                    <a:gd name="T3" fmla="*/ 43 h 57"/>
                    <a:gd name="T4" fmla="*/ 29 w 29"/>
                    <a:gd name="T5" fmla="*/ 14 h 57"/>
                    <a:gd name="T6" fmla="*/ 14 w 29"/>
                    <a:gd name="T7" fmla="*/ 0 h 57"/>
                    <a:gd name="T8" fmla="*/ 0 w 29"/>
                    <a:gd name="T9" fmla="*/ 14 h 57"/>
                    <a:gd name="T10" fmla="*/ 0 w 29"/>
                    <a:gd name="T11" fmla="*/ 43 h 57"/>
                    <a:gd name="T12" fmla="*/ 14 w 29"/>
                    <a:gd name="T13" fmla="*/ 57 h 5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9" h="57">
                      <a:moveTo>
                        <a:pt x="14" y="57"/>
                      </a:moveTo>
                      <a:cubicBezTo>
                        <a:pt x="22" y="57"/>
                        <a:pt x="29" y="51"/>
                        <a:pt x="29" y="43"/>
                      </a:cubicBezTo>
                      <a:cubicBezTo>
                        <a:pt x="29" y="14"/>
                        <a:pt x="29" y="14"/>
                        <a:pt x="29" y="14"/>
                      </a:cubicBezTo>
                      <a:cubicBezTo>
                        <a:pt x="29" y="6"/>
                        <a:pt x="22" y="0"/>
                        <a:pt x="14" y="0"/>
                      </a:cubicBezTo>
                      <a:cubicBezTo>
                        <a:pt x="7" y="0"/>
                        <a:pt x="0" y="6"/>
                        <a:pt x="0" y="14"/>
                      </a:cubicBezTo>
                      <a:cubicBezTo>
                        <a:pt x="0" y="43"/>
                        <a:pt x="0" y="43"/>
                        <a:pt x="0" y="43"/>
                      </a:cubicBezTo>
                      <a:cubicBezTo>
                        <a:pt x="0" y="51"/>
                        <a:pt x="7" y="57"/>
                        <a:pt x="14" y="57"/>
                      </a:cubicBezTo>
                      <a:close/>
                    </a:path>
                  </a:pathLst>
                </a:custGeom>
                <a:solidFill>
                  <a:srgbClr val="4D4D4F"/>
                </a:solidFill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2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/>
                    <a:cs typeface=""/>
                  </a:endParaRPr>
                </a:p>
              </p:txBody>
            </p:sp>
            <p:sp>
              <p:nvSpPr>
                <p:cNvPr id="837" name="Freeform 14"/>
                <p:cNvSpPr>
                  <a:spLocks/>
                </p:cNvSpPr>
                <p:nvPr/>
              </p:nvSpPr>
              <p:spPr bwMode="auto">
                <a:xfrm>
                  <a:off x="4471988" y="2271713"/>
                  <a:ext cx="25400" cy="52388"/>
                </a:xfrm>
                <a:custGeom>
                  <a:avLst/>
                  <a:gdLst>
                    <a:gd name="T0" fmla="*/ 14 w 29"/>
                    <a:gd name="T1" fmla="*/ 58 h 58"/>
                    <a:gd name="T2" fmla="*/ 29 w 29"/>
                    <a:gd name="T3" fmla="*/ 43 h 58"/>
                    <a:gd name="T4" fmla="*/ 29 w 29"/>
                    <a:gd name="T5" fmla="*/ 15 h 58"/>
                    <a:gd name="T6" fmla="*/ 14 w 29"/>
                    <a:gd name="T7" fmla="*/ 0 h 58"/>
                    <a:gd name="T8" fmla="*/ 0 w 29"/>
                    <a:gd name="T9" fmla="*/ 15 h 58"/>
                    <a:gd name="T10" fmla="*/ 0 w 29"/>
                    <a:gd name="T11" fmla="*/ 43 h 58"/>
                    <a:gd name="T12" fmla="*/ 14 w 29"/>
                    <a:gd name="T13" fmla="*/ 58 h 5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9" h="58">
                      <a:moveTo>
                        <a:pt x="14" y="58"/>
                      </a:moveTo>
                      <a:cubicBezTo>
                        <a:pt x="22" y="58"/>
                        <a:pt x="29" y="51"/>
                        <a:pt x="29" y="43"/>
                      </a:cubicBezTo>
                      <a:cubicBezTo>
                        <a:pt x="29" y="15"/>
                        <a:pt x="29" y="15"/>
                        <a:pt x="29" y="15"/>
                      </a:cubicBezTo>
                      <a:cubicBezTo>
                        <a:pt x="29" y="7"/>
                        <a:pt x="22" y="0"/>
                        <a:pt x="14" y="0"/>
                      </a:cubicBezTo>
                      <a:cubicBezTo>
                        <a:pt x="7" y="0"/>
                        <a:pt x="0" y="7"/>
                        <a:pt x="0" y="15"/>
                      </a:cubicBezTo>
                      <a:cubicBezTo>
                        <a:pt x="0" y="43"/>
                        <a:pt x="0" y="43"/>
                        <a:pt x="0" y="43"/>
                      </a:cubicBezTo>
                      <a:cubicBezTo>
                        <a:pt x="0" y="51"/>
                        <a:pt x="7" y="58"/>
                        <a:pt x="14" y="58"/>
                      </a:cubicBezTo>
                      <a:close/>
                    </a:path>
                  </a:pathLst>
                </a:custGeom>
                <a:solidFill>
                  <a:srgbClr val="4D4D4F"/>
                </a:solidFill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2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/>
                    <a:cs typeface=""/>
                  </a:endParaRPr>
                </a:p>
              </p:txBody>
            </p:sp>
            <p:sp>
              <p:nvSpPr>
                <p:cNvPr id="838" name="Freeform 15"/>
                <p:cNvSpPr>
                  <a:spLocks/>
                </p:cNvSpPr>
                <p:nvPr/>
              </p:nvSpPr>
              <p:spPr bwMode="auto">
                <a:xfrm>
                  <a:off x="4487863" y="2422525"/>
                  <a:ext cx="44450" cy="47625"/>
                </a:xfrm>
                <a:custGeom>
                  <a:avLst/>
                  <a:gdLst>
                    <a:gd name="T0" fmla="*/ 29 w 50"/>
                    <a:gd name="T1" fmla="*/ 8 h 53"/>
                    <a:gd name="T2" fmla="*/ 9 w 50"/>
                    <a:gd name="T3" fmla="*/ 4 h 53"/>
                    <a:gd name="T4" fmla="*/ 4 w 50"/>
                    <a:gd name="T5" fmla="*/ 24 h 53"/>
                    <a:gd name="T6" fmla="*/ 24 w 50"/>
                    <a:gd name="T7" fmla="*/ 49 h 53"/>
                    <a:gd name="T8" fmla="*/ 34 w 50"/>
                    <a:gd name="T9" fmla="*/ 53 h 53"/>
                    <a:gd name="T10" fmla="*/ 45 w 50"/>
                    <a:gd name="T11" fmla="*/ 49 h 53"/>
                    <a:gd name="T12" fmla="*/ 45 w 50"/>
                    <a:gd name="T13" fmla="*/ 28 h 53"/>
                    <a:gd name="T14" fmla="*/ 29 w 50"/>
                    <a:gd name="T15" fmla="*/ 8 h 5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50" h="53">
                      <a:moveTo>
                        <a:pt x="29" y="8"/>
                      </a:moveTo>
                      <a:cubicBezTo>
                        <a:pt x="24" y="2"/>
                        <a:pt x="15" y="0"/>
                        <a:pt x="9" y="4"/>
                      </a:cubicBezTo>
                      <a:cubicBezTo>
                        <a:pt x="2" y="8"/>
                        <a:pt x="0" y="17"/>
                        <a:pt x="4" y="24"/>
                      </a:cubicBezTo>
                      <a:cubicBezTo>
                        <a:pt x="10" y="33"/>
                        <a:pt x="17" y="41"/>
                        <a:pt x="24" y="49"/>
                      </a:cubicBezTo>
                      <a:cubicBezTo>
                        <a:pt x="27" y="51"/>
                        <a:pt x="31" y="53"/>
                        <a:pt x="34" y="53"/>
                      </a:cubicBezTo>
                      <a:cubicBezTo>
                        <a:pt x="38" y="53"/>
                        <a:pt x="42" y="51"/>
                        <a:pt x="45" y="49"/>
                      </a:cubicBezTo>
                      <a:cubicBezTo>
                        <a:pt x="50" y="43"/>
                        <a:pt x="50" y="34"/>
                        <a:pt x="45" y="28"/>
                      </a:cubicBezTo>
                      <a:cubicBezTo>
                        <a:pt x="39" y="22"/>
                        <a:pt x="33" y="15"/>
                        <a:pt x="29" y="8"/>
                      </a:cubicBezTo>
                      <a:close/>
                    </a:path>
                  </a:pathLst>
                </a:custGeom>
                <a:solidFill>
                  <a:srgbClr val="4D4D4F"/>
                </a:solidFill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2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/>
                    <a:cs typeface=""/>
                  </a:endParaRPr>
                </a:p>
              </p:txBody>
            </p:sp>
            <p:sp>
              <p:nvSpPr>
                <p:cNvPr id="839" name="Freeform 16"/>
                <p:cNvSpPr>
                  <a:spLocks/>
                </p:cNvSpPr>
                <p:nvPr/>
              </p:nvSpPr>
              <p:spPr bwMode="auto">
                <a:xfrm>
                  <a:off x="4471988" y="2193925"/>
                  <a:ext cx="25400" cy="52388"/>
                </a:xfrm>
                <a:custGeom>
                  <a:avLst/>
                  <a:gdLst>
                    <a:gd name="T0" fmla="*/ 14 w 29"/>
                    <a:gd name="T1" fmla="*/ 58 h 58"/>
                    <a:gd name="T2" fmla="*/ 29 w 29"/>
                    <a:gd name="T3" fmla="*/ 43 h 58"/>
                    <a:gd name="T4" fmla="*/ 29 w 29"/>
                    <a:gd name="T5" fmla="*/ 14 h 58"/>
                    <a:gd name="T6" fmla="*/ 14 w 29"/>
                    <a:gd name="T7" fmla="*/ 0 h 58"/>
                    <a:gd name="T8" fmla="*/ 0 w 29"/>
                    <a:gd name="T9" fmla="*/ 14 h 58"/>
                    <a:gd name="T10" fmla="*/ 0 w 29"/>
                    <a:gd name="T11" fmla="*/ 43 h 58"/>
                    <a:gd name="T12" fmla="*/ 14 w 29"/>
                    <a:gd name="T13" fmla="*/ 58 h 5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9" h="58">
                      <a:moveTo>
                        <a:pt x="14" y="58"/>
                      </a:moveTo>
                      <a:cubicBezTo>
                        <a:pt x="22" y="58"/>
                        <a:pt x="29" y="51"/>
                        <a:pt x="29" y="43"/>
                      </a:cubicBezTo>
                      <a:cubicBezTo>
                        <a:pt x="29" y="14"/>
                        <a:pt x="29" y="14"/>
                        <a:pt x="29" y="14"/>
                      </a:cubicBezTo>
                      <a:cubicBezTo>
                        <a:pt x="29" y="6"/>
                        <a:pt x="22" y="0"/>
                        <a:pt x="14" y="0"/>
                      </a:cubicBezTo>
                      <a:cubicBezTo>
                        <a:pt x="7" y="0"/>
                        <a:pt x="0" y="6"/>
                        <a:pt x="0" y="14"/>
                      </a:cubicBezTo>
                      <a:cubicBezTo>
                        <a:pt x="0" y="43"/>
                        <a:pt x="0" y="43"/>
                        <a:pt x="0" y="43"/>
                      </a:cubicBezTo>
                      <a:cubicBezTo>
                        <a:pt x="0" y="51"/>
                        <a:pt x="7" y="58"/>
                        <a:pt x="14" y="58"/>
                      </a:cubicBezTo>
                      <a:close/>
                    </a:path>
                  </a:pathLst>
                </a:custGeom>
                <a:solidFill>
                  <a:srgbClr val="4D4D4F"/>
                </a:solidFill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2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/>
                    <a:cs typeface=""/>
                  </a:endParaRPr>
                </a:p>
              </p:txBody>
            </p:sp>
            <p:sp>
              <p:nvSpPr>
                <p:cNvPr id="840" name="Freeform 17"/>
                <p:cNvSpPr>
                  <a:spLocks/>
                </p:cNvSpPr>
                <p:nvPr/>
              </p:nvSpPr>
              <p:spPr bwMode="auto">
                <a:xfrm>
                  <a:off x="4830763" y="1985963"/>
                  <a:ext cx="50800" cy="26988"/>
                </a:xfrm>
                <a:custGeom>
                  <a:avLst/>
                  <a:gdLst>
                    <a:gd name="T0" fmla="*/ 15 w 57"/>
                    <a:gd name="T1" fmla="*/ 29 h 29"/>
                    <a:gd name="T2" fmla="*/ 44 w 57"/>
                    <a:gd name="T3" fmla="*/ 29 h 29"/>
                    <a:gd name="T4" fmla="*/ 57 w 57"/>
                    <a:gd name="T5" fmla="*/ 15 h 29"/>
                    <a:gd name="T6" fmla="*/ 43 w 57"/>
                    <a:gd name="T7" fmla="*/ 0 h 29"/>
                    <a:gd name="T8" fmla="*/ 15 w 57"/>
                    <a:gd name="T9" fmla="*/ 0 h 29"/>
                    <a:gd name="T10" fmla="*/ 0 w 57"/>
                    <a:gd name="T11" fmla="*/ 15 h 29"/>
                    <a:gd name="T12" fmla="*/ 15 w 57"/>
                    <a:gd name="T13" fmla="*/ 29 h 2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57" h="29">
                      <a:moveTo>
                        <a:pt x="15" y="29"/>
                      </a:moveTo>
                      <a:cubicBezTo>
                        <a:pt x="44" y="29"/>
                        <a:pt x="44" y="29"/>
                        <a:pt x="44" y="29"/>
                      </a:cubicBezTo>
                      <a:cubicBezTo>
                        <a:pt x="51" y="29"/>
                        <a:pt x="57" y="23"/>
                        <a:pt x="57" y="15"/>
                      </a:cubicBezTo>
                      <a:cubicBezTo>
                        <a:pt x="57" y="7"/>
                        <a:pt x="50" y="0"/>
                        <a:pt x="43" y="0"/>
                      </a:cubicBezTo>
                      <a:cubicBezTo>
                        <a:pt x="15" y="0"/>
                        <a:pt x="15" y="0"/>
                        <a:pt x="15" y="0"/>
                      </a:cubicBezTo>
                      <a:cubicBezTo>
                        <a:pt x="7" y="0"/>
                        <a:pt x="0" y="7"/>
                        <a:pt x="0" y="15"/>
                      </a:cubicBezTo>
                      <a:cubicBezTo>
                        <a:pt x="0" y="23"/>
                        <a:pt x="7" y="29"/>
                        <a:pt x="15" y="29"/>
                      </a:cubicBezTo>
                      <a:close/>
                    </a:path>
                  </a:pathLst>
                </a:custGeom>
                <a:solidFill>
                  <a:srgbClr val="4D4D4F"/>
                </a:solidFill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2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/>
                    <a:cs typeface=""/>
                  </a:endParaRPr>
                </a:p>
              </p:txBody>
            </p:sp>
            <p:sp>
              <p:nvSpPr>
                <p:cNvPr id="841" name="Freeform 18"/>
                <p:cNvSpPr>
                  <a:spLocks/>
                </p:cNvSpPr>
                <p:nvPr/>
              </p:nvSpPr>
              <p:spPr bwMode="auto">
                <a:xfrm>
                  <a:off x="4905376" y="1997075"/>
                  <a:ext cx="50800" cy="41275"/>
                </a:xfrm>
                <a:custGeom>
                  <a:avLst/>
                  <a:gdLst>
                    <a:gd name="T0" fmla="*/ 10 w 56"/>
                    <a:gd name="T1" fmla="*/ 30 h 47"/>
                    <a:gd name="T2" fmla="*/ 31 w 56"/>
                    <a:gd name="T3" fmla="*/ 43 h 47"/>
                    <a:gd name="T4" fmla="*/ 40 w 56"/>
                    <a:gd name="T5" fmla="*/ 47 h 47"/>
                    <a:gd name="T6" fmla="*/ 51 w 56"/>
                    <a:gd name="T7" fmla="*/ 41 h 47"/>
                    <a:gd name="T8" fmla="*/ 49 w 56"/>
                    <a:gd name="T9" fmla="*/ 21 h 47"/>
                    <a:gd name="T10" fmla="*/ 22 w 56"/>
                    <a:gd name="T11" fmla="*/ 4 h 47"/>
                    <a:gd name="T12" fmla="*/ 3 w 56"/>
                    <a:gd name="T13" fmla="*/ 11 h 47"/>
                    <a:gd name="T14" fmla="*/ 10 w 56"/>
                    <a:gd name="T15" fmla="*/ 30 h 4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56" h="47">
                      <a:moveTo>
                        <a:pt x="10" y="30"/>
                      </a:moveTo>
                      <a:cubicBezTo>
                        <a:pt x="17" y="33"/>
                        <a:pt x="25" y="38"/>
                        <a:pt x="31" y="43"/>
                      </a:cubicBezTo>
                      <a:cubicBezTo>
                        <a:pt x="34" y="46"/>
                        <a:pt x="37" y="47"/>
                        <a:pt x="40" y="47"/>
                      </a:cubicBezTo>
                      <a:cubicBezTo>
                        <a:pt x="44" y="47"/>
                        <a:pt x="49" y="45"/>
                        <a:pt x="51" y="41"/>
                      </a:cubicBezTo>
                      <a:cubicBezTo>
                        <a:pt x="56" y="35"/>
                        <a:pt x="55" y="26"/>
                        <a:pt x="49" y="21"/>
                      </a:cubicBezTo>
                      <a:cubicBezTo>
                        <a:pt x="41" y="14"/>
                        <a:pt x="32" y="9"/>
                        <a:pt x="22" y="4"/>
                      </a:cubicBezTo>
                      <a:cubicBezTo>
                        <a:pt x="15" y="0"/>
                        <a:pt x="7" y="3"/>
                        <a:pt x="3" y="11"/>
                      </a:cubicBezTo>
                      <a:cubicBezTo>
                        <a:pt x="0" y="18"/>
                        <a:pt x="3" y="26"/>
                        <a:pt x="10" y="30"/>
                      </a:cubicBezTo>
                      <a:close/>
                    </a:path>
                  </a:pathLst>
                </a:custGeom>
                <a:solidFill>
                  <a:srgbClr val="4D4D4F"/>
                </a:solidFill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2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/>
                    <a:cs typeface=""/>
                  </a:endParaRPr>
                </a:p>
              </p:txBody>
            </p:sp>
            <p:sp>
              <p:nvSpPr>
                <p:cNvPr id="842" name="Freeform 19"/>
                <p:cNvSpPr>
                  <a:spLocks/>
                </p:cNvSpPr>
                <p:nvPr/>
              </p:nvSpPr>
              <p:spPr bwMode="auto">
                <a:xfrm>
                  <a:off x="4476751" y="2039938"/>
                  <a:ext cx="39688" cy="52388"/>
                </a:xfrm>
                <a:custGeom>
                  <a:avLst/>
                  <a:gdLst>
                    <a:gd name="T0" fmla="*/ 12 w 45"/>
                    <a:gd name="T1" fmla="*/ 56 h 57"/>
                    <a:gd name="T2" fmla="*/ 16 w 45"/>
                    <a:gd name="T3" fmla="*/ 57 h 57"/>
                    <a:gd name="T4" fmla="*/ 30 w 45"/>
                    <a:gd name="T5" fmla="*/ 47 h 57"/>
                    <a:gd name="T6" fmla="*/ 41 w 45"/>
                    <a:gd name="T7" fmla="*/ 24 h 57"/>
                    <a:gd name="T8" fmla="*/ 36 w 45"/>
                    <a:gd name="T9" fmla="*/ 4 h 57"/>
                    <a:gd name="T10" fmla="*/ 16 w 45"/>
                    <a:gd name="T11" fmla="*/ 9 h 57"/>
                    <a:gd name="T12" fmla="*/ 3 w 45"/>
                    <a:gd name="T13" fmla="*/ 38 h 57"/>
                    <a:gd name="T14" fmla="*/ 12 w 45"/>
                    <a:gd name="T15" fmla="*/ 56 h 5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45" h="57">
                      <a:moveTo>
                        <a:pt x="12" y="56"/>
                      </a:moveTo>
                      <a:cubicBezTo>
                        <a:pt x="13" y="57"/>
                        <a:pt x="15" y="57"/>
                        <a:pt x="16" y="57"/>
                      </a:cubicBezTo>
                      <a:cubicBezTo>
                        <a:pt x="22" y="57"/>
                        <a:pt x="28" y="53"/>
                        <a:pt x="30" y="47"/>
                      </a:cubicBezTo>
                      <a:cubicBezTo>
                        <a:pt x="33" y="39"/>
                        <a:pt x="36" y="32"/>
                        <a:pt x="41" y="24"/>
                      </a:cubicBezTo>
                      <a:cubicBezTo>
                        <a:pt x="45" y="17"/>
                        <a:pt x="43" y="9"/>
                        <a:pt x="36" y="4"/>
                      </a:cubicBezTo>
                      <a:cubicBezTo>
                        <a:pt x="29" y="0"/>
                        <a:pt x="21" y="2"/>
                        <a:pt x="16" y="9"/>
                      </a:cubicBezTo>
                      <a:cubicBezTo>
                        <a:pt x="11" y="18"/>
                        <a:pt x="6" y="28"/>
                        <a:pt x="3" y="38"/>
                      </a:cubicBezTo>
                      <a:cubicBezTo>
                        <a:pt x="0" y="45"/>
                        <a:pt x="4" y="54"/>
                        <a:pt x="12" y="56"/>
                      </a:cubicBezTo>
                      <a:close/>
                    </a:path>
                  </a:pathLst>
                </a:custGeom>
                <a:solidFill>
                  <a:srgbClr val="4D4D4F"/>
                </a:solidFill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2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/>
                    <a:cs typeface=""/>
                  </a:endParaRPr>
                </a:p>
              </p:txBody>
            </p:sp>
            <p:sp>
              <p:nvSpPr>
                <p:cNvPr id="843" name="Freeform 20"/>
                <p:cNvSpPr>
                  <a:spLocks/>
                </p:cNvSpPr>
                <p:nvPr/>
              </p:nvSpPr>
              <p:spPr bwMode="auto">
                <a:xfrm>
                  <a:off x="4522788" y="1992313"/>
                  <a:ext cx="52388" cy="39688"/>
                </a:xfrm>
                <a:custGeom>
                  <a:avLst/>
                  <a:gdLst>
                    <a:gd name="T0" fmla="*/ 55 w 58"/>
                    <a:gd name="T1" fmla="*/ 11 h 43"/>
                    <a:gd name="T2" fmla="*/ 37 w 58"/>
                    <a:gd name="T3" fmla="*/ 2 h 43"/>
                    <a:gd name="T4" fmla="*/ 9 w 58"/>
                    <a:gd name="T5" fmla="*/ 17 h 43"/>
                    <a:gd name="T6" fmla="*/ 4 w 58"/>
                    <a:gd name="T7" fmla="*/ 37 h 43"/>
                    <a:gd name="T8" fmla="*/ 16 w 58"/>
                    <a:gd name="T9" fmla="*/ 43 h 43"/>
                    <a:gd name="T10" fmla="*/ 24 w 58"/>
                    <a:gd name="T11" fmla="*/ 41 h 43"/>
                    <a:gd name="T12" fmla="*/ 47 w 58"/>
                    <a:gd name="T13" fmla="*/ 29 h 43"/>
                    <a:gd name="T14" fmla="*/ 55 w 58"/>
                    <a:gd name="T15" fmla="*/ 11 h 4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58" h="43">
                      <a:moveTo>
                        <a:pt x="55" y="11"/>
                      </a:moveTo>
                      <a:cubicBezTo>
                        <a:pt x="53" y="3"/>
                        <a:pt x="44" y="0"/>
                        <a:pt x="37" y="2"/>
                      </a:cubicBezTo>
                      <a:cubicBezTo>
                        <a:pt x="27" y="6"/>
                        <a:pt x="17" y="11"/>
                        <a:pt x="9" y="17"/>
                      </a:cubicBezTo>
                      <a:cubicBezTo>
                        <a:pt x="2" y="21"/>
                        <a:pt x="0" y="30"/>
                        <a:pt x="4" y="37"/>
                      </a:cubicBezTo>
                      <a:cubicBezTo>
                        <a:pt x="7" y="41"/>
                        <a:pt x="12" y="43"/>
                        <a:pt x="16" y="43"/>
                      </a:cubicBezTo>
                      <a:cubicBezTo>
                        <a:pt x="19" y="43"/>
                        <a:pt x="22" y="43"/>
                        <a:pt x="24" y="41"/>
                      </a:cubicBezTo>
                      <a:cubicBezTo>
                        <a:pt x="31" y="36"/>
                        <a:pt x="39" y="32"/>
                        <a:pt x="47" y="29"/>
                      </a:cubicBezTo>
                      <a:cubicBezTo>
                        <a:pt x="54" y="27"/>
                        <a:pt x="58" y="18"/>
                        <a:pt x="55" y="11"/>
                      </a:cubicBezTo>
                      <a:close/>
                    </a:path>
                  </a:pathLst>
                </a:custGeom>
                <a:solidFill>
                  <a:srgbClr val="4D4D4F"/>
                </a:solidFill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2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/>
                    <a:cs typeface=""/>
                  </a:endParaRPr>
                </a:p>
              </p:txBody>
            </p:sp>
            <p:sp>
              <p:nvSpPr>
                <p:cNvPr id="844" name="Freeform 21"/>
                <p:cNvSpPr>
                  <a:spLocks/>
                </p:cNvSpPr>
                <p:nvPr/>
              </p:nvSpPr>
              <p:spPr bwMode="auto">
                <a:xfrm>
                  <a:off x="4959351" y="2051050"/>
                  <a:ext cx="36513" cy="52388"/>
                </a:xfrm>
                <a:custGeom>
                  <a:avLst/>
                  <a:gdLst>
                    <a:gd name="T0" fmla="*/ 13 w 42"/>
                    <a:gd name="T1" fmla="*/ 47 h 58"/>
                    <a:gd name="T2" fmla="*/ 27 w 42"/>
                    <a:gd name="T3" fmla="*/ 58 h 58"/>
                    <a:gd name="T4" fmla="*/ 30 w 42"/>
                    <a:gd name="T5" fmla="*/ 57 h 58"/>
                    <a:gd name="T6" fmla="*/ 41 w 42"/>
                    <a:gd name="T7" fmla="*/ 40 h 58"/>
                    <a:gd name="T8" fmla="*/ 30 w 42"/>
                    <a:gd name="T9" fmla="*/ 10 h 58"/>
                    <a:gd name="T10" fmla="*/ 11 w 42"/>
                    <a:gd name="T11" fmla="*/ 4 h 58"/>
                    <a:gd name="T12" fmla="*/ 4 w 42"/>
                    <a:gd name="T13" fmla="*/ 23 h 58"/>
                    <a:gd name="T14" fmla="*/ 13 w 42"/>
                    <a:gd name="T15" fmla="*/ 47 h 5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42" h="58">
                      <a:moveTo>
                        <a:pt x="13" y="47"/>
                      </a:moveTo>
                      <a:cubicBezTo>
                        <a:pt x="14" y="53"/>
                        <a:pt x="20" y="58"/>
                        <a:pt x="27" y="58"/>
                      </a:cubicBezTo>
                      <a:cubicBezTo>
                        <a:pt x="28" y="58"/>
                        <a:pt x="29" y="58"/>
                        <a:pt x="30" y="57"/>
                      </a:cubicBezTo>
                      <a:cubicBezTo>
                        <a:pt x="38" y="56"/>
                        <a:pt x="42" y="48"/>
                        <a:pt x="41" y="40"/>
                      </a:cubicBezTo>
                      <a:cubicBezTo>
                        <a:pt x="38" y="30"/>
                        <a:pt x="35" y="20"/>
                        <a:pt x="30" y="10"/>
                      </a:cubicBezTo>
                      <a:cubicBezTo>
                        <a:pt x="26" y="3"/>
                        <a:pt x="18" y="0"/>
                        <a:pt x="11" y="4"/>
                      </a:cubicBezTo>
                      <a:cubicBezTo>
                        <a:pt x="3" y="7"/>
                        <a:pt x="0" y="16"/>
                        <a:pt x="4" y="23"/>
                      </a:cubicBezTo>
                      <a:cubicBezTo>
                        <a:pt x="8" y="31"/>
                        <a:pt x="11" y="39"/>
                        <a:pt x="13" y="47"/>
                      </a:cubicBezTo>
                      <a:close/>
                    </a:path>
                  </a:pathLst>
                </a:custGeom>
                <a:solidFill>
                  <a:srgbClr val="4D4D4F"/>
                </a:solidFill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2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/>
                    <a:cs typeface=""/>
                  </a:endParaRPr>
                </a:p>
              </p:txBody>
            </p:sp>
            <p:sp>
              <p:nvSpPr>
                <p:cNvPr id="845" name="Freeform 22"/>
                <p:cNvSpPr>
                  <a:spLocks/>
                </p:cNvSpPr>
                <p:nvPr/>
              </p:nvSpPr>
              <p:spPr bwMode="auto">
                <a:xfrm>
                  <a:off x="4598988" y="1985963"/>
                  <a:ext cx="52388" cy="26988"/>
                </a:xfrm>
                <a:custGeom>
                  <a:avLst/>
                  <a:gdLst>
                    <a:gd name="T0" fmla="*/ 14 w 58"/>
                    <a:gd name="T1" fmla="*/ 29 h 29"/>
                    <a:gd name="T2" fmla="*/ 43 w 58"/>
                    <a:gd name="T3" fmla="*/ 29 h 29"/>
                    <a:gd name="T4" fmla="*/ 58 w 58"/>
                    <a:gd name="T5" fmla="*/ 15 h 29"/>
                    <a:gd name="T6" fmla="*/ 43 w 58"/>
                    <a:gd name="T7" fmla="*/ 0 h 29"/>
                    <a:gd name="T8" fmla="*/ 14 w 58"/>
                    <a:gd name="T9" fmla="*/ 0 h 29"/>
                    <a:gd name="T10" fmla="*/ 0 w 58"/>
                    <a:gd name="T11" fmla="*/ 15 h 29"/>
                    <a:gd name="T12" fmla="*/ 14 w 58"/>
                    <a:gd name="T13" fmla="*/ 29 h 2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58" h="29">
                      <a:moveTo>
                        <a:pt x="14" y="29"/>
                      </a:moveTo>
                      <a:cubicBezTo>
                        <a:pt x="43" y="29"/>
                        <a:pt x="43" y="29"/>
                        <a:pt x="43" y="29"/>
                      </a:cubicBezTo>
                      <a:cubicBezTo>
                        <a:pt x="51" y="29"/>
                        <a:pt x="58" y="23"/>
                        <a:pt x="58" y="15"/>
                      </a:cubicBezTo>
                      <a:cubicBezTo>
                        <a:pt x="58" y="7"/>
                        <a:pt x="51" y="0"/>
                        <a:pt x="43" y="0"/>
                      </a:cubicBezTo>
                      <a:cubicBezTo>
                        <a:pt x="14" y="0"/>
                        <a:pt x="14" y="0"/>
                        <a:pt x="14" y="0"/>
                      </a:cubicBezTo>
                      <a:cubicBezTo>
                        <a:pt x="6" y="0"/>
                        <a:pt x="0" y="7"/>
                        <a:pt x="0" y="15"/>
                      </a:cubicBezTo>
                      <a:cubicBezTo>
                        <a:pt x="0" y="23"/>
                        <a:pt x="6" y="29"/>
                        <a:pt x="14" y="29"/>
                      </a:cubicBezTo>
                      <a:close/>
                    </a:path>
                  </a:pathLst>
                </a:custGeom>
                <a:solidFill>
                  <a:srgbClr val="4D4D4F"/>
                </a:solidFill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2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/>
                    <a:cs typeface=""/>
                  </a:endParaRPr>
                </a:p>
              </p:txBody>
            </p:sp>
            <p:sp>
              <p:nvSpPr>
                <p:cNvPr id="846" name="Freeform 23"/>
                <p:cNvSpPr>
                  <a:spLocks/>
                </p:cNvSpPr>
                <p:nvPr/>
              </p:nvSpPr>
              <p:spPr bwMode="auto">
                <a:xfrm>
                  <a:off x="4676776" y="1985963"/>
                  <a:ext cx="50800" cy="26988"/>
                </a:xfrm>
                <a:custGeom>
                  <a:avLst/>
                  <a:gdLst>
                    <a:gd name="T0" fmla="*/ 15 w 58"/>
                    <a:gd name="T1" fmla="*/ 29 h 29"/>
                    <a:gd name="T2" fmla="*/ 43 w 58"/>
                    <a:gd name="T3" fmla="*/ 29 h 29"/>
                    <a:gd name="T4" fmla="*/ 58 w 58"/>
                    <a:gd name="T5" fmla="*/ 15 h 29"/>
                    <a:gd name="T6" fmla="*/ 43 w 58"/>
                    <a:gd name="T7" fmla="*/ 0 h 29"/>
                    <a:gd name="T8" fmla="*/ 15 w 58"/>
                    <a:gd name="T9" fmla="*/ 0 h 29"/>
                    <a:gd name="T10" fmla="*/ 0 w 58"/>
                    <a:gd name="T11" fmla="*/ 15 h 29"/>
                    <a:gd name="T12" fmla="*/ 15 w 58"/>
                    <a:gd name="T13" fmla="*/ 29 h 2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58" h="29">
                      <a:moveTo>
                        <a:pt x="15" y="29"/>
                      </a:moveTo>
                      <a:cubicBezTo>
                        <a:pt x="43" y="29"/>
                        <a:pt x="43" y="29"/>
                        <a:pt x="43" y="29"/>
                      </a:cubicBezTo>
                      <a:cubicBezTo>
                        <a:pt x="51" y="29"/>
                        <a:pt x="58" y="23"/>
                        <a:pt x="58" y="15"/>
                      </a:cubicBezTo>
                      <a:cubicBezTo>
                        <a:pt x="58" y="7"/>
                        <a:pt x="51" y="0"/>
                        <a:pt x="43" y="0"/>
                      </a:cubicBezTo>
                      <a:cubicBezTo>
                        <a:pt x="15" y="0"/>
                        <a:pt x="15" y="0"/>
                        <a:pt x="15" y="0"/>
                      </a:cubicBezTo>
                      <a:cubicBezTo>
                        <a:pt x="7" y="0"/>
                        <a:pt x="0" y="7"/>
                        <a:pt x="0" y="15"/>
                      </a:cubicBezTo>
                      <a:cubicBezTo>
                        <a:pt x="0" y="23"/>
                        <a:pt x="7" y="29"/>
                        <a:pt x="15" y="29"/>
                      </a:cubicBezTo>
                      <a:close/>
                    </a:path>
                  </a:pathLst>
                </a:custGeom>
                <a:solidFill>
                  <a:srgbClr val="4D4D4F"/>
                </a:solidFill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2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/>
                    <a:cs typeface=""/>
                  </a:endParaRPr>
                </a:p>
              </p:txBody>
            </p:sp>
            <p:sp>
              <p:nvSpPr>
                <p:cNvPr id="847" name="Freeform 24"/>
                <p:cNvSpPr>
                  <a:spLocks/>
                </p:cNvSpPr>
                <p:nvPr/>
              </p:nvSpPr>
              <p:spPr bwMode="auto">
                <a:xfrm>
                  <a:off x="4752976" y="1985963"/>
                  <a:ext cx="52388" cy="26988"/>
                </a:xfrm>
                <a:custGeom>
                  <a:avLst/>
                  <a:gdLst>
                    <a:gd name="T0" fmla="*/ 15 w 58"/>
                    <a:gd name="T1" fmla="*/ 29 h 29"/>
                    <a:gd name="T2" fmla="*/ 43 w 58"/>
                    <a:gd name="T3" fmla="*/ 29 h 29"/>
                    <a:gd name="T4" fmla="*/ 58 w 58"/>
                    <a:gd name="T5" fmla="*/ 15 h 29"/>
                    <a:gd name="T6" fmla="*/ 43 w 58"/>
                    <a:gd name="T7" fmla="*/ 0 h 29"/>
                    <a:gd name="T8" fmla="*/ 15 w 58"/>
                    <a:gd name="T9" fmla="*/ 0 h 29"/>
                    <a:gd name="T10" fmla="*/ 0 w 58"/>
                    <a:gd name="T11" fmla="*/ 15 h 29"/>
                    <a:gd name="T12" fmla="*/ 15 w 58"/>
                    <a:gd name="T13" fmla="*/ 29 h 2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58" h="29">
                      <a:moveTo>
                        <a:pt x="15" y="29"/>
                      </a:moveTo>
                      <a:cubicBezTo>
                        <a:pt x="43" y="29"/>
                        <a:pt x="43" y="29"/>
                        <a:pt x="43" y="29"/>
                      </a:cubicBezTo>
                      <a:cubicBezTo>
                        <a:pt x="51" y="29"/>
                        <a:pt x="58" y="23"/>
                        <a:pt x="58" y="15"/>
                      </a:cubicBezTo>
                      <a:cubicBezTo>
                        <a:pt x="58" y="7"/>
                        <a:pt x="51" y="0"/>
                        <a:pt x="43" y="0"/>
                      </a:cubicBezTo>
                      <a:cubicBezTo>
                        <a:pt x="15" y="0"/>
                        <a:pt x="15" y="0"/>
                        <a:pt x="15" y="0"/>
                      </a:cubicBezTo>
                      <a:cubicBezTo>
                        <a:pt x="7" y="0"/>
                        <a:pt x="0" y="7"/>
                        <a:pt x="0" y="15"/>
                      </a:cubicBezTo>
                      <a:cubicBezTo>
                        <a:pt x="0" y="23"/>
                        <a:pt x="7" y="29"/>
                        <a:pt x="15" y="29"/>
                      </a:cubicBezTo>
                      <a:close/>
                    </a:path>
                  </a:pathLst>
                </a:custGeom>
                <a:solidFill>
                  <a:srgbClr val="4D4D4F"/>
                </a:solidFill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2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/>
                    <a:cs typeface=""/>
                  </a:endParaRPr>
                </a:p>
              </p:txBody>
            </p:sp>
            <p:sp>
              <p:nvSpPr>
                <p:cNvPr id="848" name="Freeform 25"/>
                <p:cNvSpPr>
                  <a:spLocks/>
                </p:cNvSpPr>
                <p:nvPr/>
              </p:nvSpPr>
              <p:spPr bwMode="auto">
                <a:xfrm>
                  <a:off x="4471988" y="2349500"/>
                  <a:ext cx="26988" cy="52388"/>
                </a:xfrm>
                <a:custGeom>
                  <a:avLst/>
                  <a:gdLst>
                    <a:gd name="T0" fmla="*/ 30 w 31"/>
                    <a:gd name="T1" fmla="*/ 42 h 58"/>
                    <a:gd name="T2" fmla="*/ 29 w 31"/>
                    <a:gd name="T3" fmla="*/ 28 h 58"/>
                    <a:gd name="T4" fmla="*/ 29 w 31"/>
                    <a:gd name="T5" fmla="*/ 15 h 58"/>
                    <a:gd name="T6" fmla="*/ 14 w 31"/>
                    <a:gd name="T7" fmla="*/ 0 h 58"/>
                    <a:gd name="T8" fmla="*/ 0 w 31"/>
                    <a:gd name="T9" fmla="*/ 15 h 58"/>
                    <a:gd name="T10" fmla="*/ 0 w 31"/>
                    <a:gd name="T11" fmla="*/ 28 h 58"/>
                    <a:gd name="T12" fmla="*/ 1 w 31"/>
                    <a:gd name="T13" fmla="*/ 45 h 58"/>
                    <a:gd name="T14" fmla="*/ 15 w 31"/>
                    <a:gd name="T15" fmla="*/ 58 h 58"/>
                    <a:gd name="T16" fmla="*/ 17 w 31"/>
                    <a:gd name="T17" fmla="*/ 58 h 58"/>
                    <a:gd name="T18" fmla="*/ 30 w 31"/>
                    <a:gd name="T19" fmla="*/ 42 h 5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31" h="58">
                      <a:moveTo>
                        <a:pt x="30" y="42"/>
                      </a:moveTo>
                      <a:cubicBezTo>
                        <a:pt x="29" y="37"/>
                        <a:pt x="29" y="33"/>
                        <a:pt x="29" y="28"/>
                      </a:cubicBezTo>
                      <a:cubicBezTo>
                        <a:pt x="29" y="15"/>
                        <a:pt x="29" y="15"/>
                        <a:pt x="29" y="15"/>
                      </a:cubicBezTo>
                      <a:cubicBezTo>
                        <a:pt x="29" y="7"/>
                        <a:pt x="22" y="0"/>
                        <a:pt x="14" y="0"/>
                      </a:cubicBezTo>
                      <a:cubicBezTo>
                        <a:pt x="7" y="0"/>
                        <a:pt x="0" y="7"/>
                        <a:pt x="0" y="15"/>
                      </a:cubicBezTo>
                      <a:cubicBezTo>
                        <a:pt x="0" y="28"/>
                        <a:pt x="0" y="28"/>
                        <a:pt x="0" y="28"/>
                      </a:cubicBezTo>
                      <a:cubicBezTo>
                        <a:pt x="0" y="34"/>
                        <a:pt x="0" y="39"/>
                        <a:pt x="1" y="45"/>
                      </a:cubicBezTo>
                      <a:cubicBezTo>
                        <a:pt x="2" y="52"/>
                        <a:pt x="8" y="58"/>
                        <a:pt x="15" y="58"/>
                      </a:cubicBezTo>
                      <a:cubicBezTo>
                        <a:pt x="16" y="58"/>
                        <a:pt x="17" y="58"/>
                        <a:pt x="17" y="58"/>
                      </a:cubicBezTo>
                      <a:cubicBezTo>
                        <a:pt x="25" y="57"/>
                        <a:pt x="31" y="50"/>
                        <a:pt x="30" y="42"/>
                      </a:cubicBezTo>
                      <a:close/>
                    </a:path>
                  </a:pathLst>
                </a:custGeom>
                <a:solidFill>
                  <a:srgbClr val="4D4D4F"/>
                </a:solidFill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2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/>
                    <a:cs typeface=""/>
                  </a:endParaRPr>
                </a:p>
              </p:txBody>
            </p:sp>
            <p:sp>
              <p:nvSpPr>
                <p:cNvPr id="849" name="Freeform 26"/>
                <p:cNvSpPr>
                  <a:spLocks/>
                </p:cNvSpPr>
                <p:nvPr/>
              </p:nvSpPr>
              <p:spPr bwMode="auto">
                <a:xfrm>
                  <a:off x="4973638" y="2282825"/>
                  <a:ext cx="25400" cy="52388"/>
                </a:xfrm>
                <a:custGeom>
                  <a:avLst/>
                  <a:gdLst>
                    <a:gd name="T0" fmla="*/ 14 w 29"/>
                    <a:gd name="T1" fmla="*/ 0 h 58"/>
                    <a:gd name="T2" fmla="*/ 0 w 29"/>
                    <a:gd name="T3" fmla="*/ 15 h 58"/>
                    <a:gd name="T4" fmla="*/ 0 w 29"/>
                    <a:gd name="T5" fmla="*/ 44 h 58"/>
                    <a:gd name="T6" fmla="*/ 14 w 29"/>
                    <a:gd name="T7" fmla="*/ 58 h 58"/>
                    <a:gd name="T8" fmla="*/ 29 w 29"/>
                    <a:gd name="T9" fmla="*/ 44 h 58"/>
                    <a:gd name="T10" fmla="*/ 29 w 29"/>
                    <a:gd name="T11" fmla="*/ 15 h 58"/>
                    <a:gd name="T12" fmla="*/ 14 w 29"/>
                    <a:gd name="T13" fmla="*/ 0 h 5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9" h="58">
                      <a:moveTo>
                        <a:pt x="14" y="0"/>
                      </a:moveTo>
                      <a:cubicBezTo>
                        <a:pt x="6" y="0"/>
                        <a:pt x="0" y="7"/>
                        <a:pt x="0" y="15"/>
                      </a:cubicBezTo>
                      <a:cubicBezTo>
                        <a:pt x="0" y="44"/>
                        <a:pt x="0" y="44"/>
                        <a:pt x="0" y="44"/>
                      </a:cubicBezTo>
                      <a:cubicBezTo>
                        <a:pt x="0" y="52"/>
                        <a:pt x="6" y="58"/>
                        <a:pt x="14" y="58"/>
                      </a:cubicBezTo>
                      <a:cubicBezTo>
                        <a:pt x="22" y="58"/>
                        <a:pt x="29" y="52"/>
                        <a:pt x="29" y="44"/>
                      </a:cubicBezTo>
                      <a:cubicBezTo>
                        <a:pt x="29" y="15"/>
                        <a:pt x="29" y="15"/>
                        <a:pt x="29" y="15"/>
                      </a:cubicBezTo>
                      <a:cubicBezTo>
                        <a:pt x="29" y="7"/>
                        <a:pt x="22" y="0"/>
                        <a:pt x="14" y="0"/>
                      </a:cubicBezTo>
                      <a:close/>
                    </a:path>
                  </a:pathLst>
                </a:custGeom>
                <a:solidFill>
                  <a:srgbClr val="4D4D4F"/>
                </a:solidFill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2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/>
                    <a:cs typeface=""/>
                  </a:endParaRPr>
                </a:p>
              </p:txBody>
            </p:sp>
            <p:sp>
              <p:nvSpPr>
                <p:cNvPr id="850" name="Freeform 28"/>
                <p:cNvSpPr>
                  <a:spLocks/>
                </p:cNvSpPr>
                <p:nvPr/>
              </p:nvSpPr>
              <p:spPr bwMode="auto">
                <a:xfrm>
                  <a:off x="4927601" y="2432050"/>
                  <a:ext cx="47625" cy="46038"/>
                </a:xfrm>
                <a:custGeom>
                  <a:avLst/>
                  <a:gdLst>
                    <a:gd name="T0" fmla="*/ 25 w 53"/>
                    <a:gd name="T1" fmla="*/ 7 h 51"/>
                    <a:gd name="T2" fmla="*/ 7 w 53"/>
                    <a:gd name="T3" fmla="*/ 25 h 51"/>
                    <a:gd name="T4" fmla="*/ 5 w 53"/>
                    <a:gd name="T5" fmla="*/ 45 h 51"/>
                    <a:gd name="T6" fmla="*/ 16 w 53"/>
                    <a:gd name="T7" fmla="*/ 51 h 51"/>
                    <a:gd name="T8" fmla="*/ 25 w 53"/>
                    <a:gd name="T9" fmla="*/ 47 h 51"/>
                    <a:gd name="T10" fmla="*/ 48 w 53"/>
                    <a:gd name="T11" fmla="*/ 25 h 51"/>
                    <a:gd name="T12" fmla="*/ 45 w 53"/>
                    <a:gd name="T13" fmla="*/ 5 h 51"/>
                    <a:gd name="T14" fmla="*/ 25 w 53"/>
                    <a:gd name="T15" fmla="*/ 7 h 5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53" h="51">
                      <a:moveTo>
                        <a:pt x="25" y="7"/>
                      </a:moveTo>
                      <a:cubicBezTo>
                        <a:pt x="20" y="14"/>
                        <a:pt x="14" y="20"/>
                        <a:pt x="7" y="25"/>
                      </a:cubicBezTo>
                      <a:cubicBezTo>
                        <a:pt x="1" y="30"/>
                        <a:pt x="0" y="39"/>
                        <a:pt x="5" y="45"/>
                      </a:cubicBezTo>
                      <a:cubicBezTo>
                        <a:pt x="8" y="49"/>
                        <a:pt x="12" y="51"/>
                        <a:pt x="16" y="51"/>
                      </a:cubicBezTo>
                      <a:cubicBezTo>
                        <a:pt x="20" y="51"/>
                        <a:pt x="23" y="50"/>
                        <a:pt x="25" y="47"/>
                      </a:cubicBezTo>
                      <a:cubicBezTo>
                        <a:pt x="34" y="41"/>
                        <a:pt x="41" y="33"/>
                        <a:pt x="48" y="25"/>
                      </a:cubicBezTo>
                      <a:cubicBezTo>
                        <a:pt x="53" y="19"/>
                        <a:pt x="52" y="9"/>
                        <a:pt x="45" y="5"/>
                      </a:cubicBezTo>
                      <a:cubicBezTo>
                        <a:pt x="39" y="0"/>
                        <a:pt x="30" y="1"/>
                        <a:pt x="25" y="7"/>
                      </a:cubicBezTo>
                      <a:close/>
                    </a:path>
                  </a:pathLst>
                </a:custGeom>
                <a:solidFill>
                  <a:srgbClr val="4D4D4F"/>
                </a:solidFill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2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/>
                    <a:cs typeface=""/>
                  </a:endParaRPr>
                </a:p>
              </p:txBody>
            </p:sp>
            <p:sp>
              <p:nvSpPr>
                <p:cNvPr id="851" name="Freeform 29"/>
                <p:cNvSpPr>
                  <a:spLocks/>
                </p:cNvSpPr>
                <p:nvPr/>
              </p:nvSpPr>
              <p:spPr bwMode="auto">
                <a:xfrm>
                  <a:off x="4968876" y="2360613"/>
                  <a:ext cx="30163" cy="52388"/>
                </a:xfrm>
                <a:custGeom>
                  <a:avLst/>
                  <a:gdLst>
                    <a:gd name="T0" fmla="*/ 19 w 34"/>
                    <a:gd name="T1" fmla="*/ 0 h 58"/>
                    <a:gd name="T2" fmla="*/ 5 w 34"/>
                    <a:gd name="T3" fmla="*/ 15 h 58"/>
                    <a:gd name="T4" fmla="*/ 2 w 34"/>
                    <a:gd name="T5" fmla="*/ 40 h 58"/>
                    <a:gd name="T6" fmla="*/ 13 w 34"/>
                    <a:gd name="T7" fmla="*/ 58 h 58"/>
                    <a:gd name="T8" fmla="*/ 16 w 34"/>
                    <a:gd name="T9" fmla="*/ 58 h 58"/>
                    <a:gd name="T10" fmla="*/ 30 w 34"/>
                    <a:gd name="T11" fmla="*/ 47 h 58"/>
                    <a:gd name="T12" fmla="*/ 34 w 34"/>
                    <a:gd name="T13" fmla="*/ 15 h 58"/>
                    <a:gd name="T14" fmla="*/ 34 w 34"/>
                    <a:gd name="T15" fmla="*/ 14 h 58"/>
                    <a:gd name="T16" fmla="*/ 19 w 34"/>
                    <a:gd name="T17" fmla="*/ 0 h 5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34" h="58">
                      <a:moveTo>
                        <a:pt x="19" y="0"/>
                      </a:moveTo>
                      <a:cubicBezTo>
                        <a:pt x="11" y="0"/>
                        <a:pt x="5" y="7"/>
                        <a:pt x="5" y="15"/>
                      </a:cubicBezTo>
                      <a:cubicBezTo>
                        <a:pt x="5" y="24"/>
                        <a:pt x="4" y="32"/>
                        <a:pt x="2" y="40"/>
                      </a:cubicBezTo>
                      <a:cubicBezTo>
                        <a:pt x="0" y="48"/>
                        <a:pt x="5" y="56"/>
                        <a:pt x="13" y="58"/>
                      </a:cubicBezTo>
                      <a:cubicBezTo>
                        <a:pt x="14" y="58"/>
                        <a:pt x="15" y="58"/>
                        <a:pt x="16" y="58"/>
                      </a:cubicBezTo>
                      <a:cubicBezTo>
                        <a:pt x="23" y="58"/>
                        <a:pt x="29" y="53"/>
                        <a:pt x="30" y="47"/>
                      </a:cubicBezTo>
                      <a:cubicBezTo>
                        <a:pt x="32" y="36"/>
                        <a:pt x="34" y="26"/>
                        <a:pt x="34" y="15"/>
                      </a:cubicBezTo>
                      <a:cubicBezTo>
                        <a:pt x="34" y="14"/>
                        <a:pt x="34" y="14"/>
                        <a:pt x="34" y="14"/>
                      </a:cubicBezTo>
                      <a:cubicBezTo>
                        <a:pt x="34" y="6"/>
                        <a:pt x="27" y="0"/>
                        <a:pt x="19" y="0"/>
                      </a:cubicBezTo>
                      <a:close/>
                    </a:path>
                  </a:pathLst>
                </a:custGeom>
                <a:solidFill>
                  <a:srgbClr val="4D4D4F"/>
                </a:solidFill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2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/>
                    <a:cs typeface=""/>
                  </a:endParaRPr>
                </a:p>
              </p:txBody>
            </p:sp>
            <p:sp>
              <p:nvSpPr>
                <p:cNvPr id="852" name="Freeform 30"/>
                <p:cNvSpPr>
                  <a:spLocks/>
                </p:cNvSpPr>
                <p:nvPr/>
              </p:nvSpPr>
              <p:spPr bwMode="auto">
                <a:xfrm>
                  <a:off x="4973638" y="2205038"/>
                  <a:ext cx="25400" cy="52388"/>
                </a:xfrm>
                <a:custGeom>
                  <a:avLst/>
                  <a:gdLst>
                    <a:gd name="T0" fmla="*/ 14 w 29"/>
                    <a:gd name="T1" fmla="*/ 0 h 58"/>
                    <a:gd name="T2" fmla="*/ 0 w 29"/>
                    <a:gd name="T3" fmla="*/ 15 h 58"/>
                    <a:gd name="T4" fmla="*/ 0 w 29"/>
                    <a:gd name="T5" fmla="*/ 43 h 58"/>
                    <a:gd name="T6" fmla="*/ 14 w 29"/>
                    <a:gd name="T7" fmla="*/ 58 h 58"/>
                    <a:gd name="T8" fmla="*/ 29 w 29"/>
                    <a:gd name="T9" fmla="*/ 43 h 58"/>
                    <a:gd name="T10" fmla="*/ 29 w 29"/>
                    <a:gd name="T11" fmla="*/ 15 h 58"/>
                    <a:gd name="T12" fmla="*/ 14 w 29"/>
                    <a:gd name="T13" fmla="*/ 0 h 5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9" h="58">
                      <a:moveTo>
                        <a:pt x="14" y="0"/>
                      </a:moveTo>
                      <a:cubicBezTo>
                        <a:pt x="6" y="0"/>
                        <a:pt x="0" y="7"/>
                        <a:pt x="0" y="15"/>
                      </a:cubicBezTo>
                      <a:cubicBezTo>
                        <a:pt x="0" y="43"/>
                        <a:pt x="0" y="43"/>
                        <a:pt x="0" y="43"/>
                      </a:cubicBezTo>
                      <a:cubicBezTo>
                        <a:pt x="0" y="51"/>
                        <a:pt x="6" y="58"/>
                        <a:pt x="14" y="58"/>
                      </a:cubicBezTo>
                      <a:cubicBezTo>
                        <a:pt x="22" y="58"/>
                        <a:pt x="29" y="51"/>
                        <a:pt x="29" y="43"/>
                      </a:cubicBezTo>
                      <a:cubicBezTo>
                        <a:pt x="29" y="15"/>
                        <a:pt x="29" y="15"/>
                        <a:pt x="29" y="15"/>
                      </a:cubicBezTo>
                      <a:cubicBezTo>
                        <a:pt x="29" y="7"/>
                        <a:pt x="22" y="0"/>
                        <a:pt x="14" y="0"/>
                      </a:cubicBezTo>
                      <a:close/>
                    </a:path>
                  </a:pathLst>
                </a:custGeom>
                <a:solidFill>
                  <a:srgbClr val="4D4D4F"/>
                </a:solidFill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2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/>
                    <a:cs typeface=""/>
                  </a:endParaRPr>
                </a:p>
              </p:txBody>
            </p:sp>
            <p:sp>
              <p:nvSpPr>
                <p:cNvPr id="853" name="Freeform 31"/>
                <p:cNvSpPr>
                  <a:spLocks/>
                </p:cNvSpPr>
                <p:nvPr/>
              </p:nvSpPr>
              <p:spPr bwMode="auto">
                <a:xfrm>
                  <a:off x="4973638" y="2127250"/>
                  <a:ext cx="25400" cy="52388"/>
                </a:xfrm>
                <a:custGeom>
                  <a:avLst/>
                  <a:gdLst>
                    <a:gd name="T0" fmla="*/ 14 w 29"/>
                    <a:gd name="T1" fmla="*/ 0 h 58"/>
                    <a:gd name="T2" fmla="*/ 0 w 29"/>
                    <a:gd name="T3" fmla="*/ 15 h 58"/>
                    <a:gd name="T4" fmla="*/ 0 w 29"/>
                    <a:gd name="T5" fmla="*/ 43 h 58"/>
                    <a:gd name="T6" fmla="*/ 14 w 29"/>
                    <a:gd name="T7" fmla="*/ 58 h 58"/>
                    <a:gd name="T8" fmla="*/ 29 w 29"/>
                    <a:gd name="T9" fmla="*/ 43 h 58"/>
                    <a:gd name="T10" fmla="*/ 29 w 29"/>
                    <a:gd name="T11" fmla="*/ 15 h 58"/>
                    <a:gd name="T12" fmla="*/ 14 w 29"/>
                    <a:gd name="T13" fmla="*/ 0 h 5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9" h="58">
                      <a:moveTo>
                        <a:pt x="14" y="0"/>
                      </a:moveTo>
                      <a:cubicBezTo>
                        <a:pt x="6" y="0"/>
                        <a:pt x="0" y="7"/>
                        <a:pt x="0" y="15"/>
                      </a:cubicBezTo>
                      <a:cubicBezTo>
                        <a:pt x="0" y="43"/>
                        <a:pt x="0" y="43"/>
                        <a:pt x="0" y="43"/>
                      </a:cubicBezTo>
                      <a:cubicBezTo>
                        <a:pt x="0" y="51"/>
                        <a:pt x="6" y="58"/>
                        <a:pt x="14" y="58"/>
                      </a:cubicBezTo>
                      <a:cubicBezTo>
                        <a:pt x="22" y="58"/>
                        <a:pt x="29" y="51"/>
                        <a:pt x="29" y="43"/>
                      </a:cubicBezTo>
                      <a:cubicBezTo>
                        <a:pt x="29" y="15"/>
                        <a:pt x="29" y="15"/>
                        <a:pt x="29" y="15"/>
                      </a:cubicBezTo>
                      <a:cubicBezTo>
                        <a:pt x="29" y="7"/>
                        <a:pt x="22" y="0"/>
                        <a:pt x="14" y="0"/>
                      </a:cubicBezTo>
                      <a:close/>
                    </a:path>
                  </a:pathLst>
                </a:custGeom>
                <a:solidFill>
                  <a:srgbClr val="4D4D4F"/>
                </a:solidFill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2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/>
                    <a:cs typeface=""/>
                  </a:endParaRPr>
                </a:p>
              </p:txBody>
            </p:sp>
            <p:sp>
              <p:nvSpPr>
                <p:cNvPr id="854" name="Freeform 32"/>
                <p:cNvSpPr>
                  <a:spLocks/>
                </p:cNvSpPr>
                <p:nvPr/>
              </p:nvSpPr>
              <p:spPr bwMode="auto">
                <a:xfrm>
                  <a:off x="4546601" y="2470150"/>
                  <a:ext cx="53975" cy="33338"/>
                </a:xfrm>
                <a:custGeom>
                  <a:avLst/>
                  <a:gdLst>
                    <a:gd name="T0" fmla="*/ 46 w 60"/>
                    <a:gd name="T1" fmla="*/ 8 h 37"/>
                    <a:gd name="T2" fmla="*/ 21 w 60"/>
                    <a:gd name="T3" fmla="*/ 2 h 37"/>
                    <a:gd name="T4" fmla="*/ 3 w 60"/>
                    <a:gd name="T5" fmla="*/ 11 h 37"/>
                    <a:gd name="T6" fmla="*/ 12 w 60"/>
                    <a:gd name="T7" fmla="*/ 30 h 37"/>
                    <a:gd name="T8" fmla="*/ 43 w 60"/>
                    <a:gd name="T9" fmla="*/ 37 h 37"/>
                    <a:gd name="T10" fmla="*/ 44 w 60"/>
                    <a:gd name="T11" fmla="*/ 37 h 37"/>
                    <a:gd name="T12" fmla="*/ 59 w 60"/>
                    <a:gd name="T13" fmla="*/ 24 h 37"/>
                    <a:gd name="T14" fmla="*/ 46 w 60"/>
                    <a:gd name="T15" fmla="*/ 8 h 3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60" h="37">
                      <a:moveTo>
                        <a:pt x="46" y="8"/>
                      </a:moveTo>
                      <a:cubicBezTo>
                        <a:pt x="38" y="7"/>
                        <a:pt x="29" y="5"/>
                        <a:pt x="21" y="2"/>
                      </a:cubicBezTo>
                      <a:cubicBezTo>
                        <a:pt x="14" y="0"/>
                        <a:pt x="6" y="4"/>
                        <a:pt x="3" y="11"/>
                      </a:cubicBezTo>
                      <a:cubicBezTo>
                        <a:pt x="0" y="19"/>
                        <a:pt x="4" y="27"/>
                        <a:pt x="12" y="30"/>
                      </a:cubicBezTo>
                      <a:cubicBezTo>
                        <a:pt x="22" y="33"/>
                        <a:pt x="32" y="36"/>
                        <a:pt x="43" y="37"/>
                      </a:cubicBezTo>
                      <a:cubicBezTo>
                        <a:pt x="43" y="37"/>
                        <a:pt x="44" y="37"/>
                        <a:pt x="44" y="37"/>
                      </a:cubicBezTo>
                      <a:cubicBezTo>
                        <a:pt x="51" y="37"/>
                        <a:pt x="58" y="32"/>
                        <a:pt x="59" y="24"/>
                      </a:cubicBezTo>
                      <a:cubicBezTo>
                        <a:pt x="60" y="16"/>
                        <a:pt x="54" y="9"/>
                        <a:pt x="46" y="8"/>
                      </a:cubicBezTo>
                      <a:close/>
                    </a:path>
                  </a:pathLst>
                </a:custGeom>
                <a:solidFill>
                  <a:srgbClr val="4D4D4F"/>
                </a:solidFill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2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/>
                    <a:cs typeface=""/>
                  </a:endParaRPr>
                </a:p>
              </p:txBody>
            </p:sp>
            <p:sp>
              <p:nvSpPr>
                <p:cNvPr id="855" name="Freeform 33"/>
                <p:cNvSpPr>
                  <a:spLocks/>
                </p:cNvSpPr>
                <p:nvPr/>
              </p:nvSpPr>
              <p:spPr bwMode="auto">
                <a:xfrm>
                  <a:off x="4781551" y="2478088"/>
                  <a:ext cx="50800" cy="25400"/>
                </a:xfrm>
                <a:custGeom>
                  <a:avLst/>
                  <a:gdLst>
                    <a:gd name="T0" fmla="*/ 43 w 57"/>
                    <a:gd name="T1" fmla="*/ 0 h 29"/>
                    <a:gd name="T2" fmla="*/ 14 w 57"/>
                    <a:gd name="T3" fmla="*/ 0 h 29"/>
                    <a:gd name="T4" fmla="*/ 0 w 57"/>
                    <a:gd name="T5" fmla="*/ 15 h 29"/>
                    <a:gd name="T6" fmla="*/ 14 w 57"/>
                    <a:gd name="T7" fmla="*/ 29 h 29"/>
                    <a:gd name="T8" fmla="*/ 43 w 57"/>
                    <a:gd name="T9" fmla="*/ 29 h 29"/>
                    <a:gd name="T10" fmla="*/ 57 w 57"/>
                    <a:gd name="T11" fmla="*/ 15 h 29"/>
                    <a:gd name="T12" fmla="*/ 43 w 57"/>
                    <a:gd name="T13" fmla="*/ 0 h 2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57" h="29">
                      <a:moveTo>
                        <a:pt x="43" y="0"/>
                      </a:moveTo>
                      <a:cubicBezTo>
                        <a:pt x="14" y="0"/>
                        <a:pt x="14" y="0"/>
                        <a:pt x="14" y="0"/>
                      </a:cubicBezTo>
                      <a:cubicBezTo>
                        <a:pt x="6" y="0"/>
                        <a:pt x="0" y="7"/>
                        <a:pt x="0" y="15"/>
                      </a:cubicBezTo>
                      <a:cubicBezTo>
                        <a:pt x="0" y="23"/>
                        <a:pt x="6" y="29"/>
                        <a:pt x="14" y="29"/>
                      </a:cubicBezTo>
                      <a:cubicBezTo>
                        <a:pt x="43" y="29"/>
                        <a:pt x="43" y="29"/>
                        <a:pt x="43" y="29"/>
                      </a:cubicBezTo>
                      <a:cubicBezTo>
                        <a:pt x="51" y="29"/>
                        <a:pt x="57" y="23"/>
                        <a:pt x="57" y="15"/>
                      </a:cubicBezTo>
                      <a:cubicBezTo>
                        <a:pt x="57" y="7"/>
                        <a:pt x="51" y="0"/>
                        <a:pt x="43" y="0"/>
                      </a:cubicBezTo>
                      <a:close/>
                    </a:path>
                  </a:pathLst>
                </a:custGeom>
                <a:solidFill>
                  <a:srgbClr val="4D4D4F"/>
                </a:solidFill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2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/>
                    <a:cs typeface=""/>
                  </a:endParaRPr>
                </a:p>
              </p:txBody>
            </p:sp>
            <p:sp>
              <p:nvSpPr>
                <p:cNvPr id="856" name="Freeform 34"/>
                <p:cNvSpPr>
                  <a:spLocks/>
                </p:cNvSpPr>
                <p:nvPr/>
              </p:nvSpPr>
              <p:spPr bwMode="auto">
                <a:xfrm>
                  <a:off x="4703763" y="2478088"/>
                  <a:ext cx="50800" cy="25400"/>
                </a:xfrm>
                <a:custGeom>
                  <a:avLst/>
                  <a:gdLst>
                    <a:gd name="T0" fmla="*/ 44 w 58"/>
                    <a:gd name="T1" fmla="*/ 0 h 29"/>
                    <a:gd name="T2" fmla="*/ 15 w 58"/>
                    <a:gd name="T3" fmla="*/ 0 h 29"/>
                    <a:gd name="T4" fmla="*/ 0 w 58"/>
                    <a:gd name="T5" fmla="*/ 15 h 29"/>
                    <a:gd name="T6" fmla="*/ 15 w 58"/>
                    <a:gd name="T7" fmla="*/ 29 h 29"/>
                    <a:gd name="T8" fmla="*/ 44 w 58"/>
                    <a:gd name="T9" fmla="*/ 29 h 29"/>
                    <a:gd name="T10" fmla="*/ 58 w 58"/>
                    <a:gd name="T11" fmla="*/ 15 h 29"/>
                    <a:gd name="T12" fmla="*/ 44 w 58"/>
                    <a:gd name="T13" fmla="*/ 0 h 2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58" h="29">
                      <a:moveTo>
                        <a:pt x="44" y="0"/>
                      </a:moveTo>
                      <a:cubicBezTo>
                        <a:pt x="15" y="0"/>
                        <a:pt x="15" y="0"/>
                        <a:pt x="15" y="0"/>
                      </a:cubicBezTo>
                      <a:cubicBezTo>
                        <a:pt x="7" y="0"/>
                        <a:pt x="0" y="7"/>
                        <a:pt x="0" y="15"/>
                      </a:cubicBezTo>
                      <a:cubicBezTo>
                        <a:pt x="0" y="23"/>
                        <a:pt x="7" y="29"/>
                        <a:pt x="15" y="29"/>
                      </a:cubicBezTo>
                      <a:cubicBezTo>
                        <a:pt x="44" y="29"/>
                        <a:pt x="44" y="29"/>
                        <a:pt x="44" y="29"/>
                      </a:cubicBezTo>
                      <a:cubicBezTo>
                        <a:pt x="51" y="29"/>
                        <a:pt x="58" y="23"/>
                        <a:pt x="58" y="15"/>
                      </a:cubicBezTo>
                      <a:cubicBezTo>
                        <a:pt x="58" y="7"/>
                        <a:pt x="51" y="0"/>
                        <a:pt x="44" y="0"/>
                      </a:cubicBezTo>
                      <a:close/>
                    </a:path>
                  </a:pathLst>
                </a:custGeom>
                <a:solidFill>
                  <a:srgbClr val="4D4D4F"/>
                </a:solidFill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2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/>
                    <a:cs typeface=""/>
                  </a:endParaRPr>
                </a:p>
              </p:txBody>
            </p:sp>
            <p:sp>
              <p:nvSpPr>
                <p:cNvPr id="857" name="Freeform 35"/>
                <p:cNvSpPr>
                  <a:spLocks/>
                </p:cNvSpPr>
                <p:nvPr/>
              </p:nvSpPr>
              <p:spPr bwMode="auto">
                <a:xfrm>
                  <a:off x="4625976" y="2478088"/>
                  <a:ext cx="52388" cy="25400"/>
                </a:xfrm>
                <a:custGeom>
                  <a:avLst/>
                  <a:gdLst>
                    <a:gd name="T0" fmla="*/ 43 w 58"/>
                    <a:gd name="T1" fmla="*/ 0 h 29"/>
                    <a:gd name="T2" fmla="*/ 15 w 58"/>
                    <a:gd name="T3" fmla="*/ 0 h 29"/>
                    <a:gd name="T4" fmla="*/ 0 w 58"/>
                    <a:gd name="T5" fmla="*/ 15 h 29"/>
                    <a:gd name="T6" fmla="*/ 15 w 58"/>
                    <a:gd name="T7" fmla="*/ 29 h 29"/>
                    <a:gd name="T8" fmla="*/ 43 w 58"/>
                    <a:gd name="T9" fmla="*/ 29 h 29"/>
                    <a:gd name="T10" fmla="*/ 58 w 58"/>
                    <a:gd name="T11" fmla="*/ 15 h 29"/>
                    <a:gd name="T12" fmla="*/ 43 w 58"/>
                    <a:gd name="T13" fmla="*/ 0 h 2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58" h="29">
                      <a:moveTo>
                        <a:pt x="43" y="0"/>
                      </a:moveTo>
                      <a:cubicBezTo>
                        <a:pt x="15" y="0"/>
                        <a:pt x="15" y="0"/>
                        <a:pt x="15" y="0"/>
                      </a:cubicBezTo>
                      <a:cubicBezTo>
                        <a:pt x="7" y="0"/>
                        <a:pt x="0" y="7"/>
                        <a:pt x="0" y="15"/>
                      </a:cubicBezTo>
                      <a:cubicBezTo>
                        <a:pt x="0" y="23"/>
                        <a:pt x="7" y="29"/>
                        <a:pt x="15" y="29"/>
                      </a:cubicBezTo>
                      <a:cubicBezTo>
                        <a:pt x="43" y="29"/>
                        <a:pt x="43" y="29"/>
                        <a:pt x="43" y="29"/>
                      </a:cubicBezTo>
                      <a:cubicBezTo>
                        <a:pt x="51" y="29"/>
                        <a:pt x="58" y="23"/>
                        <a:pt x="58" y="15"/>
                      </a:cubicBezTo>
                      <a:cubicBezTo>
                        <a:pt x="58" y="7"/>
                        <a:pt x="51" y="0"/>
                        <a:pt x="43" y="0"/>
                      </a:cubicBezTo>
                      <a:close/>
                    </a:path>
                  </a:pathLst>
                </a:custGeom>
                <a:solidFill>
                  <a:srgbClr val="4D4D4F"/>
                </a:solidFill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2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/>
                    <a:cs typeface=""/>
                  </a:endParaRPr>
                </a:p>
              </p:txBody>
            </p:sp>
            <p:sp>
              <p:nvSpPr>
                <p:cNvPr id="858" name="Freeform 38"/>
                <p:cNvSpPr>
                  <a:spLocks/>
                </p:cNvSpPr>
                <p:nvPr/>
              </p:nvSpPr>
              <p:spPr bwMode="auto">
                <a:xfrm>
                  <a:off x="4859338" y="2473325"/>
                  <a:ext cx="52388" cy="30163"/>
                </a:xfrm>
                <a:custGeom>
                  <a:avLst/>
                  <a:gdLst>
                    <a:gd name="T0" fmla="*/ 39 w 58"/>
                    <a:gd name="T1" fmla="*/ 2 h 34"/>
                    <a:gd name="T2" fmla="*/ 14 w 58"/>
                    <a:gd name="T3" fmla="*/ 5 h 34"/>
                    <a:gd name="T4" fmla="*/ 0 w 58"/>
                    <a:gd name="T5" fmla="*/ 20 h 34"/>
                    <a:gd name="T6" fmla="*/ 14 w 58"/>
                    <a:gd name="T7" fmla="*/ 34 h 34"/>
                    <a:gd name="T8" fmla="*/ 14 w 58"/>
                    <a:gd name="T9" fmla="*/ 34 h 34"/>
                    <a:gd name="T10" fmla="*/ 46 w 58"/>
                    <a:gd name="T11" fmla="*/ 30 h 34"/>
                    <a:gd name="T12" fmla="*/ 56 w 58"/>
                    <a:gd name="T13" fmla="*/ 12 h 34"/>
                    <a:gd name="T14" fmla="*/ 39 w 58"/>
                    <a:gd name="T15" fmla="*/ 2 h 3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58" h="34">
                      <a:moveTo>
                        <a:pt x="39" y="2"/>
                      </a:moveTo>
                      <a:cubicBezTo>
                        <a:pt x="31" y="4"/>
                        <a:pt x="22" y="5"/>
                        <a:pt x="14" y="5"/>
                      </a:cubicBezTo>
                      <a:cubicBezTo>
                        <a:pt x="6" y="5"/>
                        <a:pt x="0" y="12"/>
                        <a:pt x="0" y="20"/>
                      </a:cubicBezTo>
                      <a:cubicBezTo>
                        <a:pt x="0" y="28"/>
                        <a:pt x="6" y="34"/>
                        <a:pt x="14" y="34"/>
                      </a:cubicBezTo>
                      <a:cubicBezTo>
                        <a:pt x="14" y="34"/>
                        <a:pt x="14" y="34"/>
                        <a:pt x="14" y="34"/>
                      </a:cubicBezTo>
                      <a:cubicBezTo>
                        <a:pt x="25" y="34"/>
                        <a:pt x="36" y="32"/>
                        <a:pt x="46" y="30"/>
                      </a:cubicBezTo>
                      <a:cubicBezTo>
                        <a:pt x="54" y="28"/>
                        <a:pt x="58" y="20"/>
                        <a:pt x="56" y="12"/>
                      </a:cubicBezTo>
                      <a:cubicBezTo>
                        <a:pt x="55" y="5"/>
                        <a:pt x="47" y="0"/>
                        <a:pt x="39" y="2"/>
                      </a:cubicBezTo>
                      <a:close/>
                    </a:path>
                  </a:pathLst>
                </a:custGeom>
                <a:solidFill>
                  <a:srgbClr val="4D4D4F"/>
                </a:solidFill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2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/>
                    <a:cs typeface=""/>
                  </a:endParaRPr>
                </a:p>
              </p:txBody>
            </p:sp>
          </p:grpSp>
          <p:sp>
            <p:nvSpPr>
              <p:cNvPr id="834" name="Rounded Rectangle 833"/>
              <p:cNvSpPr/>
              <p:nvPr/>
            </p:nvSpPr>
            <p:spPr>
              <a:xfrm>
                <a:off x="5359901" y="2386601"/>
                <a:ext cx="308105" cy="310923"/>
              </a:xfrm>
              <a:prstGeom prst="roundRect">
                <a:avLst/>
              </a:prstGeom>
              <a:solidFill>
                <a:srgbClr val="F79646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"/>
                  <a:cs typeface=""/>
                </a:endParaRPr>
              </a:p>
            </p:txBody>
          </p:sp>
          <p:sp>
            <p:nvSpPr>
              <p:cNvPr id="835" name="Freeform 12"/>
              <p:cNvSpPr>
                <a:spLocks noEditPoints="1"/>
              </p:cNvSpPr>
              <p:nvPr/>
            </p:nvSpPr>
            <p:spPr bwMode="auto">
              <a:xfrm>
                <a:off x="5406483" y="2446478"/>
                <a:ext cx="214941" cy="191168"/>
              </a:xfrm>
              <a:custGeom>
                <a:avLst/>
                <a:gdLst>
                  <a:gd name="T0" fmla="*/ 419 w 494"/>
                  <a:gd name="T1" fmla="*/ 299 h 448"/>
                  <a:gd name="T2" fmla="*/ 403 w 494"/>
                  <a:gd name="T3" fmla="*/ 301 h 448"/>
                  <a:gd name="T4" fmla="*/ 302 w 494"/>
                  <a:gd name="T5" fmla="*/ 126 h 448"/>
                  <a:gd name="T6" fmla="*/ 322 w 494"/>
                  <a:gd name="T7" fmla="*/ 75 h 448"/>
                  <a:gd name="T8" fmla="*/ 247 w 494"/>
                  <a:gd name="T9" fmla="*/ 0 h 448"/>
                  <a:gd name="T10" fmla="*/ 173 w 494"/>
                  <a:gd name="T11" fmla="*/ 75 h 448"/>
                  <a:gd name="T12" fmla="*/ 193 w 494"/>
                  <a:gd name="T13" fmla="*/ 126 h 448"/>
                  <a:gd name="T14" fmla="*/ 91 w 494"/>
                  <a:gd name="T15" fmla="*/ 301 h 448"/>
                  <a:gd name="T16" fmla="*/ 75 w 494"/>
                  <a:gd name="T17" fmla="*/ 299 h 448"/>
                  <a:gd name="T18" fmla="*/ 0 w 494"/>
                  <a:gd name="T19" fmla="*/ 373 h 448"/>
                  <a:gd name="T20" fmla="*/ 75 w 494"/>
                  <a:gd name="T21" fmla="*/ 448 h 448"/>
                  <a:gd name="T22" fmla="*/ 146 w 494"/>
                  <a:gd name="T23" fmla="*/ 395 h 448"/>
                  <a:gd name="T24" fmla="*/ 349 w 494"/>
                  <a:gd name="T25" fmla="*/ 395 h 448"/>
                  <a:gd name="T26" fmla="*/ 419 w 494"/>
                  <a:gd name="T27" fmla="*/ 448 h 448"/>
                  <a:gd name="T28" fmla="*/ 494 w 494"/>
                  <a:gd name="T29" fmla="*/ 373 h 448"/>
                  <a:gd name="T30" fmla="*/ 419 w 494"/>
                  <a:gd name="T31" fmla="*/ 299 h 448"/>
                  <a:gd name="T32" fmla="*/ 349 w 494"/>
                  <a:gd name="T33" fmla="*/ 351 h 448"/>
                  <a:gd name="T34" fmla="*/ 146 w 494"/>
                  <a:gd name="T35" fmla="*/ 351 h 448"/>
                  <a:gd name="T36" fmla="*/ 130 w 494"/>
                  <a:gd name="T37" fmla="*/ 323 h 448"/>
                  <a:gd name="T38" fmla="*/ 231 w 494"/>
                  <a:gd name="T39" fmla="*/ 148 h 448"/>
                  <a:gd name="T40" fmla="*/ 247 w 494"/>
                  <a:gd name="T41" fmla="*/ 150 h 448"/>
                  <a:gd name="T42" fmla="*/ 264 w 494"/>
                  <a:gd name="T43" fmla="*/ 148 h 448"/>
                  <a:gd name="T44" fmla="*/ 365 w 494"/>
                  <a:gd name="T45" fmla="*/ 323 h 448"/>
                  <a:gd name="T46" fmla="*/ 349 w 494"/>
                  <a:gd name="T47" fmla="*/ 351 h 4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494" h="448">
                    <a:moveTo>
                      <a:pt x="419" y="299"/>
                    </a:moveTo>
                    <a:cubicBezTo>
                      <a:pt x="414" y="299"/>
                      <a:pt x="408" y="300"/>
                      <a:pt x="403" y="301"/>
                    </a:cubicBezTo>
                    <a:cubicBezTo>
                      <a:pt x="302" y="126"/>
                      <a:pt x="302" y="126"/>
                      <a:pt x="302" y="126"/>
                    </a:cubicBezTo>
                    <a:cubicBezTo>
                      <a:pt x="314" y="112"/>
                      <a:pt x="322" y="95"/>
                      <a:pt x="322" y="75"/>
                    </a:cubicBezTo>
                    <a:cubicBezTo>
                      <a:pt x="322" y="34"/>
                      <a:pt x="288" y="0"/>
                      <a:pt x="247" y="0"/>
                    </a:cubicBezTo>
                    <a:cubicBezTo>
                      <a:pt x="206" y="0"/>
                      <a:pt x="173" y="34"/>
                      <a:pt x="173" y="75"/>
                    </a:cubicBezTo>
                    <a:cubicBezTo>
                      <a:pt x="173" y="95"/>
                      <a:pt x="180" y="112"/>
                      <a:pt x="193" y="126"/>
                    </a:cubicBezTo>
                    <a:cubicBezTo>
                      <a:pt x="91" y="301"/>
                      <a:pt x="91" y="301"/>
                      <a:pt x="91" y="301"/>
                    </a:cubicBezTo>
                    <a:cubicBezTo>
                      <a:pt x="86" y="300"/>
                      <a:pt x="81" y="299"/>
                      <a:pt x="75" y="299"/>
                    </a:cubicBezTo>
                    <a:cubicBezTo>
                      <a:pt x="34" y="299"/>
                      <a:pt x="0" y="332"/>
                      <a:pt x="0" y="373"/>
                    </a:cubicBezTo>
                    <a:cubicBezTo>
                      <a:pt x="0" y="415"/>
                      <a:pt x="34" y="448"/>
                      <a:pt x="75" y="448"/>
                    </a:cubicBezTo>
                    <a:cubicBezTo>
                      <a:pt x="108" y="448"/>
                      <a:pt x="136" y="426"/>
                      <a:pt x="146" y="395"/>
                    </a:cubicBezTo>
                    <a:cubicBezTo>
                      <a:pt x="349" y="395"/>
                      <a:pt x="349" y="395"/>
                      <a:pt x="349" y="395"/>
                    </a:cubicBezTo>
                    <a:cubicBezTo>
                      <a:pt x="358" y="426"/>
                      <a:pt x="386" y="448"/>
                      <a:pt x="419" y="448"/>
                    </a:cubicBezTo>
                    <a:cubicBezTo>
                      <a:pt x="461" y="448"/>
                      <a:pt x="494" y="415"/>
                      <a:pt x="494" y="373"/>
                    </a:cubicBezTo>
                    <a:cubicBezTo>
                      <a:pt x="494" y="332"/>
                      <a:pt x="461" y="299"/>
                      <a:pt x="419" y="299"/>
                    </a:cubicBezTo>
                    <a:close/>
                    <a:moveTo>
                      <a:pt x="349" y="351"/>
                    </a:moveTo>
                    <a:cubicBezTo>
                      <a:pt x="146" y="351"/>
                      <a:pt x="146" y="351"/>
                      <a:pt x="146" y="351"/>
                    </a:cubicBezTo>
                    <a:cubicBezTo>
                      <a:pt x="142" y="341"/>
                      <a:pt x="137" y="331"/>
                      <a:pt x="130" y="323"/>
                    </a:cubicBezTo>
                    <a:cubicBezTo>
                      <a:pt x="231" y="148"/>
                      <a:pt x="231" y="148"/>
                      <a:pt x="231" y="148"/>
                    </a:cubicBezTo>
                    <a:cubicBezTo>
                      <a:pt x="236" y="149"/>
                      <a:pt x="242" y="150"/>
                      <a:pt x="247" y="150"/>
                    </a:cubicBezTo>
                    <a:cubicBezTo>
                      <a:pt x="253" y="150"/>
                      <a:pt x="258" y="149"/>
                      <a:pt x="264" y="148"/>
                    </a:cubicBezTo>
                    <a:cubicBezTo>
                      <a:pt x="365" y="323"/>
                      <a:pt x="365" y="323"/>
                      <a:pt x="365" y="323"/>
                    </a:cubicBezTo>
                    <a:cubicBezTo>
                      <a:pt x="358" y="331"/>
                      <a:pt x="352" y="341"/>
                      <a:pt x="349" y="351"/>
                    </a:cubicBezTo>
                    <a:close/>
                  </a:path>
                </a:pathLst>
              </a:custGeom>
              <a:solidFill>
                <a:sysClr val="window" lastClr="FFFFFF"/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cs typeface=""/>
                </a:endParaRPr>
              </a:p>
            </p:txBody>
          </p:sp>
        </p:grpSp>
        <p:grpSp>
          <p:nvGrpSpPr>
            <p:cNvPr id="697" name="Group 696"/>
            <p:cNvGrpSpPr/>
            <p:nvPr/>
          </p:nvGrpSpPr>
          <p:grpSpPr>
            <a:xfrm>
              <a:off x="4057980" y="3003004"/>
              <a:ext cx="323368" cy="283709"/>
              <a:chOff x="5310724" y="2352924"/>
              <a:chExt cx="398754" cy="374816"/>
            </a:xfrm>
          </p:grpSpPr>
          <p:grpSp>
            <p:nvGrpSpPr>
              <p:cNvPr id="807" name="Group 806"/>
              <p:cNvGrpSpPr/>
              <p:nvPr/>
            </p:nvGrpSpPr>
            <p:grpSpPr>
              <a:xfrm rot="5400000">
                <a:off x="5322693" y="2340955"/>
                <a:ext cx="374816" cy="398754"/>
                <a:chOff x="4471988" y="1985963"/>
                <a:chExt cx="527051" cy="517525"/>
              </a:xfrm>
            </p:grpSpPr>
            <p:sp>
              <p:nvSpPr>
                <p:cNvPr id="810" name="Freeform 13"/>
                <p:cNvSpPr>
                  <a:spLocks/>
                </p:cNvSpPr>
                <p:nvPr/>
              </p:nvSpPr>
              <p:spPr bwMode="auto">
                <a:xfrm>
                  <a:off x="4471988" y="2117725"/>
                  <a:ext cx="25400" cy="50800"/>
                </a:xfrm>
                <a:custGeom>
                  <a:avLst/>
                  <a:gdLst>
                    <a:gd name="T0" fmla="*/ 14 w 29"/>
                    <a:gd name="T1" fmla="*/ 57 h 57"/>
                    <a:gd name="T2" fmla="*/ 29 w 29"/>
                    <a:gd name="T3" fmla="*/ 43 h 57"/>
                    <a:gd name="T4" fmla="*/ 29 w 29"/>
                    <a:gd name="T5" fmla="*/ 14 h 57"/>
                    <a:gd name="T6" fmla="*/ 14 w 29"/>
                    <a:gd name="T7" fmla="*/ 0 h 57"/>
                    <a:gd name="T8" fmla="*/ 0 w 29"/>
                    <a:gd name="T9" fmla="*/ 14 h 57"/>
                    <a:gd name="T10" fmla="*/ 0 w 29"/>
                    <a:gd name="T11" fmla="*/ 43 h 57"/>
                    <a:gd name="T12" fmla="*/ 14 w 29"/>
                    <a:gd name="T13" fmla="*/ 57 h 5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9" h="57">
                      <a:moveTo>
                        <a:pt x="14" y="57"/>
                      </a:moveTo>
                      <a:cubicBezTo>
                        <a:pt x="22" y="57"/>
                        <a:pt x="29" y="51"/>
                        <a:pt x="29" y="43"/>
                      </a:cubicBezTo>
                      <a:cubicBezTo>
                        <a:pt x="29" y="14"/>
                        <a:pt x="29" y="14"/>
                        <a:pt x="29" y="14"/>
                      </a:cubicBezTo>
                      <a:cubicBezTo>
                        <a:pt x="29" y="6"/>
                        <a:pt x="22" y="0"/>
                        <a:pt x="14" y="0"/>
                      </a:cubicBezTo>
                      <a:cubicBezTo>
                        <a:pt x="7" y="0"/>
                        <a:pt x="0" y="6"/>
                        <a:pt x="0" y="14"/>
                      </a:cubicBezTo>
                      <a:cubicBezTo>
                        <a:pt x="0" y="43"/>
                        <a:pt x="0" y="43"/>
                        <a:pt x="0" y="43"/>
                      </a:cubicBezTo>
                      <a:cubicBezTo>
                        <a:pt x="0" y="51"/>
                        <a:pt x="7" y="57"/>
                        <a:pt x="14" y="57"/>
                      </a:cubicBezTo>
                      <a:close/>
                    </a:path>
                  </a:pathLst>
                </a:custGeom>
                <a:solidFill>
                  <a:srgbClr val="4D4D4F"/>
                </a:solidFill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2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/>
                    <a:cs typeface=""/>
                  </a:endParaRPr>
                </a:p>
              </p:txBody>
            </p:sp>
            <p:sp>
              <p:nvSpPr>
                <p:cNvPr id="811" name="Freeform 14"/>
                <p:cNvSpPr>
                  <a:spLocks/>
                </p:cNvSpPr>
                <p:nvPr/>
              </p:nvSpPr>
              <p:spPr bwMode="auto">
                <a:xfrm>
                  <a:off x="4471988" y="2271713"/>
                  <a:ext cx="25400" cy="52388"/>
                </a:xfrm>
                <a:custGeom>
                  <a:avLst/>
                  <a:gdLst>
                    <a:gd name="T0" fmla="*/ 14 w 29"/>
                    <a:gd name="T1" fmla="*/ 58 h 58"/>
                    <a:gd name="T2" fmla="*/ 29 w 29"/>
                    <a:gd name="T3" fmla="*/ 43 h 58"/>
                    <a:gd name="T4" fmla="*/ 29 w 29"/>
                    <a:gd name="T5" fmla="*/ 15 h 58"/>
                    <a:gd name="T6" fmla="*/ 14 w 29"/>
                    <a:gd name="T7" fmla="*/ 0 h 58"/>
                    <a:gd name="T8" fmla="*/ 0 w 29"/>
                    <a:gd name="T9" fmla="*/ 15 h 58"/>
                    <a:gd name="T10" fmla="*/ 0 w 29"/>
                    <a:gd name="T11" fmla="*/ 43 h 58"/>
                    <a:gd name="T12" fmla="*/ 14 w 29"/>
                    <a:gd name="T13" fmla="*/ 58 h 5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9" h="58">
                      <a:moveTo>
                        <a:pt x="14" y="58"/>
                      </a:moveTo>
                      <a:cubicBezTo>
                        <a:pt x="22" y="58"/>
                        <a:pt x="29" y="51"/>
                        <a:pt x="29" y="43"/>
                      </a:cubicBezTo>
                      <a:cubicBezTo>
                        <a:pt x="29" y="15"/>
                        <a:pt x="29" y="15"/>
                        <a:pt x="29" y="15"/>
                      </a:cubicBezTo>
                      <a:cubicBezTo>
                        <a:pt x="29" y="7"/>
                        <a:pt x="22" y="0"/>
                        <a:pt x="14" y="0"/>
                      </a:cubicBezTo>
                      <a:cubicBezTo>
                        <a:pt x="7" y="0"/>
                        <a:pt x="0" y="7"/>
                        <a:pt x="0" y="15"/>
                      </a:cubicBezTo>
                      <a:cubicBezTo>
                        <a:pt x="0" y="43"/>
                        <a:pt x="0" y="43"/>
                        <a:pt x="0" y="43"/>
                      </a:cubicBezTo>
                      <a:cubicBezTo>
                        <a:pt x="0" y="51"/>
                        <a:pt x="7" y="58"/>
                        <a:pt x="14" y="58"/>
                      </a:cubicBezTo>
                      <a:close/>
                    </a:path>
                  </a:pathLst>
                </a:custGeom>
                <a:solidFill>
                  <a:srgbClr val="4D4D4F"/>
                </a:solidFill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2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/>
                    <a:cs typeface=""/>
                  </a:endParaRPr>
                </a:p>
              </p:txBody>
            </p:sp>
            <p:sp>
              <p:nvSpPr>
                <p:cNvPr id="812" name="Freeform 15"/>
                <p:cNvSpPr>
                  <a:spLocks/>
                </p:cNvSpPr>
                <p:nvPr/>
              </p:nvSpPr>
              <p:spPr bwMode="auto">
                <a:xfrm>
                  <a:off x="4487863" y="2422525"/>
                  <a:ext cx="44450" cy="47625"/>
                </a:xfrm>
                <a:custGeom>
                  <a:avLst/>
                  <a:gdLst>
                    <a:gd name="T0" fmla="*/ 29 w 50"/>
                    <a:gd name="T1" fmla="*/ 8 h 53"/>
                    <a:gd name="T2" fmla="*/ 9 w 50"/>
                    <a:gd name="T3" fmla="*/ 4 h 53"/>
                    <a:gd name="T4" fmla="*/ 4 w 50"/>
                    <a:gd name="T5" fmla="*/ 24 h 53"/>
                    <a:gd name="T6" fmla="*/ 24 w 50"/>
                    <a:gd name="T7" fmla="*/ 49 h 53"/>
                    <a:gd name="T8" fmla="*/ 34 w 50"/>
                    <a:gd name="T9" fmla="*/ 53 h 53"/>
                    <a:gd name="T10" fmla="*/ 45 w 50"/>
                    <a:gd name="T11" fmla="*/ 49 h 53"/>
                    <a:gd name="T12" fmla="*/ 45 w 50"/>
                    <a:gd name="T13" fmla="*/ 28 h 53"/>
                    <a:gd name="T14" fmla="*/ 29 w 50"/>
                    <a:gd name="T15" fmla="*/ 8 h 5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50" h="53">
                      <a:moveTo>
                        <a:pt x="29" y="8"/>
                      </a:moveTo>
                      <a:cubicBezTo>
                        <a:pt x="24" y="2"/>
                        <a:pt x="15" y="0"/>
                        <a:pt x="9" y="4"/>
                      </a:cubicBezTo>
                      <a:cubicBezTo>
                        <a:pt x="2" y="8"/>
                        <a:pt x="0" y="17"/>
                        <a:pt x="4" y="24"/>
                      </a:cubicBezTo>
                      <a:cubicBezTo>
                        <a:pt x="10" y="33"/>
                        <a:pt x="17" y="41"/>
                        <a:pt x="24" y="49"/>
                      </a:cubicBezTo>
                      <a:cubicBezTo>
                        <a:pt x="27" y="51"/>
                        <a:pt x="31" y="53"/>
                        <a:pt x="34" y="53"/>
                      </a:cubicBezTo>
                      <a:cubicBezTo>
                        <a:pt x="38" y="53"/>
                        <a:pt x="42" y="51"/>
                        <a:pt x="45" y="49"/>
                      </a:cubicBezTo>
                      <a:cubicBezTo>
                        <a:pt x="50" y="43"/>
                        <a:pt x="50" y="34"/>
                        <a:pt x="45" y="28"/>
                      </a:cubicBezTo>
                      <a:cubicBezTo>
                        <a:pt x="39" y="22"/>
                        <a:pt x="33" y="15"/>
                        <a:pt x="29" y="8"/>
                      </a:cubicBezTo>
                      <a:close/>
                    </a:path>
                  </a:pathLst>
                </a:custGeom>
                <a:solidFill>
                  <a:srgbClr val="4D4D4F"/>
                </a:solidFill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2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/>
                    <a:cs typeface=""/>
                  </a:endParaRPr>
                </a:p>
              </p:txBody>
            </p:sp>
            <p:sp>
              <p:nvSpPr>
                <p:cNvPr id="813" name="Freeform 16"/>
                <p:cNvSpPr>
                  <a:spLocks/>
                </p:cNvSpPr>
                <p:nvPr/>
              </p:nvSpPr>
              <p:spPr bwMode="auto">
                <a:xfrm>
                  <a:off x="4471988" y="2193925"/>
                  <a:ext cx="25400" cy="52388"/>
                </a:xfrm>
                <a:custGeom>
                  <a:avLst/>
                  <a:gdLst>
                    <a:gd name="T0" fmla="*/ 14 w 29"/>
                    <a:gd name="T1" fmla="*/ 58 h 58"/>
                    <a:gd name="T2" fmla="*/ 29 w 29"/>
                    <a:gd name="T3" fmla="*/ 43 h 58"/>
                    <a:gd name="T4" fmla="*/ 29 w 29"/>
                    <a:gd name="T5" fmla="*/ 14 h 58"/>
                    <a:gd name="T6" fmla="*/ 14 w 29"/>
                    <a:gd name="T7" fmla="*/ 0 h 58"/>
                    <a:gd name="T8" fmla="*/ 0 w 29"/>
                    <a:gd name="T9" fmla="*/ 14 h 58"/>
                    <a:gd name="T10" fmla="*/ 0 w 29"/>
                    <a:gd name="T11" fmla="*/ 43 h 58"/>
                    <a:gd name="T12" fmla="*/ 14 w 29"/>
                    <a:gd name="T13" fmla="*/ 58 h 5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9" h="58">
                      <a:moveTo>
                        <a:pt x="14" y="58"/>
                      </a:moveTo>
                      <a:cubicBezTo>
                        <a:pt x="22" y="58"/>
                        <a:pt x="29" y="51"/>
                        <a:pt x="29" y="43"/>
                      </a:cubicBezTo>
                      <a:cubicBezTo>
                        <a:pt x="29" y="14"/>
                        <a:pt x="29" y="14"/>
                        <a:pt x="29" y="14"/>
                      </a:cubicBezTo>
                      <a:cubicBezTo>
                        <a:pt x="29" y="6"/>
                        <a:pt x="22" y="0"/>
                        <a:pt x="14" y="0"/>
                      </a:cubicBezTo>
                      <a:cubicBezTo>
                        <a:pt x="7" y="0"/>
                        <a:pt x="0" y="6"/>
                        <a:pt x="0" y="14"/>
                      </a:cubicBezTo>
                      <a:cubicBezTo>
                        <a:pt x="0" y="43"/>
                        <a:pt x="0" y="43"/>
                        <a:pt x="0" y="43"/>
                      </a:cubicBezTo>
                      <a:cubicBezTo>
                        <a:pt x="0" y="51"/>
                        <a:pt x="7" y="58"/>
                        <a:pt x="14" y="58"/>
                      </a:cubicBezTo>
                      <a:close/>
                    </a:path>
                  </a:pathLst>
                </a:custGeom>
                <a:solidFill>
                  <a:srgbClr val="4D4D4F"/>
                </a:solidFill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2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/>
                    <a:cs typeface=""/>
                  </a:endParaRPr>
                </a:p>
              </p:txBody>
            </p:sp>
            <p:sp>
              <p:nvSpPr>
                <p:cNvPr id="814" name="Freeform 17"/>
                <p:cNvSpPr>
                  <a:spLocks/>
                </p:cNvSpPr>
                <p:nvPr/>
              </p:nvSpPr>
              <p:spPr bwMode="auto">
                <a:xfrm>
                  <a:off x="4830763" y="1985963"/>
                  <a:ext cx="50800" cy="26988"/>
                </a:xfrm>
                <a:custGeom>
                  <a:avLst/>
                  <a:gdLst>
                    <a:gd name="T0" fmla="*/ 15 w 57"/>
                    <a:gd name="T1" fmla="*/ 29 h 29"/>
                    <a:gd name="T2" fmla="*/ 44 w 57"/>
                    <a:gd name="T3" fmla="*/ 29 h 29"/>
                    <a:gd name="T4" fmla="*/ 57 w 57"/>
                    <a:gd name="T5" fmla="*/ 15 h 29"/>
                    <a:gd name="T6" fmla="*/ 43 w 57"/>
                    <a:gd name="T7" fmla="*/ 0 h 29"/>
                    <a:gd name="T8" fmla="*/ 15 w 57"/>
                    <a:gd name="T9" fmla="*/ 0 h 29"/>
                    <a:gd name="T10" fmla="*/ 0 w 57"/>
                    <a:gd name="T11" fmla="*/ 15 h 29"/>
                    <a:gd name="T12" fmla="*/ 15 w 57"/>
                    <a:gd name="T13" fmla="*/ 29 h 2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57" h="29">
                      <a:moveTo>
                        <a:pt x="15" y="29"/>
                      </a:moveTo>
                      <a:cubicBezTo>
                        <a:pt x="44" y="29"/>
                        <a:pt x="44" y="29"/>
                        <a:pt x="44" y="29"/>
                      </a:cubicBezTo>
                      <a:cubicBezTo>
                        <a:pt x="51" y="29"/>
                        <a:pt x="57" y="23"/>
                        <a:pt x="57" y="15"/>
                      </a:cubicBezTo>
                      <a:cubicBezTo>
                        <a:pt x="57" y="7"/>
                        <a:pt x="50" y="0"/>
                        <a:pt x="43" y="0"/>
                      </a:cubicBezTo>
                      <a:cubicBezTo>
                        <a:pt x="15" y="0"/>
                        <a:pt x="15" y="0"/>
                        <a:pt x="15" y="0"/>
                      </a:cubicBezTo>
                      <a:cubicBezTo>
                        <a:pt x="7" y="0"/>
                        <a:pt x="0" y="7"/>
                        <a:pt x="0" y="15"/>
                      </a:cubicBezTo>
                      <a:cubicBezTo>
                        <a:pt x="0" y="23"/>
                        <a:pt x="7" y="29"/>
                        <a:pt x="15" y="29"/>
                      </a:cubicBezTo>
                      <a:close/>
                    </a:path>
                  </a:pathLst>
                </a:custGeom>
                <a:solidFill>
                  <a:srgbClr val="4D4D4F"/>
                </a:solidFill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2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/>
                    <a:cs typeface=""/>
                  </a:endParaRPr>
                </a:p>
              </p:txBody>
            </p:sp>
            <p:sp>
              <p:nvSpPr>
                <p:cNvPr id="815" name="Freeform 18"/>
                <p:cNvSpPr>
                  <a:spLocks/>
                </p:cNvSpPr>
                <p:nvPr/>
              </p:nvSpPr>
              <p:spPr bwMode="auto">
                <a:xfrm>
                  <a:off x="4905376" y="1997075"/>
                  <a:ext cx="50800" cy="41275"/>
                </a:xfrm>
                <a:custGeom>
                  <a:avLst/>
                  <a:gdLst>
                    <a:gd name="T0" fmla="*/ 10 w 56"/>
                    <a:gd name="T1" fmla="*/ 30 h 47"/>
                    <a:gd name="T2" fmla="*/ 31 w 56"/>
                    <a:gd name="T3" fmla="*/ 43 h 47"/>
                    <a:gd name="T4" fmla="*/ 40 w 56"/>
                    <a:gd name="T5" fmla="*/ 47 h 47"/>
                    <a:gd name="T6" fmla="*/ 51 w 56"/>
                    <a:gd name="T7" fmla="*/ 41 h 47"/>
                    <a:gd name="T8" fmla="*/ 49 w 56"/>
                    <a:gd name="T9" fmla="*/ 21 h 47"/>
                    <a:gd name="T10" fmla="*/ 22 w 56"/>
                    <a:gd name="T11" fmla="*/ 4 h 47"/>
                    <a:gd name="T12" fmla="*/ 3 w 56"/>
                    <a:gd name="T13" fmla="*/ 11 h 47"/>
                    <a:gd name="T14" fmla="*/ 10 w 56"/>
                    <a:gd name="T15" fmla="*/ 30 h 4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56" h="47">
                      <a:moveTo>
                        <a:pt x="10" y="30"/>
                      </a:moveTo>
                      <a:cubicBezTo>
                        <a:pt x="17" y="33"/>
                        <a:pt x="25" y="38"/>
                        <a:pt x="31" y="43"/>
                      </a:cubicBezTo>
                      <a:cubicBezTo>
                        <a:pt x="34" y="46"/>
                        <a:pt x="37" y="47"/>
                        <a:pt x="40" y="47"/>
                      </a:cubicBezTo>
                      <a:cubicBezTo>
                        <a:pt x="44" y="47"/>
                        <a:pt x="49" y="45"/>
                        <a:pt x="51" y="41"/>
                      </a:cubicBezTo>
                      <a:cubicBezTo>
                        <a:pt x="56" y="35"/>
                        <a:pt x="55" y="26"/>
                        <a:pt x="49" y="21"/>
                      </a:cubicBezTo>
                      <a:cubicBezTo>
                        <a:pt x="41" y="14"/>
                        <a:pt x="32" y="9"/>
                        <a:pt x="22" y="4"/>
                      </a:cubicBezTo>
                      <a:cubicBezTo>
                        <a:pt x="15" y="0"/>
                        <a:pt x="7" y="3"/>
                        <a:pt x="3" y="11"/>
                      </a:cubicBezTo>
                      <a:cubicBezTo>
                        <a:pt x="0" y="18"/>
                        <a:pt x="3" y="26"/>
                        <a:pt x="10" y="30"/>
                      </a:cubicBezTo>
                      <a:close/>
                    </a:path>
                  </a:pathLst>
                </a:custGeom>
                <a:solidFill>
                  <a:srgbClr val="4D4D4F"/>
                </a:solidFill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2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/>
                    <a:cs typeface=""/>
                  </a:endParaRPr>
                </a:p>
              </p:txBody>
            </p:sp>
            <p:sp>
              <p:nvSpPr>
                <p:cNvPr id="816" name="Freeform 19"/>
                <p:cNvSpPr>
                  <a:spLocks/>
                </p:cNvSpPr>
                <p:nvPr/>
              </p:nvSpPr>
              <p:spPr bwMode="auto">
                <a:xfrm>
                  <a:off x="4476751" y="2039938"/>
                  <a:ext cx="39688" cy="52388"/>
                </a:xfrm>
                <a:custGeom>
                  <a:avLst/>
                  <a:gdLst>
                    <a:gd name="T0" fmla="*/ 12 w 45"/>
                    <a:gd name="T1" fmla="*/ 56 h 57"/>
                    <a:gd name="T2" fmla="*/ 16 w 45"/>
                    <a:gd name="T3" fmla="*/ 57 h 57"/>
                    <a:gd name="T4" fmla="*/ 30 w 45"/>
                    <a:gd name="T5" fmla="*/ 47 h 57"/>
                    <a:gd name="T6" fmla="*/ 41 w 45"/>
                    <a:gd name="T7" fmla="*/ 24 h 57"/>
                    <a:gd name="T8" fmla="*/ 36 w 45"/>
                    <a:gd name="T9" fmla="*/ 4 h 57"/>
                    <a:gd name="T10" fmla="*/ 16 w 45"/>
                    <a:gd name="T11" fmla="*/ 9 h 57"/>
                    <a:gd name="T12" fmla="*/ 3 w 45"/>
                    <a:gd name="T13" fmla="*/ 38 h 57"/>
                    <a:gd name="T14" fmla="*/ 12 w 45"/>
                    <a:gd name="T15" fmla="*/ 56 h 5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45" h="57">
                      <a:moveTo>
                        <a:pt x="12" y="56"/>
                      </a:moveTo>
                      <a:cubicBezTo>
                        <a:pt x="13" y="57"/>
                        <a:pt x="15" y="57"/>
                        <a:pt x="16" y="57"/>
                      </a:cubicBezTo>
                      <a:cubicBezTo>
                        <a:pt x="22" y="57"/>
                        <a:pt x="28" y="53"/>
                        <a:pt x="30" y="47"/>
                      </a:cubicBezTo>
                      <a:cubicBezTo>
                        <a:pt x="33" y="39"/>
                        <a:pt x="36" y="32"/>
                        <a:pt x="41" y="24"/>
                      </a:cubicBezTo>
                      <a:cubicBezTo>
                        <a:pt x="45" y="17"/>
                        <a:pt x="43" y="9"/>
                        <a:pt x="36" y="4"/>
                      </a:cubicBezTo>
                      <a:cubicBezTo>
                        <a:pt x="29" y="0"/>
                        <a:pt x="21" y="2"/>
                        <a:pt x="16" y="9"/>
                      </a:cubicBezTo>
                      <a:cubicBezTo>
                        <a:pt x="11" y="18"/>
                        <a:pt x="6" y="28"/>
                        <a:pt x="3" y="38"/>
                      </a:cubicBezTo>
                      <a:cubicBezTo>
                        <a:pt x="0" y="45"/>
                        <a:pt x="4" y="54"/>
                        <a:pt x="12" y="56"/>
                      </a:cubicBezTo>
                      <a:close/>
                    </a:path>
                  </a:pathLst>
                </a:custGeom>
                <a:solidFill>
                  <a:srgbClr val="4D4D4F"/>
                </a:solidFill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2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/>
                    <a:cs typeface=""/>
                  </a:endParaRPr>
                </a:p>
              </p:txBody>
            </p:sp>
            <p:sp>
              <p:nvSpPr>
                <p:cNvPr id="817" name="Freeform 20"/>
                <p:cNvSpPr>
                  <a:spLocks/>
                </p:cNvSpPr>
                <p:nvPr/>
              </p:nvSpPr>
              <p:spPr bwMode="auto">
                <a:xfrm>
                  <a:off x="4522788" y="1992313"/>
                  <a:ext cx="52388" cy="39688"/>
                </a:xfrm>
                <a:custGeom>
                  <a:avLst/>
                  <a:gdLst>
                    <a:gd name="T0" fmla="*/ 55 w 58"/>
                    <a:gd name="T1" fmla="*/ 11 h 43"/>
                    <a:gd name="T2" fmla="*/ 37 w 58"/>
                    <a:gd name="T3" fmla="*/ 2 h 43"/>
                    <a:gd name="T4" fmla="*/ 9 w 58"/>
                    <a:gd name="T5" fmla="*/ 17 h 43"/>
                    <a:gd name="T6" fmla="*/ 4 w 58"/>
                    <a:gd name="T7" fmla="*/ 37 h 43"/>
                    <a:gd name="T8" fmla="*/ 16 w 58"/>
                    <a:gd name="T9" fmla="*/ 43 h 43"/>
                    <a:gd name="T10" fmla="*/ 24 w 58"/>
                    <a:gd name="T11" fmla="*/ 41 h 43"/>
                    <a:gd name="T12" fmla="*/ 47 w 58"/>
                    <a:gd name="T13" fmla="*/ 29 h 43"/>
                    <a:gd name="T14" fmla="*/ 55 w 58"/>
                    <a:gd name="T15" fmla="*/ 11 h 4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58" h="43">
                      <a:moveTo>
                        <a:pt x="55" y="11"/>
                      </a:moveTo>
                      <a:cubicBezTo>
                        <a:pt x="53" y="3"/>
                        <a:pt x="44" y="0"/>
                        <a:pt x="37" y="2"/>
                      </a:cubicBezTo>
                      <a:cubicBezTo>
                        <a:pt x="27" y="6"/>
                        <a:pt x="17" y="11"/>
                        <a:pt x="9" y="17"/>
                      </a:cubicBezTo>
                      <a:cubicBezTo>
                        <a:pt x="2" y="21"/>
                        <a:pt x="0" y="30"/>
                        <a:pt x="4" y="37"/>
                      </a:cubicBezTo>
                      <a:cubicBezTo>
                        <a:pt x="7" y="41"/>
                        <a:pt x="12" y="43"/>
                        <a:pt x="16" y="43"/>
                      </a:cubicBezTo>
                      <a:cubicBezTo>
                        <a:pt x="19" y="43"/>
                        <a:pt x="22" y="43"/>
                        <a:pt x="24" y="41"/>
                      </a:cubicBezTo>
                      <a:cubicBezTo>
                        <a:pt x="31" y="36"/>
                        <a:pt x="39" y="32"/>
                        <a:pt x="47" y="29"/>
                      </a:cubicBezTo>
                      <a:cubicBezTo>
                        <a:pt x="54" y="27"/>
                        <a:pt x="58" y="18"/>
                        <a:pt x="55" y="11"/>
                      </a:cubicBezTo>
                      <a:close/>
                    </a:path>
                  </a:pathLst>
                </a:custGeom>
                <a:solidFill>
                  <a:srgbClr val="4D4D4F"/>
                </a:solidFill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2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/>
                    <a:cs typeface=""/>
                  </a:endParaRPr>
                </a:p>
              </p:txBody>
            </p:sp>
            <p:sp>
              <p:nvSpPr>
                <p:cNvPr id="818" name="Freeform 21"/>
                <p:cNvSpPr>
                  <a:spLocks/>
                </p:cNvSpPr>
                <p:nvPr/>
              </p:nvSpPr>
              <p:spPr bwMode="auto">
                <a:xfrm>
                  <a:off x="4959351" y="2051050"/>
                  <a:ext cx="36513" cy="52388"/>
                </a:xfrm>
                <a:custGeom>
                  <a:avLst/>
                  <a:gdLst>
                    <a:gd name="T0" fmla="*/ 13 w 42"/>
                    <a:gd name="T1" fmla="*/ 47 h 58"/>
                    <a:gd name="T2" fmla="*/ 27 w 42"/>
                    <a:gd name="T3" fmla="*/ 58 h 58"/>
                    <a:gd name="T4" fmla="*/ 30 w 42"/>
                    <a:gd name="T5" fmla="*/ 57 h 58"/>
                    <a:gd name="T6" fmla="*/ 41 w 42"/>
                    <a:gd name="T7" fmla="*/ 40 h 58"/>
                    <a:gd name="T8" fmla="*/ 30 w 42"/>
                    <a:gd name="T9" fmla="*/ 10 h 58"/>
                    <a:gd name="T10" fmla="*/ 11 w 42"/>
                    <a:gd name="T11" fmla="*/ 4 h 58"/>
                    <a:gd name="T12" fmla="*/ 4 w 42"/>
                    <a:gd name="T13" fmla="*/ 23 h 58"/>
                    <a:gd name="T14" fmla="*/ 13 w 42"/>
                    <a:gd name="T15" fmla="*/ 47 h 5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42" h="58">
                      <a:moveTo>
                        <a:pt x="13" y="47"/>
                      </a:moveTo>
                      <a:cubicBezTo>
                        <a:pt x="14" y="53"/>
                        <a:pt x="20" y="58"/>
                        <a:pt x="27" y="58"/>
                      </a:cubicBezTo>
                      <a:cubicBezTo>
                        <a:pt x="28" y="58"/>
                        <a:pt x="29" y="58"/>
                        <a:pt x="30" y="57"/>
                      </a:cubicBezTo>
                      <a:cubicBezTo>
                        <a:pt x="38" y="56"/>
                        <a:pt x="42" y="48"/>
                        <a:pt x="41" y="40"/>
                      </a:cubicBezTo>
                      <a:cubicBezTo>
                        <a:pt x="38" y="30"/>
                        <a:pt x="35" y="20"/>
                        <a:pt x="30" y="10"/>
                      </a:cubicBezTo>
                      <a:cubicBezTo>
                        <a:pt x="26" y="3"/>
                        <a:pt x="18" y="0"/>
                        <a:pt x="11" y="4"/>
                      </a:cubicBezTo>
                      <a:cubicBezTo>
                        <a:pt x="3" y="7"/>
                        <a:pt x="0" y="16"/>
                        <a:pt x="4" y="23"/>
                      </a:cubicBezTo>
                      <a:cubicBezTo>
                        <a:pt x="8" y="31"/>
                        <a:pt x="11" y="39"/>
                        <a:pt x="13" y="47"/>
                      </a:cubicBezTo>
                      <a:close/>
                    </a:path>
                  </a:pathLst>
                </a:custGeom>
                <a:solidFill>
                  <a:srgbClr val="4D4D4F"/>
                </a:solidFill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2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/>
                    <a:cs typeface=""/>
                  </a:endParaRPr>
                </a:p>
              </p:txBody>
            </p:sp>
            <p:sp>
              <p:nvSpPr>
                <p:cNvPr id="819" name="Freeform 22"/>
                <p:cNvSpPr>
                  <a:spLocks/>
                </p:cNvSpPr>
                <p:nvPr/>
              </p:nvSpPr>
              <p:spPr bwMode="auto">
                <a:xfrm>
                  <a:off x="4598988" y="1985963"/>
                  <a:ext cx="52388" cy="26988"/>
                </a:xfrm>
                <a:custGeom>
                  <a:avLst/>
                  <a:gdLst>
                    <a:gd name="T0" fmla="*/ 14 w 58"/>
                    <a:gd name="T1" fmla="*/ 29 h 29"/>
                    <a:gd name="T2" fmla="*/ 43 w 58"/>
                    <a:gd name="T3" fmla="*/ 29 h 29"/>
                    <a:gd name="T4" fmla="*/ 58 w 58"/>
                    <a:gd name="T5" fmla="*/ 15 h 29"/>
                    <a:gd name="T6" fmla="*/ 43 w 58"/>
                    <a:gd name="T7" fmla="*/ 0 h 29"/>
                    <a:gd name="T8" fmla="*/ 14 w 58"/>
                    <a:gd name="T9" fmla="*/ 0 h 29"/>
                    <a:gd name="T10" fmla="*/ 0 w 58"/>
                    <a:gd name="T11" fmla="*/ 15 h 29"/>
                    <a:gd name="T12" fmla="*/ 14 w 58"/>
                    <a:gd name="T13" fmla="*/ 29 h 2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58" h="29">
                      <a:moveTo>
                        <a:pt x="14" y="29"/>
                      </a:moveTo>
                      <a:cubicBezTo>
                        <a:pt x="43" y="29"/>
                        <a:pt x="43" y="29"/>
                        <a:pt x="43" y="29"/>
                      </a:cubicBezTo>
                      <a:cubicBezTo>
                        <a:pt x="51" y="29"/>
                        <a:pt x="58" y="23"/>
                        <a:pt x="58" y="15"/>
                      </a:cubicBezTo>
                      <a:cubicBezTo>
                        <a:pt x="58" y="7"/>
                        <a:pt x="51" y="0"/>
                        <a:pt x="43" y="0"/>
                      </a:cubicBezTo>
                      <a:cubicBezTo>
                        <a:pt x="14" y="0"/>
                        <a:pt x="14" y="0"/>
                        <a:pt x="14" y="0"/>
                      </a:cubicBezTo>
                      <a:cubicBezTo>
                        <a:pt x="6" y="0"/>
                        <a:pt x="0" y="7"/>
                        <a:pt x="0" y="15"/>
                      </a:cubicBezTo>
                      <a:cubicBezTo>
                        <a:pt x="0" y="23"/>
                        <a:pt x="6" y="29"/>
                        <a:pt x="14" y="29"/>
                      </a:cubicBezTo>
                      <a:close/>
                    </a:path>
                  </a:pathLst>
                </a:custGeom>
                <a:solidFill>
                  <a:srgbClr val="4D4D4F"/>
                </a:solidFill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2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/>
                    <a:cs typeface=""/>
                  </a:endParaRPr>
                </a:p>
              </p:txBody>
            </p:sp>
            <p:sp>
              <p:nvSpPr>
                <p:cNvPr id="820" name="Freeform 23"/>
                <p:cNvSpPr>
                  <a:spLocks/>
                </p:cNvSpPr>
                <p:nvPr/>
              </p:nvSpPr>
              <p:spPr bwMode="auto">
                <a:xfrm>
                  <a:off x="4676776" y="1985963"/>
                  <a:ext cx="50800" cy="26988"/>
                </a:xfrm>
                <a:custGeom>
                  <a:avLst/>
                  <a:gdLst>
                    <a:gd name="T0" fmla="*/ 15 w 58"/>
                    <a:gd name="T1" fmla="*/ 29 h 29"/>
                    <a:gd name="T2" fmla="*/ 43 w 58"/>
                    <a:gd name="T3" fmla="*/ 29 h 29"/>
                    <a:gd name="T4" fmla="*/ 58 w 58"/>
                    <a:gd name="T5" fmla="*/ 15 h 29"/>
                    <a:gd name="T6" fmla="*/ 43 w 58"/>
                    <a:gd name="T7" fmla="*/ 0 h 29"/>
                    <a:gd name="T8" fmla="*/ 15 w 58"/>
                    <a:gd name="T9" fmla="*/ 0 h 29"/>
                    <a:gd name="T10" fmla="*/ 0 w 58"/>
                    <a:gd name="T11" fmla="*/ 15 h 29"/>
                    <a:gd name="T12" fmla="*/ 15 w 58"/>
                    <a:gd name="T13" fmla="*/ 29 h 2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58" h="29">
                      <a:moveTo>
                        <a:pt x="15" y="29"/>
                      </a:moveTo>
                      <a:cubicBezTo>
                        <a:pt x="43" y="29"/>
                        <a:pt x="43" y="29"/>
                        <a:pt x="43" y="29"/>
                      </a:cubicBezTo>
                      <a:cubicBezTo>
                        <a:pt x="51" y="29"/>
                        <a:pt x="58" y="23"/>
                        <a:pt x="58" y="15"/>
                      </a:cubicBezTo>
                      <a:cubicBezTo>
                        <a:pt x="58" y="7"/>
                        <a:pt x="51" y="0"/>
                        <a:pt x="43" y="0"/>
                      </a:cubicBezTo>
                      <a:cubicBezTo>
                        <a:pt x="15" y="0"/>
                        <a:pt x="15" y="0"/>
                        <a:pt x="15" y="0"/>
                      </a:cubicBezTo>
                      <a:cubicBezTo>
                        <a:pt x="7" y="0"/>
                        <a:pt x="0" y="7"/>
                        <a:pt x="0" y="15"/>
                      </a:cubicBezTo>
                      <a:cubicBezTo>
                        <a:pt x="0" y="23"/>
                        <a:pt x="7" y="29"/>
                        <a:pt x="15" y="29"/>
                      </a:cubicBezTo>
                      <a:close/>
                    </a:path>
                  </a:pathLst>
                </a:custGeom>
                <a:solidFill>
                  <a:srgbClr val="4D4D4F"/>
                </a:solidFill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2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/>
                    <a:cs typeface=""/>
                  </a:endParaRPr>
                </a:p>
              </p:txBody>
            </p:sp>
            <p:sp>
              <p:nvSpPr>
                <p:cNvPr id="821" name="Freeform 24"/>
                <p:cNvSpPr>
                  <a:spLocks/>
                </p:cNvSpPr>
                <p:nvPr/>
              </p:nvSpPr>
              <p:spPr bwMode="auto">
                <a:xfrm>
                  <a:off x="4752976" y="1985963"/>
                  <a:ext cx="52388" cy="26988"/>
                </a:xfrm>
                <a:custGeom>
                  <a:avLst/>
                  <a:gdLst>
                    <a:gd name="T0" fmla="*/ 15 w 58"/>
                    <a:gd name="T1" fmla="*/ 29 h 29"/>
                    <a:gd name="T2" fmla="*/ 43 w 58"/>
                    <a:gd name="T3" fmla="*/ 29 h 29"/>
                    <a:gd name="T4" fmla="*/ 58 w 58"/>
                    <a:gd name="T5" fmla="*/ 15 h 29"/>
                    <a:gd name="T6" fmla="*/ 43 w 58"/>
                    <a:gd name="T7" fmla="*/ 0 h 29"/>
                    <a:gd name="T8" fmla="*/ 15 w 58"/>
                    <a:gd name="T9" fmla="*/ 0 h 29"/>
                    <a:gd name="T10" fmla="*/ 0 w 58"/>
                    <a:gd name="T11" fmla="*/ 15 h 29"/>
                    <a:gd name="T12" fmla="*/ 15 w 58"/>
                    <a:gd name="T13" fmla="*/ 29 h 2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58" h="29">
                      <a:moveTo>
                        <a:pt x="15" y="29"/>
                      </a:moveTo>
                      <a:cubicBezTo>
                        <a:pt x="43" y="29"/>
                        <a:pt x="43" y="29"/>
                        <a:pt x="43" y="29"/>
                      </a:cubicBezTo>
                      <a:cubicBezTo>
                        <a:pt x="51" y="29"/>
                        <a:pt x="58" y="23"/>
                        <a:pt x="58" y="15"/>
                      </a:cubicBezTo>
                      <a:cubicBezTo>
                        <a:pt x="58" y="7"/>
                        <a:pt x="51" y="0"/>
                        <a:pt x="43" y="0"/>
                      </a:cubicBezTo>
                      <a:cubicBezTo>
                        <a:pt x="15" y="0"/>
                        <a:pt x="15" y="0"/>
                        <a:pt x="15" y="0"/>
                      </a:cubicBezTo>
                      <a:cubicBezTo>
                        <a:pt x="7" y="0"/>
                        <a:pt x="0" y="7"/>
                        <a:pt x="0" y="15"/>
                      </a:cubicBezTo>
                      <a:cubicBezTo>
                        <a:pt x="0" y="23"/>
                        <a:pt x="7" y="29"/>
                        <a:pt x="15" y="29"/>
                      </a:cubicBezTo>
                      <a:close/>
                    </a:path>
                  </a:pathLst>
                </a:custGeom>
                <a:solidFill>
                  <a:srgbClr val="4D4D4F"/>
                </a:solidFill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2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/>
                    <a:cs typeface=""/>
                  </a:endParaRPr>
                </a:p>
              </p:txBody>
            </p:sp>
            <p:sp>
              <p:nvSpPr>
                <p:cNvPr id="822" name="Freeform 25"/>
                <p:cNvSpPr>
                  <a:spLocks/>
                </p:cNvSpPr>
                <p:nvPr/>
              </p:nvSpPr>
              <p:spPr bwMode="auto">
                <a:xfrm>
                  <a:off x="4471988" y="2349500"/>
                  <a:ext cx="26988" cy="52388"/>
                </a:xfrm>
                <a:custGeom>
                  <a:avLst/>
                  <a:gdLst>
                    <a:gd name="T0" fmla="*/ 30 w 31"/>
                    <a:gd name="T1" fmla="*/ 42 h 58"/>
                    <a:gd name="T2" fmla="*/ 29 w 31"/>
                    <a:gd name="T3" fmla="*/ 28 h 58"/>
                    <a:gd name="T4" fmla="*/ 29 w 31"/>
                    <a:gd name="T5" fmla="*/ 15 h 58"/>
                    <a:gd name="T6" fmla="*/ 14 w 31"/>
                    <a:gd name="T7" fmla="*/ 0 h 58"/>
                    <a:gd name="T8" fmla="*/ 0 w 31"/>
                    <a:gd name="T9" fmla="*/ 15 h 58"/>
                    <a:gd name="T10" fmla="*/ 0 w 31"/>
                    <a:gd name="T11" fmla="*/ 28 h 58"/>
                    <a:gd name="T12" fmla="*/ 1 w 31"/>
                    <a:gd name="T13" fmla="*/ 45 h 58"/>
                    <a:gd name="T14" fmla="*/ 15 w 31"/>
                    <a:gd name="T15" fmla="*/ 58 h 58"/>
                    <a:gd name="T16" fmla="*/ 17 w 31"/>
                    <a:gd name="T17" fmla="*/ 58 h 58"/>
                    <a:gd name="T18" fmla="*/ 30 w 31"/>
                    <a:gd name="T19" fmla="*/ 42 h 5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31" h="58">
                      <a:moveTo>
                        <a:pt x="30" y="42"/>
                      </a:moveTo>
                      <a:cubicBezTo>
                        <a:pt x="29" y="37"/>
                        <a:pt x="29" y="33"/>
                        <a:pt x="29" y="28"/>
                      </a:cubicBezTo>
                      <a:cubicBezTo>
                        <a:pt x="29" y="15"/>
                        <a:pt x="29" y="15"/>
                        <a:pt x="29" y="15"/>
                      </a:cubicBezTo>
                      <a:cubicBezTo>
                        <a:pt x="29" y="7"/>
                        <a:pt x="22" y="0"/>
                        <a:pt x="14" y="0"/>
                      </a:cubicBezTo>
                      <a:cubicBezTo>
                        <a:pt x="7" y="0"/>
                        <a:pt x="0" y="7"/>
                        <a:pt x="0" y="15"/>
                      </a:cubicBezTo>
                      <a:cubicBezTo>
                        <a:pt x="0" y="28"/>
                        <a:pt x="0" y="28"/>
                        <a:pt x="0" y="28"/>
                      </a:cubicBezTo>
                      <a:cubicBezTo>
                        <a:pt x="0" y="34"/>
                        <a:pt x="0" y="39"/>
                        <a:pt x="1" y="45"/>
                      </a:cubicBezTo>
                      <a:cubicBezTo>
                        <a:pt x="2" y="52"/>
                        <a:pt x="8" y="58"/>
                        <a:pt x="15" y="58"/>
                      </a:cubicBezTo>
                      <a:cubicBezTo>
                        <a:pt x="16" y="58"/>
                        <a:pt x="17" y="58"/>
                        <a:pt x="17" y="58"/>
                      </a:cubicBezTo>
                      <a:cubicBezTo>
                        <a:pt x="25" y="57"/>
                        <a:pt x="31" y="50"/>
                        <a:pt x="30" y="42"/>
                      </a:cubicBezTo>
                      <a:close/>
                    </a:path>
                  </a:pathLst>
                </a:custGeom>
                <a:solidFill>
                  <a:srgbClr val="4D4D4F"/>
                </a:solidFill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2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/>
                    <a:cs typeface=""/>
                  </a:endParaRPr>
                </a:p>
              </p:txBody>
            </p:sp>
            <p:sp>
              <p:nvSpPr>
                <p:cNvPr id="823" name="Freeform 26"/>
                <p:cNvSpPr>
                  <a:spLocks/>
                </p:cNvSpPr>
                <p:nvPr/>
              </p:nvSpPr>
              <p:spPr bwMode="auto">
                <a:xfrm>
                  <a:off x="4973638" y="2282825"/>
                  <a:ext cx="25400" cy="52388"/>
                </a:xfrm>
                <a:custGeom>
                  <a:avLst/>
                  <a:gdLst>
                    <a:gd name="T0" fmla="*/ 14 w 29"/>
                    <a:gd name="T1" fmla="*/ 0 h 58"/>
                    <a:gd name="T2" fmla="*/ 0 w 29"/>
                    <a:gd name="T3" fmla="*/ 15 h 58"/>
                    <a:gd name="T4" fmla="*/ 0 w 29"/>
                    <a:gd name="T5" fmla="*/ 44 h 58"/>
                    <a:gd name="T6" fmla="*/ 14 w 29"/>
                    <a:gd name="T7" fmla="*/ 58 h 58"/>
                    <a:gd name="T8" fmla="*/ 29 w 29"/>
                    <a:gd name="T9" fmla="*/ 44 h 58"/>
                    <a:gd name="T10" fmla="*/ 29 w 29"/>
                    <a:gd name="T11" fmla="*/ 15 h 58"/>
                    <a:gd name="T12" fmla="*/ 14 w 29"/>
                    <a:gd name="T13" fmla="*/ 0 h 5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9" h="58">
                      <a:moveTo>
                        <a:pt x="14" y="0"/>
                      </a:moveTo>
                      <a:cubicBezTo>
                        <a:pt x="6" y="0"/>
                        <a:pt x="0" y="7"/>
                        <a:pt x="0" y="15"/>
                      </a:cubicBezTo>
                      <a:cubicBezTo>
                        <a:pt x="0" y="44"/>
                        <a:pt x="0" y="44"/>
                        <a:pt x="0" y="44"/>
                      </a:cubicBezTo>
                      <a:cubicBezTo>
                        <a:pt x="0" y="52"/>
                        <a:pt x="6" y="58"/>
                        <a:pt x="14" y="58"/>
                      </a:cubicBezTo>
                      <a:cubicBezTo>
                        <a:pt x="22" y="58"/>
                        <a:pt x="29" y="52"/>
                        <a:pt x="29" y="44"/>
                      </a:cubicBezTo>
                      <a:cubicBezTo>
                        <a:pt x="29" y="15"/>
                        <a:pt x="29" y="15"/>
                        <a:pt x="29" y="15"/>
                      </a:cubicBezTo>
                      <a:cubicBezTo>
                        <a:pt x="29" y="7"/>
                        <a:pt x="22" y="0"/>
                        <a:pt x="14" y="0"/>
                      </a:cubicBezTo>
                      <a:close/>
                    </a:path>
                  </a:pathLst>
                </a:custGeom>
                <a:solidFill>
                  <a:srgbClr val="4D4D4F"/>
                </a:solidFill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2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/>
                    <a:cs typeface=""/>
                  </a:endParaRPr>
                </a:p>
              </p:txBody>
            </p:sp>
            <p:sp>
              <p:nvSpPr>
                <p:cNvPr id="824" name="Freeform 28"/>
                <p:cNvSpPr>
                  <a:spLocks/>
                </p:cNvSpPr>
                <p:nvPr/>
              </p:nvSpPr>
              <p:spPr bwMode="auto">
                <a:xfrm>
                  <a:off x="4927601" y="2432050"/>
                  <a:ext cx="47625" cy="46038"/>
                </a:xfrm>
                <a:custGeom>
                  <a:avLst/>
                  <a:gdLst>
                    <a:gd name="T0" fmla="*/ 25 w 53"/>
                    <a:gd name="T1" fmla="*/ 7 h 51"/>
                    <a:gd name="T2" fmla="*/ 7 w 53"/>
                    <a:gd name="T3" fmla="*/ 25 h 51"/>
                    <a:gd name="T4" fmla="*/ 5 w 53"/>
                    <a:gd name="T5" fmla="*/ 45 h 51"/>
                    <a:gd name="T6" fmla="*/ 16 w 53"/>
                    <a:gd name="T7" fmla="*/ 51 h 51"/>
                    <a:gd name="T8" fmla="*/ 25 w 53"/>
                    <a:gd name="T9" fmla="*/ 47 h 51"/>
                    <a:gd name="T10" fmla="*/ 48 w 53"/>
                    <a:gd name="T11" fmla="*/ 25 h 51"/>
                    <a:gd name="T12" fmla="*/ 45 w 53"/>
                    <a:gd name="T13" fmla="*/ 5 h 51"/>
                    <a:gd name="T14" fmla="*/ 25 w 53"/>
                    <a:gd name="T15" fmla="*/ 7 h 5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53" h="51">
                      <a:moveTo>
                        <a:pt x="25" y="7"/>
                      </a:moveTo>
                      <a:cubicBezTo>
                        <a:pt x="20" y="14"/>
                        <a:pt x="14" y="20"/>
                        <a:pt x="7" y="25"/>
                      </a:cubicBezTo>
                      <a:cubicBezTo>
                        <a:pt x="1" y="30"/>
                        <a:pt x="0" y="39"/>
                        <a:pt x="5" y="45"/>
                      </a:cubicBezTo>
                      <a:cubicBezTo>
                        <a:pt x="8" y="49"/>
                        <a:pt x="12" y="51"/>
                        <a:pt x="16" y="51"/>
                      </a:cubicBezTo>
                      <a:cubicBezTo>
                        <a:pt x="20" y="51"/>
                        <a:pt x="23" y="50"/>
                        <a:pt x="25" y="47"/>
                      </a:cubicBezTo>
                      <a:cubicBezTo>
                        <a:pt x="34" y="41"/>
                        <a:pt x="41" y="33"/>
                        <a:pt x="48" y="25"/>
                      </a:cubicBezTo>
                      <a:cubicBezTo>
                        <a:pt x="53" y="19"/>
                        <a:pt x="52" y="9"/>
                        <a:pt x="45" y="5"/>
                      </a:cubicBezTo>
                      <a:cubicBezTo>
                        <a:pt x="39" y="0"/>
                        <a:pt x="30" y="1"/>
                        <a:pt x="25" y="7"/>
                      </a:cubicBezTo>
                      <a:close/>
                    </a:path>
                  </a:pathLst>
                </a:custGeom>
                <a:solidFill>
                  <a:srgbClr val="4D4D4F"/>
                </a:solidFill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2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/>
                    <a:cs typeface=""/>
                  </a:endParaRPr>
                </a:p>
              </p:txBody>
            </p:sp>
            <p:sp>
              <p:nvSpPr>
                <p:cNvPr id="825" name="Freeform 29"/>
                <p:cNvSpPr>
                  <a:spLocks/>
                </p:cNvSpPr>
                <p:nvPr/>
              </p:nvSpPr>
              <p:spPr bwMode="auto">
                <a:xfrm>
                  <a:off x="4968876" y="2360613"/>
                  <a:ext cx="30163" cy="52388"/>
                </a:xfrm>
                <a:custGeom>
                  <a:avLst/>
                  <a:gdLst>
                    <a:gd name="T0" fmla="*/ 19 w 34"/>
                    <a:gd name="T1" fmla="*/ 0 h 58"/>
                    <a:gd name="T2" fmla="*/ 5 w 34"/>
                    <a:gd name="T3" fmla="*/ 15 h 58"/>
                    <a:gd name="T4" fmla="*/ 2 w 34"/>
                    <a:gd name="T5" fmla="*/ 40 h 58"/>
                    <a:gd name="T6" fmla="*/ 13 w 34"/>
                    <a:gd name="T7" fmla="*/ 58 h 58"/>
                    <a:gd name="T8" fmla="*/ 16 w 34"/>
                    <a:gd name="T9" fmla="*/ 58 h 58"/>
                    <a:gd name="T10" fmla="*/ 30 w 34"/>
                    <a:gd name="T11" fmla="*/ 47 h 58"/>
                    <a:gd name="T12" fmla="*/ 34 w 34"/>
                    <a:gd name="T13" fmla="*/ 15 h 58"/>
                    <a:gd name="T14" fmla="*/ 34 w 34"/>
                    <a:gd name="T15" fmla="*/ 14 h 58"/>
                    <a:gd name="T16" fmla="*/ 19 w 34"/>
                    <a:gd name="T17" fmla="*/ 0 h 5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34" h="58">
                      <a:moveTo>
                        <a:pt x="19" y="0"/>
                      </a:moveTo>
                      <a:cubicBezTo>
                        <a:pt x="11" y="0"/>
                        <a:pt x="5" y="7"/>
                        <a:pt x="5" y="15"/>
                      </a:cubicBezTo>
                      <a:cubicBezTo>
                        <a:pt x="5" y="24"/>
                        <a:pt x="4" y="32"/>
                        <a:pt x="2" y="40"/>
                      </a:cubicBezTo>
                      <a:cubicBezTo>
                        <a:pt x="0" y="48"/>
                        <a:pt x="5" y="56"/>
                        <a:pt x="13" y="58"/>
                      </a:cubicBezTo>
                      <a:cubicBezTo>
                        <a:pt x="14" y="58"/>
                        <a:pt x="15" y="58"/>
                        <a:pt x="16" y="58"/>
                      </a:cubicBezTo>
                      <a:cubicBezTo>
                        <a:pt x="23" y="58"/>
                        <a:pt x="29" y="53"/>
                        <a:pt x="30" y="47"/>
                      </a:cubicBezTo>
                      <a:cubicBezTo>
                        <a:pt x="32" y="36"/>
                        <a:pt x="34" y="26"/>
                        <a:pt x="34" y="15"/>
                      </a:cubicBezTo>
                      <a:cubicBezTo>
                        <a:pt x="34" y="14"/>
                        <a:pt x="34" y="14"/>
                        <a:pt x="34" y="14"/>
                      </a:cubicBezTo>
                      <a:cubicBezTo>
                        <a:pt x="34" y="6"/>
                        <a:pt x="27" y="0"/>
                        <a:pt x="19" y="0"/>
                      </a:cubicBezTo>
                      <a:close/>
                    </a:path>
                  </a:pathLst>
                </a:custGeom>
                <a:solidFill>
                  <a:srgbClr val="4D4D4F"/>
                </a:solidFill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2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/>
                    <a:cs typeface=""/>
                  </a:endParaRPr>
                </a:p>
              </p:txBody>
            </p:sp>
            <p:sp>
              <p:nvSpPr>
                <p:cNvPr id="826" name="Freeform 30"/>
                <p:cNvSpPr>
                  <a:spLocks/>
                </p:cNvSpPr>
                <p:nvPr/>
              </p:nvSpPr>
              <p:spPr bwMode="auto">
                <a:xfrm>
                  <a:off x="4973638" y="2205038"/>
                  <a:ext cx="25400" cy="52388"/>
                </a:xfrm>
                <a:custGeom>
                  <a:avLst/>
                  <a:gdLst>
                    <a:gd name="T0" fmla="*/ 14 w 29"/>
                    <a:gd name="T1" fmla="*/ 0 h 58"/>
                    <a:gd name="T2" fmla="*/ 0 w 29"/>
                    <a:gd name="T3" fmla="*/ 15 h 58"/>
                    <a:gd name="T4" fmla="*/ 0 w 29"/>
                    <a:gd name="T5" fmla="*/ 43 h 58"/>
                    <a:gd name="T6" fmla="*/ 14 w 29"/>
                    <a:gd name="T7" fmla="*/ 58 h 58"/>
                    <a:gd name="T8" fmla="*/ 29 w 29"/>
                    <a:gd name="T9" fmla="*/ 43 h 58"/>
                    <a:gd name="T10" fmla="*/ 29 w 29"/>
                    <a:gd name="T11" fmla="*/ 15 h 58"/>
                    <a:gd name="T12" fmla="*/ 14 w 29"/>
                    <a:gd name="T13" fmla="*/ 0 h 5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9" h="58">
                      <a:moveTo>
                        <a:pt x="14" y="0"/>
                      </a:moveTo>
                      <a:cubicBezTo>
                        <a:pt x="6" y="0"/>
                        <a:pt x="0" y="7"/>
                        <a:pt x="0" y="15"/>
                      </a:cubicBezTo>
                      <a:cubicBezTo>
                        <a:pt x="0" y="43"/>
                        <a:pt x="0" y="43"/>
                        <a:pt x="0" y="43"/>
                      </a:cubicBezTo>
                      <a:cubicBezTo>
                        <a:pt x="0" y="51"/>
                        <a:pt x="6" y="58"/>
                        <a:pt x="14" y="58"/>
                      </a:cubicBezTo>
                      <a:cubicBezTo>
                        <a:pt x="22" y="58"/>
                        <a:pt x="29" y="51"/>
                        <a:pt x="29" y="43"/>
                      </a:cubicBezTo>
                      <a:cubicBezTo>
                        <a:pt x="29" y="15"/>
                        <a:pt x="29" y="15"/>
                        <a:pt x="29" y="15"/>
                      </a:cubicBezTo>
                      <a:cubicBezTo>
                        <a:pt x="29" y="7"/>
                        <a:pt x="22" y="0"/>
                        <a:pt x="14" y="0"/>
                      </a:cubicBezTo>
                      <a:close/>
                    </a:path>
                  </a:pathLst>
                </a:custGeom>
                <a:solidFill>
                  <a:srgbClr val="4D4D4F"/>
                </a:solidFill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2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/>
                    <a:cs typeface=""/>
                  </a:endParaRPr>
                </a:p>
              </p:txBody>
            </p:sp>
            <p:sp>
              <p:nvSpPr>
                <p:cNvPr id="827" name="Freeform 31"/>
                <p:cNvSpPr>
                  <a:spLocks/>
                </p:cNvSpPr>
                <p:nvPr/>
              </p:nvSpPr>
              <p:spPr bwMode="auto">
                <a:xfrm>
                  <a:off x="4973638" y="2127250"/>
                  <a:ext cx="25400" cy="52388"/>
                </a:xfrm>
                <a:custGeom>
                  <a:avLst/>
                  <a:gdLst>
                    <a:gd name="T0" fmla="*/ 14 w 29"/>
                    <a:gd name="T1" fmla="*/ 0 h 58"/>
                    <a:gd name="T2" fmla="*/ 0 w 29"/>
                    <a:gd name="T3" fmla="*/ 15 h 58"/>
                    <a:gd name="T4" fmla="*/ 0 w 29"/>
                    <a:gd name="T5" fmla="*/ 43 h 58"/>
                    <a:gd name="T6" fmla="*/ 14 w 29"/>
                    <a:gd name="T7" fmla="*/ 58 h 58"/>
                    <a:gd name="T8" fmla="*/ 29 w 29"/>
                    <a:gd name="T9" fmla="*/ 43 h 58"/>
                    <a:gd name="T10" fmla="*/ 29 w 29"/>
                    <a:gd name="T11" fmla="*/ 15 h 58"/>
                    <a:gd name="T12" fmla="*/ 14 w 29"/>
                    <a:gd name="T13" fmla="*/ 0 h 5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9" h="58">
                      <a:moveTo>
                        <a:pt x="14" y="0"/>
                      </a:moveTo>
                      <a:cubicBezTo>
                        <a:pt x="6" y="0"/>
                        <a:pt x="0" y="7"/>
                        <a:pt x="0" y="15"/>
                      </a:cubicBezTo>
                      <a:cubicBezTo>
                        <a:pt x="0" y="43"/>
                        <a:pt x="0" y="43"/>
                        <a:pt x="0" y="43"/>
                      </a:cubicBezTo>
                      <a:cubicBezTo>
                        <a:pt x="0" y="51"/>
                        <a:pt x="6" y="58"/>
                        <a:pt x="14" y="58"/>
                      </a:cubicBezTo>
                      <a:cubicBezTo>
                        <a:pt x="22" y="58"/>
                        <a:pt x="29" y="51"/>
                        <a:pt x="29" y="43"/>
                      </a:cubicBezTo>
                      <a:cubicBezTo>
                        <a:pt x="29" y="15"/>
                        <a:pt x="29" y="15"/>
                        <a:pt x="29" y="15"/>
                      </a:cubicBezTo>
                      <a:cubicBezTo>
                        <a:pt x="29" y="7"/>
                        <a:pt x="22" y="0"/>
                        <a:pt x="14" y="0"/>
                      </a:cubicBezTo>
                      <a:close/>
                    </a:path>
                  </a:pathLst>
                </a:custGeom>
                <a:solidFill>
                  <a:srgbClr val="4D4D4F"/>
                </a:solidFill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2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/>
                    <a:cs typeface=""/>
                  </a:endParaRPr>
                </a:p>
              </p:txBody>
            </p:sp>
            <p:sp>
              <p:nvSpPr>
                <p:cNvPr id="828" name="Freeform 32"/>
                <p:cNvSpPr>
                  <a:spLocks/>
                </p:cNvSpPr>
                <p:nvPr/>
              </p:nvSpPr>
              <p:spPr bwMode="auto">
                <a:xfrm>
                  <a:off x="4546601" y="2470150"/>
                  <a:ext cx="53975" cy="33338"/>
                </a:xfrm>
                <a:custGeom>
                  <a:avLst/>
                  <a:gdLst>
                    <a:gd name="T0" fmla="*/ 46 w 60"/>
                    <a:gd name="T1" fmla="*/ 8 h 37"/>
                    <a:gd name="T2" fmla="*/ 21 w 60"/>
                    <a:gd name="T3" fmla="*/ 2 h 37"/>
                    <a:gd name="T4" fmla="*/ 3 w 60"/>
                    <a:gd name="T5" fmla="*/ 11 h 37"/>
                    <a:gd name="T6" fmla="*/ 12 w 60"/>
                    <a:gd name="T7" fmla="*/ 30 h 37"/>
                    <a:gd name="T8" fmla="*/ 43 w 60"/>
                    <a:gd name="T9" fmla="*/ 37 h 37"/>
                    <a:gd name="T10" fmla="*/ 44 w 60"/>
                    <a:gd name="T11" fmla="*/ 37 h 37"/>
                    <a:gd name="T12" fmla="*/ 59 w 60"/>
                    <a:gd name="T13" fmla="*/ 24 h 37"/>
                    <a:gd name="T14" fmla="*/ 46 w 60"/>
                    <a:gd name="T15" fmla="*/ 8 h 3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60" h="37">
                      <a:moveTo>
                        <a:pt x="46" y="8"/>
                      </a:moveTo>
                      <a:cubicBezTo>
                        <a:pt x="38" y="7"/>
                        <a:pt x="29" y="5"/>
                        <a:pt x="21" y="2"/>
                      </a:cubicBezTo>
                      <a:cubicBezTo>
                        <a:pt x="14" y="0"/>
                        <a:pt x="6" y="4"/>
                        <a:pt x="3" y="11"/>
                      </a:cubicBezTo>
                      <a:cubicBezTo>
                        <a:pt x="0" y="19"/>
                        <a:pt x="4" y="27"/>
                        <a:pt x="12" y="30"/>
                      </a:cubicBezTo>
                      <a:cubicBezTo>
                        <a:pt x="22" y="33"/>
                        <a:pt x="32" y="36"/>
                        <a:pt x="43" y="37"/>
                      </a:cubicBezTo>
                      <a:cubicBezTo>
                        <a:pt x="43" y="37"/>
                        <a:pt x="44" y="37"/>
                        <a:pt x="44" y="37"/>
                      </a:cubicBezTo>
                      <a:cubicBezTo>
                        <a:pt x="51" y="37"/>
                        <a:pt x="58" y="32"/>
                        <a:pt x="59" y="24"/>
                      </a:cubicBezTo>
                      <a:cubicBezTo>
                        <a:pt x="60" y="16"/>
                        <a:pt x="54" y="9"/>
                        <a:pt x="46" y="8"/>
                      </a:cubicBezTo>
                      <a:close/>
                    </a:path>
                  </a:pathLst>
                </a:custGeom>
                <a:solidFill>
                  <a:srgbClr val="4D4D4F"/>
                </a:solidFill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2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/>
                    <a:cs typeface=""/>
                  </a:endParaRPr>
                </a:p>
              </p:txBody>
            </p:sp>
            <p:sp>
              <p:nvSpPr>
                <p:cNvPr id="829" name="Freeform 33"/>
                <p:cNvSpPr>
                  <a:spLocks/>
                </p:cNvSpPr>
                <p:nvPr/>
              </p:nvSpPr>
              <p:spPr bwMode="auto">
                <a:xfrm>
                  <a:off x="4781551" y="2478088"/>
                  <a:ext cx="50800" cy="25400"/>
                </a:xfrm>
                <a:custGeom>
                  <a:avLst/>
                  <a:gdLst>
                    <a:gd name="T0" fmla="*/ 43 w 57"/>
                    <a:gd name="T1" fmla="*/ 0 h 29"/>
                    <a:gd name="T2" fmla="*/ 14 w 57"/>
                    <a:gd name="T3" fmla="*/ 0 h 29"/>
                    <a:gd name="T4" fmla="*/ 0 w 57"/>
                    <a:gd name="T5" fmla="*/ 15 h 29"/>
                    <a:gd name="T6" fmla="*/ 14 w 57"/>
                    <a:gd name="T7" fmla="*/ 29 h 29"/>
                    <a:gd name="T8" fmla="*/ 43 w 57"/>
                    <a:gd name="T9" fmla="*/ 29 h 29"/>
                    <a:gd name="T10" fmla="*/ 57 w 57"/>
                    <a:gd name="T11" fmla="*/ 15 h 29"/>
                    <a:gd name="T12" fmla="*/ 43 w 57"/>
                    <a:gd name="T13" fmla="*/ 0 h 2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57" h="29">
                      <a:moveTo>
                        <a:pt x="43" y="0"/>
                      </a:moveTo>
                      <a:cubicBezTo>
                        <a:pt x="14" y="0"/>
                        <a:pt x="14" y="0"/>
                        <a:pt x="14" y="0"/>
                      </a:cubicBezTo>
                      <a:cubicBezTo>
                        <a:pt x="6" y="0"/>
                        <a:pt x="0" y="7"/>
                        <a:pt x="0" y="15"/>
                      </a:cubicBezTo>
                      <a:cubicBezTo>
                        <a:pt x="0" y="23"/>
                        <a:pt x="6" y="29"/>
                        <a:pt x="14" y="29"/>
                      </a:cubicBezTo>
                      <a:cubicBezTo>
                        <a:pt x="43" y="29"/>
                        <a:pt x="43" y="29"/>
                        <a:pt x="43" y="29"/>
                      </a:cubicBezTo>
                      <a:cubicBezTo>
                        <a:pt x="51" y="29"/>
                        <a:pt x="57" y="23"/>
                        <a:pt x="57" y="15"/>
                      </a:cubicBezTo>
                      <a:cubicBezTo>
                        <a:pt x="57" y="7"/>
                        <a:pt x="51" y="0"/>
                        <a:pt x="43" y="0"/>
                      </a:cubicBezTo>
                      <a:close/>
                    </a:path>
                  </a:pathLst>
                </a:custGeom>
                <a:solidFill>
                  <a:srgbClr val="4D4D4F"/>
                </a:solidFill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2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/>
                    <a:cs typeface=""/>
                  </a:endParaRPr>
                </a:p>
              </p:txBody>
            </p:sp>
            <p:sp>
              <p:nvSpPr>
                <p:cNvPr id="830" name="Freeform 34"/>
                <p:cNvSpPr>
                  <a:spLocks/>
                </p:cNvSpPr>
                <p:nvPr/>
              </p:nvSpPr>
              <p:spPr bwMode="auto">
                <a:xfrm>
                  <a:off x="4703763" y="2478088"/>
                  <a:ext cx="50800" cy="25400"/>
                </a:xfrm>
                <a:custGeom>
                  <a:avLst/>
                  <a:gdLst>
                    <a:gd name="T0" fmla="*/ 44 w 58"/>
                    <a:gd name="T1" fmla="*/ 0 h 29"/>
                    <a:gd name="T2" fmla="*/ 15 w 58"/>
                    <a:gd name="T3" fmla="*/ 0 h 29"/>
                    <a:gd name="T4" fmla="*/ 0 w 58"/>
                    <a:gd name="T5" fmla="*/ 15 h 29"/>
                    <a:gd name="T6" fmla="*/ 15 w 58"/>
                    <a:gd name="T7" fmla="*/ 29 h 29"/>
                    <a:gd name="T8" fmla="*/ 44 w 58"/>
                    <a:gd name="T9" fmla="*/ 29 h 29"/>
                    <a:gd name="T10" fmla="*/ 58 w 58"/>
                    <a:gd name="T11" fmla="*/ 15 h 29"/>
                    <a:gd name="T12" fmla="*/ 44 w 58"/>
                    <a:gd name="T13" fmla="*/ 0 h 2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58" h="29">
                      <a:moveTo>
                        <a:pt x="44" y="0"/>
                      </a:moveTo>
                      <a:cubicBezTo>
                        <a:pt x="15" y="0"/>
                        <a:pt x="15" y="0"/>
                        <a:pt x="15" y="0"/>
                      </a:cubicBezTo>
                      <a:cubicBezTo>
                        <a:pt x="7" y="0"/>
                        <a:pt x="0" y="7"/>
                        <a:pt x="0" y="15"/>
                      </a:cubicBezTo>
                      <a:cubicBezTo>
                        <a:pt x="0" y="23"/>
                        <a:pt x="7" y="29"/>
                        <a:pt x="15" y="29"/>
                      </a:cubicBezTo>
                      <a:cubicBezTo>
                        <a:pt x="44" y="29"/>
                        <a:pt x="44" y="29"/>
                        <a:pt x="44" y="29"/>
                      </a:cubicBezTo>
                      <a:cubicBezTo>
                        <a:pt x="51" y="29"/>
                        <a:pt x="58" y="23"/>
                        <a:pt x="58" y="15"/>
                      </a:cubicBezTo>
                      <a:cubicBezTo>
                        <a:pt x="58" y="7"/>
                        <a:pt x="51" y="0"/>
                        <a:pt x="44" y="0"/>
                      </a:cubicBezTo>
                      <a:close/>
                    </a:path>
                  </a:pathLst>
                </a:custGeom>
                <a:solidFill>
                  <a:srgbClr val="4D4D4F"/>
                </a:solidFill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2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/>
                    <a:cs typeface=""/>
                  </a:endParaRPr>
                </a:p>
              </p:txBody>
            </p:sp>
            <p:sp>
              <p:nvSpPr>
                <p:cNvPr id="831" name="Freeform 35"/>
                <p:cNvSpPr>
                  <a:spLocks/>
                </p:cNvSpPr>
                <p:nvPr/>
              </p:nvSpPr>
              <p:spPr bwMode="auto">
                <a:xfrm>
                  <a:off x="4625976" y="2478088"/>
                  <a:ext cx="52388" cy="25400"/>
                </a:xfrm>
                <a:custGeom>
                  <a:avLst/>
                  <a:gdLst>
                    <a:gd name="T0" fmla="*/ 43 w 58"/>
                    <a:gd name="T1" fmla="*/ 0 h 29"/>
                    <a:gd name="T2" fmla="*/ 15 w 58"/>
                    <a:gd name="T3" fmla="*/ 0 h 29"/>
                    <a:gd name="T4" fmla="*/ 0 w 58"/>
                    <a:gd name="T5" fmla="*/ 15 h 29"/>
                    <a:gd name="T6" fmla="*/ 15 w 58"/>
                    <a:gd name="T7" fmla="*/ 29 h 29"/>
                    <a:gd name="T8" fmla="*/ 43 w 58"/>
                    <a:gd name="T9" fmla="*/ 29 h 29"/>
                    <a:gd name="T10" fmla="*/ 58 w 58"/>
                    <a:gd name="T11" fmla="*/ 15 h 29"/>
                    <a:gd name="T12" fmla="*/ 43 w 58"/>
                    <a:gd name="T13" fmla="*/ 0 h 2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58" h="29">
                      <a:moveTo>
                        <a:pt x="43" y="0"/>
                      </a:moveTo>
                      <a:cubicBezTo>
                        <a:pt x="15" y="0"/>
                        <a:pt x="15" y="0"/>
                        <a:pt x="15" y="0"/>
                      </a:cubicBezTo>
                      <a:cubicBezTo>
                        <a:pt x="7" y="0"/>
                        <a:pt x="0" y="7"/>
                        <a:pt x="0" y="15"/>
                      </a:cubicBezTo>
                      <a:cubicBezTo>
                        <a:pt x="0" y="23"/>
                        <a:pt x="7" y="29"/>
                        <a:pt x="15" y="29"/>
                      </a:cubicBezTo>
                      <a:cubicBezTo>
                        <a:pt x="43" y="29"/>
                        <a:pt x="43" y="29"/>
                        <a:pt x="43" y="29"/>
                      </a:cubicBezTo>
                      <a:cubicBezTo>
                        <a:pt x="51" y="29"/>
                        <a:pt x="58" y="23"/>
                        <a:pt x="58" y="15"/>
                      </a:cubicBezTo>
                      <a:cubicBezTo>
                        <a:pt x="58" y="7"/>
                        <a:pt x="51" y="0"/>
                        <a:pt x="43" y="0"/>
                      </a:cubicBezTo>
                      <a:close/>
                    </a:path>
                  </a:pathLst>
                </a:custGeom>
                <a:solidFill>
                  <a:srgbClr val="4D4D4F"/>
                </a:solidFill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2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/>
                    <a:cs typeface=""/>
                  </a:endParaRPr>
                </a:p>
              </p:txBody>
            </p:sp>
            <p:sp>
              <p:nvSpPr>
                <p:cNvPr id="832" name="Freeform 38"/>
                <p:cNvSpPr>
                  <a:spLocks/>
                </p:cNvSpPr>
                <p:nvPr/>
              </p:nvSpPr>
              <p:spPr bwMode="auto">
                <a:xfrm>
                  <a:off x="4859338" y="2473325"/>
                  <a:ext cx="52388" cy="30163"/>
                </a:xfrm>
                <a:custGeom>
                  <a:avLst/>
                  <a:gdLst>
                    <a:gd name="T0" fmla="*/ 39 w 58"/>
                    <a:gd name="T1" fmla="*/ 2 h 34"/>
                    <a:gd name="T2" fmla="*/ 14 w 58"/>
                    <a:gd name="T3" fmla="*/ 5 h 34"/>
                    <a:gd name="T4" fmla="*/ 0 w 58"/>
                    <a:gd name="T5" fmla="*/ 20 h 34"/>
                    <a:gd name="T6" fmla="*/ 14 w 58"/>
                    <a:gd name="T7" fmla="*/ 34 h 34"/>
                    <a:gd name="T8" fmla="*/ 14 w 58"/>
                    <a:gd name="T9" fmla="*/ 34 h 34"/>
                    <a:gd name="T10" fmla="*/ 46 w 58"/>
                    <a:gd name="T11" fmla="*/ 30 h 34"/>
                    <a:gd name="T12" fmla="*/ 56 w 58"/>
                    <a:gd name="T13" fmla="*/ 12 h 34"/>
                    <a:gd name="T14" fmla="*/ 39 w 58"/>
                    <a:gd name="T15" fmla="*/ 2 h 3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58" h="34">
                      <a:moveTo>
                        <a:pt x="39" y="2"/>
                      </a:moveTo>
                      <a:cubicBezTo>
                        <a:pt x="31" y="4"/>
                        <a:pt x="22" y="5"/>
                        <a:pt x="14" y="5"/>
                      </a:cubicBezTo>
                      <a:cubicBezTo>
                        <a:pt x="6" y="5"/>
                        <a:pt x="0" y="12"/>
                        <a:pt x="0" y="20"/>
                      </a:cubicBezTo>
                      <a:cubicBezTo>
                        <a:pt x="0" y="28"/>
                        <a:pt x="6" y="34"/>
                        <a:pt x="14" y="34"/>
                      </a:cubicBezTo>
                      <a:cubicBezTo>
                        <a:pt x="14" y="34"/>
                        <a:pt x="14" y="34"/>
                        <a:pt x="14" y="34"/>
                      </a:cubicBezTo>
                      <a:cubicBezTo>
                        <a:pt x="25" y="34"/>
                        <a:pt x="36" y="32"/>
                        <a:pt x="46" y="30"/>
                      </a:cubicBezTo>
                      <a:cubicBezTo>
                        <a:pt x="54" y="28"/>
                        <a:pt x="58" y="20"/>
                        <a:pt x="56" y="12"/>
                      </a:cubicBezTo>
                      <a:cubicBezTo>
                        <a:pt x="55" y="5"/>
                        <a:pt x="47" y="0"/>
                        <a:pt x="39" y="2"/>
                      </a:cubicBezTo>
                      <a:close/>
                    </a:path>
                  </a:pathLst>
                </a:custGeom>
                <a:solidFill>
                  <a:srgbClr val="4D4D4F"/>
                </a:solidFill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2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/>
                    <a:cs typeface=""/>
                  </a:endParaRPr>
                </a:p>
              </p:txBody>
            </p:sp>
          </p:grpSp>
          <p:sp>
            <p:nvSpPr>
              <p:cNvPr id="808" name="Rounded Rectangle 807"/>
              <p:cNvSpPr/>
              <p:nvPr/>
            </p:nvSpPr>
            <p:spPr>
              <a:xfrm>
                <a:off x="5359901" y="2386601"/>
                <a:ext cx="308105" cy="310923"/>
              </a:xfrm>
              <a:prstGeom prst="roundRect">
                <a:avLst/>
              </a:prstGeom>
              <a:solidFill>
                <a:srgbClr val="F79646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"/>
                  <a:cs typeface=""/>
                </a:endParaRPr>
              </a:p>
            </p:txBody>
          </p:sp>
          <p:sp>
            <p:nvSpPr>
              <p:cNvPr id="809" name="Freeform 12"/>
              <p:cNvSpPr>
                <a:spLocks noEditPoints="1"/>
              </p:cNvSpPr>
              <p:nvPr/>
            </p:nvSpPr>
            <p:spPr bwMode="auto">
              <a:xfrm>
                <a:off x="5406483" y="2446478"/>
                <a:ext cx="214941" cy="191168"/>
              </a:xfrm>
              <a:custGeom>
                <a:avLst/>
                <a:gdLst>
                  <a:gd name="T0" fmla="*/ 419 w 494"/>
                  <a:gd name="T1" fmla="*/ 299 h 448"/>
                  <a:gd name="T2" fmla="*/ 403 w 494"/>
                  <a:gd name="T3" fmla="*/ 301 h 448"/>
                  <a:gd name="T4" fmla="*/ 302 w 494"/>
                  <a:gd name="T5" fmla="*/ 126 h 448"/>
                  <a:gd name="T6" fmla="*/ 322 w 494"/>
                  <a:gd name="T7" fmla="*/ 75 h 448"/>
                  <a:gd name="T8" fmla="*/ 247 w 494"/>
                  <a:gd name="T9" fmla="*/ 0 h 448"/>
                  <a:gd name="T10" fmla="*/ 173 w 494"/>
                  <a:gd name="T11" fmla="*/ 75 h 448"/>
                  <a:gd name="T12" fmla="*/ 193 w 494"/>
                  <a:gd name="T13" fmla="*/ 126 h 448"/>
                  <a:gd name="T14" fmla="*/ 91 w 494"/>
                  <a:gd name="T15" fmla="*/ 301 h 448"/>
                  <a:gd name="T16" fmla="*/ 75 w 494"/>
                  <a:gd name="T17" fmla="*/ 299 h 448"/>
                  <a:gd name="T18" fmla="*/ 0 w 494"/>
                  <a:gd name="T19" fmla="*/ 373 h 448"/>
                  <a:gd name="T20" fmla="*/ 75 w 494"/>
                  <a:gd name="T21" fmla="*/ 448 h 448"/>
                  <a:gd name="T22" fmla="*/ 146 w 494"/>
                  <a:gd name="T23" fmla="*/ 395 h 448"/>
                  <a:gd name="T24" fmla="*/ 349 w 494"/>
                  <a:gd name="T25" fmla="*/ 395 h 448"/>
                  <a:gd name="T26" fmla="*/ 419 w 494"/>
                  <a:gd name="T27" fmla="*/ 448 h 448"/>
                  <a:gd name="T28" fmla="*/ 494 w 494"/>
                  <a:gd name="T29" fmla="*/ 373 h 448"/>
                  <a:gd name="T30" fmla="*/ 419 w 494"/>
                  <a:gd name="T31" fmla="*/ 299 h 448"/>
                  <a:gd name="T32" fmla="*/ 349 w 494"/>
                  <a:gd name="T33" fmla="*/ 351 h 448"/>
                  <a:gd name="T34" fmla="*/ 146 w 494"/>
                  <a:gd name="T35" fmla="*/ 351 h 448"/>
                  <a:gd name="T36" fmla="*/ 130 w 494"/>
                  <a:gd name="T37" fmla="*/ 323 h 448"/>
                  <a:gd name="T38" fmla="*/ 231 w 494"/>
                  <a:gd name="T39" fmla="*/ 148 h 448"/>
                  <a:gd name="T40" fmla="*/ 247 w 494"/>
                  <a:gd name="T41" fmla="*/ 150 h 448"/>
                  <a:gd name="T42" fmla="*/ 264 w 494"/>
                  <a:gd name="T43" fmla="*/ 148 h 448"/>
                  <a:gd name="T44" fmla="*/ 365 w 494"/>
                  <a:gd name="T45" fmla="*/ 323 h 448"/>
                  <a:gd name="T46" fmla="*/ 349 w 494"/>
                  <a:gd name="T47" fmla="*/ 351 h 4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494" h="448">
                    <a:moveTo>
                      <a:pt x="419" y="299"/>
                    </a:moveTo>
                    <a:cubicBezTo>
                      <a:pt x="414" y="299"/>
                      <a:pt x="408" y="300"/>
                      <a:pt x="403" y="301"/>
                    </a:cubicBezTo>
                    <a:cubicBezTo>
                      <a:pt x="302" y="126"/>
                      <a:pt x="302" y="126"/>
                      <a:pt x="302" y="126"/>
                    </a:cubicBezTo>
                    <a:cubicBezTo>
                      <a:pt x="314" y="112"/>
                      <a:pt x="322" y="95"/>
                      <a:pt x="322" y="75"/>
                    </a:cubicBezTo>
                    <a:cubicBezTo>
                      <a:pt x="322" y="34"/>
                      <a:pt x="288" y="0"/>
                      <a:pt x="247" y="0"/>
                    </a:cubicBezTo>
                    <a:cubicBezTo>
                      <a:pt x="206" y="0"/>
                      <a:pt x="173" y="34"/>
                      <a:pt x="173" y="75"/>
                    </a:cubicBezTo>
                    <a:cubicBezTo>
                      <a:pt x="173" y="95"/>
                      <a:pt x="180" y="112"/>
                      <a:pt x="193" y="126"/>
                    </a:cubicBezTo>
                    <a:cubicBezTo>
                      <a:pt x="91" y="301"/>
                      <a:pt x="91" y="301"/>
                      <a:pt x="91" y="301"/>
                    </a:cubicBezTo>
                    <a:cubicBezTo>
                      <a:pt x="86" y="300"/>
                      <a:pt x="81" y="299"/>
                      <a:pt x="75" y="299"/>
                    </a:cubicBezTo>
                    <a:cubicBezTo>
                      <a:pt x="34" y="299"/>
                      <a:pt x="0" y="332"/>
                      <a:pt x="0" y="373"/>
                    </a:cubicBezTo>
                    <a:cubicBezTo>
                      <a:pt x="0" y="415"/>
                      <a:pt x="34" y="448"/>
                      <a:pt x="75" y="448"/>
                    </a:cubicBezTo>
                    <a:cubicBezTo>
                      <a:pt x="108" y="448"/>
                      <a:pt x="136" y="426"/>
                      <a:pt x="146" y="395"/>
                    </a:cubicBezTo>
                    <a:cubicBezTo>
                      <a:pt x="349" y="395"/>
                      <a:pt x="349" y="395"/>
                      <a:pt x="349" y="395"/>
                    </a:cubicBezTo>
                    <a:cubicBezTo>
                      <a:pt x="358" y="426"/>
                      <a:pt x="386" y="448"/>
                      <a:pt x="419" y="448"/>
                    </a:cubicBezTo>
                    <a:cubicBezTo>
                      <a:pt x="461" y="448"/>
                      <a:pt x="494" y="415"/>
                      <a:pt x="494" y="373"/>
                    </a:cubicBezTo>
                    <a:cubicBezTo>
                      <a:pt x="494" y="332"/>
                      <a:pt x="461" y="299"/>
                      <a:pt x="419" y="299"/>
                    </a:cubicBezTo>
                    <a:close/>
                    <a:moveTo>
                      <a:pt x="349" y="351"/>
                    </a:moveTo>
                    <a:cubicBezTo>
                      <a:pt x="146" y="351"/>
                      <a:pt x="146" y="351"/>
                      <a:pt x="146" y="351"/>
                    </a:cubicBezTo>
                    <a:cubicBezTo>
                      <a:pt x="142" y="341"/>
                      <a:pt x="137" y="331"/>
                      <a:pt x="130" y="323"/>
                    </a:cubicBezTo>
                    <a:cubicBezTo>
                      <a:pt x="231" y="148"/>
                      <a:pt x="231" y="148"/>
                      <a:pt x="231" y="148"/>
                    </a:cubicBezTo>
                    <a:cubicBezTo>
                      <a:pt x="236" y="149"/>
                      <a:pt x="242" y="150"/>
                      <a:pt x="247" y="150"/>
                    </a:cubicBezTo>
                    <a:cubicBezTo>
                      <a:pt x="253" y="150"/>
                      <a:pt x="258" y="149"/>
                      <a:pt x="264" y="148"/>
                    </a:cubicBezTo>
                    <a:cubicBezTo>
                      <a:pt x="365" y="323"/>
                      <a:pt x="365" y="323"/>
                      <a:pt x="365" y="323"/>
                    </a:cubicBezTo>
                    <a:cubicBezTo>
                      <a:pt x="358" y="331"/>
                      <a:pt x="352" y="341"/>
                      <a:pt x="349" y="351"/>
                    </a:cubicBezTo>
                    <a:close/>
                  </a:path>
                </a:pathLst>
              </a:custGeom>
              <a:solidFill>
                <a:sysClr val="window" lastClr="FFFFFF"/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cs typeface=""/>
                </a:endParaRPr>
              </a:p>
            </p:txBody>
          </p:sp>
        </p:grpSp>
        <p:grpSp>
          <p:nvGrpSpPr>
            <p:cNvPr id="698" name="Group 697"/>
            <p:cNvGrpSpPr/>
            <p:nvPr/>
          </p:nvGrpSpPr>
          <p:grpSpPr>
            <a:xfrm>
              <a:off x="4386023" y="3006794"/>
              <a:ext cx="323368" cy="283709"/>
              <a:chOff x="5310724" y="2352924"/>
              <a:chExt cx="398754" cy="374816"/>
            </a:xfrm>
          </p:grpSpPr>
          <p:grpSp>
            <p:nvGrpSpPr>
              <p:cNvPr id="781" name="Group 780"/>
              <p:cNvGrpSpPr/>
              <p:nvPr/>
            </p:nvGrpSpPr>
            <p:grpSpPr>
              <a:xfrm rot="5400000">
                <a:off x="5322693" y="2340955"/>
                <a:ext cx="374816" cy="398754"/>
                <a:chOff x="4471988" y="1985963"/>
                <a:chExt cx="527051" cy="517525"/>
              </a:xfrm>
            </p:grpSpPr>
            <p:sp>
              <p:nvSpPr>
                <p:cNvPr id="784" name="Freeform 13"/>
                <p:cNvSpPr>
                  <a:spLocks/>
                </p:cNvSpPr>
                <p:nvPr/>
              </p:nvSpPr>
              <p:spPr bwMode="auto">
                <a:xfrm>
                  <a:off x="4471988" y="2117725"/>
                  <a:ext cx="25400" cy="50800"/>
                </a:xfrm>
                <a:custGeom>
                  <a:avLst/>
                  <a:gdLst>
                    <a:gd name="T0" fmla="*/ 14 w 29"/>
                    <a:gd name="T1" fmla="*/ 57 h 57"/>
                    <a:gd name="T2" fmla="*/ 29 w 29"/>
                    <a:gd name="T3" fmla="*/ 43 h 57"/>
                    <a:gd name="T4" fmla="*/ 29 w 29"/>
                    <a:gd name="T5" fmla="*/ 14 h 57"/>
                    <a:gd name="T6" fmla="*/ 14 w 29"/>
                    <a:gd name="T7" fmla="*/ 0 h 57"/>
                    <a:gd name="T8" fmla="*/ 0 w 29"/>
                    <a:gd name="T9" fmla="*/ 14 h 57"/>
                    <a:gd name="T10" fmla="*/ 0 w 29"/>
                    <a:gd name="T11" fmla="*/ 43 h 57"/>
                    <a:gd name="T12" fmla="*/ 14 w 29"/>
                    <a:gd name="T13" fmla="*/ 57 h 5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9" h="57">
                      <a:moveTo>
                        <a:pt x="14" y="57"/>
                      </a:moveTo>
                      <a:cubicBezTo>
                        <a:pt x="22" y="57"/>
                        <a:pt x="29" y="51"/>
                        <a:pt x="29" y="43"/>
                      </a:cubicBezTo>
                      <a:cubicBezTo>
                        <a:pt x="29" y="14"/>
                        <a:pt x="29" y="14"/>
                        <a:pt x="29" y="14"/>
                      </a:cubicBezTo>
                      <a:cubicBezTo>
                        <a:pt x="29" y="6"/>
                        <a:pt x="22" y="0"/>
                        <a:pt x="14" y="0"/>
                      </a:cubicBezTo>
                      <a:cubicBezTo>
                        <a:pt x="7" y="0"/>
                        <a:pt x="0" y="6"/>
                        <a:pt x="0" y="14"/>
                      </a:cubicBezTo>
                      <a:cubicBezTo>
                        <a:pt x="0" y="43"/>
                        <a:pt x="0" y="43"/>
                        <a:pt x="0" y="43"/>
                      </a:cubicBezTo>
                      <a:cubicBezTo>
                        <a:pt x="0" y="51"/>
                        <a:pt x="7" y="57"/>
                        <a:pt x="14" y="57"/>
                      </a:cubicBezTo>
                      <a:close/>
                    </a:path>
                  </a:pathLst>
                </a:custGeom>
                <a:solidFill>
                  <a:srgbClr val="4D4D4F"/>
                </a:solidFill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2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/>
                    <a:cs typeface=""/>
                  </a:endParaRPr>
                </a:p>
              </p:txBody>
            </p:sp>
            <p:sp>
              <p:nvSpPr>
                <p:cNvPr id="785" name="Freeform 14"/>
                <p:cNvSpPr>
                  <a:spLocks/>
                </p:cNvSpPr>
                <p:nvPr/>
              </p:nvSpPr>
              <p:spPr bwMode="auto">
                <a:xfrm>
                  <a:off x="4471988" y="2271713"/>
                  <a:ext cx="25400" cy="52388"/>
                </a:xfrm>
                <a:custGeom>
                  <a:avLst/>
                  <a:gdLst>
                    <a:gd name="T0" fmla="*/ 14 w 29"/>
                    <a:gd name="T1" fmla="*/ 58 h 58"/>
                    <a:gd name="T2" fmla="*/ 29 w 29"/>
                    <a:gd name="T3" fmla="*/ 43 h 58"/>
                    <a:gd name="T4" fmla="*/ 29 w 29"/>
                    <a:gd name="T5" fmla="*/ 15 h 58"/>
                    <a:gd name="T6" fmla="*/ 14 w 29"/>
                    <a:gd name="T7" fmla="*/ 0 h 58"/>
                    <a:gd name="T8" fmla="*/ 0 w 29"/>
                    <a:gd name="T9" fmla="*/ 15 h 58"/>
                    <a:gd name="T10" fmla="*/ 0 w 29"/>
                    <a:gd name="T11" fmla="*/ 43 h 58"/>
                    <a:gd name="T12" fmla="*/ 14 w 29"/>
                    <a:gd name="T13" fmla="*/ 58 h 5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9" h="58">
                      <a:moveTo>
                        <a:pt x="14" y="58"/>
                      </a:moveTo>
                      <a:cubicBezTo>
                        <a:pt x="22" y="58"/>
                        <a:pt x="29" y="51"/>
                        <a:pt x="29" y="43"/>
                      </a:cubicBezTo>
                      <a:cubicBezTo>
                        <a:pt x="29" y="15"/>
                        <a:pt x="29" y="15"/>
                        <a:pt x="29" y="15"/>
                      </a:cubicBezTo>
                      <a:cubicBezTo>
                        <a:pt x="29" y="7"/>
                        <a:pt x="22" y="0"/>
                        <a:pt x="14" y="0"/>
                      </a:cubicBezTo>
                      <a:cubicBezTo>
                        <a:pt x="7" y="0"/>
                        <a:pt x="0" y="7"/>
                        <a:pt x="0" y="15"/>
                      </a:cubicBezTo>
                      <a:cubicBezTo>
                        <a:pt x="0" y="43"/>
                        <a:pt x="0" y="43"/>
                        <a:pt x="0" y="43"/>
                      </a:cubicBezTo>
                      <a:cubicBezTo>
                        <a:pt x="0" y="51"/>
                        <a:pt x="7" y="58"/>
                        <a:pt x="14" y="58"/>
                      </a:cubicBezTo>
                      <a:close/>
                    </a:path>
                  </a:pathLst>
                </a:custGeom>
                <a:solidFill>
                  <a:srgbClr val="4D4D4F"/>
                </a:solidFill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2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/>
                    <a:cs typeface=""/>
                  </a:endParaRPr>
                </a:p>
              </p:txBody>
            </p:sp>
            <p:sp>
              <p:nvSpPr>
                <p:cNvPr id="786" name="Freeform 15"/>
                <p:cNvSpPr>
                  <a:spLocks/>
                </p:cNvSpPr>
                <p:nvPr/>
              </p:nvSpPr>
              <p:spPr bwMode="auto">
                <a:xfrm>
                  <a:off x="4487863" y="2422525"/>
                  <a:ext cx="44450" cy="47625"/>
                </a:xfrm>
                <a:custGeom>
                  <a:avLst/>
                  <a:gdLst>
                    <a:gd name="T0" fmla="*/ 29 w 50"/>
                    <a:gd name="T1" fmla="*/ 8 h 53"/>
                    <a:gd name="T2" fmla="*/ 9 w 50"/>
                    <a:gd name="T3" fmla="*/ 4 h 53"/>
                    <a:gd name="T4" fmla="*/ 4 w 50"/>
                    <a:gd name="T5" fmla="*/ 24 h 53"/>
                    <a:gd name="T6" fmla="*/ 24 w 50"/>
                    <a:gd name="T7" fmla="*/ 49 h 53"/>
                    <a:gd name="T8" fmla="*/ 34 w 50"/>
                    <a:gd name="T9" fmla="*/ 53 h 53"/>
                    <a:gd name="T10" fmla="*/ 45 w 50"/>
                    <a:gd name="T11" fmla="*/ 49 h 53"/>
                    <a:gd name="T12" fmla="*/ 45 w 50"/>
                    <a:gd name="T13" fmla="*/ 28 h 53"/>
                    <a:gd name="T14" fmla="*/ 29 w 50"/>
                    <a:gd name="T15" fmla="*/ 8 h 5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50" h="53">
                      <a:moveTo>
                        <a:pt x="29" y="8"/>
                      </a:moveTo>
                      <a:cubicBezTo>
                        <a:pt x="24" y="2"/>
                        <a:pt x="15" y="0"/>
                        <a:pt x="9" y="4"/>
                      </a:cubicBezTo>
                      <a:cubicBezTo>
                        <a:pt x="2" y="8"/>
                        <a:pt x="0" y="17"/>
                        <a:pt x="4" y="24"/>
                      </a:cubicBezTo>
                      <a:cubicBezTo>
                        <a:pt x="10" y="33"/>
                        <a:pt x="17" y="41"/>
                        <a:pt x="24" y="49"/>
                      </a:cubicBezTo>
                      <a:cubicBezTo>
                        <a:pt x="27" y="51"/>
                        <a:pt x="31" y="53"/>
                        <a:pt x="34" y="53"/>
                      </a:cubicBezTo>
                      <a:cubicBezTo>
                        <a:pt x="38" y="53"/>
                        <a:pt x="42" y="51"/>
                        <a:pt x="45" y="49"/>
                      </a:cubicBezTo>
                      <a:cubicBezTo>
                        <a:pt x="50" y="43"/>
                        <a:pt x="50" y="34"/>
                        <a:pt x="45" y="28"/>
                      </a:cubicBezTo>
                      <a:cubicBezTo>
                        <a:pt x="39" y="22"/>
                        <a:pt x="33" y="15"/>
                        <a:pt x="29" y="8"/>
                      </a:cubicBezTo>
                      <a:close/>
                    </a:path>
                  </a:pathLst>
                </a:custGeom>
                <a:solidFill>
                  <a:srgbClr val="4D4D4F"/>
                </a:solidFill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2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/>
                    <a:cs typeface=""/>
                  </a:endParaRPr>
                </a:p>
              </p:txBody>
            </p:sp>
            <p:sp>
              <p:nvSpPr>
                <p:cNvPr id="787" name="Freeform 16"/>
                <p:cNvSpPr>
                  <a:spLocks/>
                </p:cNvSpPr>
                <p:nvPr/>
              </p:nvSpPr>
              <p:spPr bwMode="auto">
                <a:xfrm>
                  <a:off x="4471988" y="2193925"/>
                  <a:ext cx="25400" cy="52388"/>
                </a:xfrm>
                <a:custGeom>
                  <a:avLst/>
                  <a:gdLst>
                    <a:gd name="T0" fmla="*/ 14 w 29"/>
                    <a:gd name="T1" fmla="*/ 58 h 58"/>
                    <a:gd name="T2" fmla="*/ 29 w 29"/>
                    <a:gd name="T3" fmla="*/ 43 h 58"/>
                    <a:gd name="T4" fmla="*/ 29 w 29"/>
                    <a:gd name="T5" fmla="*/ 14 h 58"/>
                    <a:gd name="T6" fmla="*/ 14 w 29"/>
                    <a:gd name="T7" fmla="*/ 0 h 58"/>
                    <a:gd name="T8" fmla="*/ 0 w 29"/>
                    <a:gd name="T9" fmla="*/ 14 h 58"/>
                    <a:gd name="T10" fmla="*/ 0 w 29"/>
                    <a:gd name="T11" fmla="*/ 43 h 58"/>
                    <a:gd name="T12" fmla="*/ 14 w 29"/>
                    <a:gd name="T13" fmla="*/ 58 h 5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9" h="58">
                      <a:moveTo>
                        <a:pt x="14" y="58"/>
                      </a:moveTo>
                      <a:cubicBezTo>
                        <a:pt x="22" y="58"/>
                        <a:pt x="29" y="51"/>
                        <a:pt x="29" y="43"/>
                      </a:cubicBezTo>
                      <a:cubicBezTo>
                        <a:pt x="29" y="14"/>
                        <a:pt x="29" y="14"/>
                        <a:pt x="29" y="14"/>
                      </a:cubicBezTo>
                      <a:cubicBezTo>
                        <a:pt x="29" y="6"/>
                        <a:pt x="22" y="0"/>
                        <a:pt x="14" y="0"/>
                      </a:cubicBezTo>
                      <a:cubicBezTo>
                        <a:pt x="7" y="0"/>
                        <a:pt x="0" y="6"/>
                        <a:pt x="0" y="14"/>
                      </a:cubicBezTo>
                      <a:cubicBezTo>
                        <a:pt x="0" y="43"/>
                        <a:pt x="0" y="43"/>
                        <a:pt x="0" y="43"/>
                      </a:cubicBezTo>
                      <a:cubicBezTo>
                        <a:pt x="0" y="51"/>
                        <a:pt x="7" y="58"/>
                        <a:pt x="14" y="58"/>
                      </a:cubicBezTo>
                      <a:close/>
                    </a:path>
                  </a:pathLst>
                </a:custGeom>
                <a:solidFill>
                  <a:srgbClr val="4D4D4F"/>
                </a:solidFill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2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/>
                    <a:cs typeface=""/>
                  </a:endParaRPr>
                </a:p>
              </p:txBody>
            </p:sp>
            <p:sp>
              <p:nvSpPr>
                <p:cNvPr id="788" name="Freeform 17"/>
                <p:cNvSpPr>
                  <a:spLocks/>
                </p:cNvSpPr>
                <p:nvPr/>
              </p:nvSpPr>
              <p:spPr bwMode="auto">
                <a:xfrm>
                  <a:off x="4830763" y="1985963"/>
                  <a:ext cx="50800" cy="26988"/>
                </a:xfrm>
                <a:custGeom>
                  <a:avLst/>
                  <a:gdLst>
                    <a:gd name="T0" fmla="*/ 15 w 57"/>
                    <a:gd name="T1" fmla="*/ 29 h 29"/>
                    <a:gd name="T2" fmla="*/ 44 w 57"/>
                    <a:gd name="T3" fmla="*/ 29 h 29"/>
                    <a:gd name="T4" fmla="*/ 57 w 57"/>
                    <a:gd name="T5" fmla="*/ 15 h 29"/>
                    <a:gd name="T6" fmla="*/ 43 w 57"/>
                    <a:gd name="T7" fmla="*/ 0 h 29"/>
                    <a:gd name="T8" fmla="*/ 15 w 57"/>
                    <a:gd name="T9" fmla="*/ 0 h 29"/>
                    <a:gd name="T10" fmla="*/ 0 w 57"/>
                    <a:gd name="T11" fmla="*/ 15 h 29"/>
                    <a:gd name="T12" fmla="*/ 15 w 57"/>
                    <a:gd name="T13" fmla="*/ 29 h 2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57" h="29">
                      <a:moveTo>
                        <a:pt x="15" y="29"/>
                      </a:moveTo>
                      <a:cubicBezTo>
                        <a:pt x="44" y="29"/>
                        <a:pt x="44" y="29"/>
                        <a:pt x="44" y="29"/>
                      </a:cubicBezTo>
                      <a:cubicBezTo>
                        <a:pt x="51" y="29"/>
                        <a:pt x="57" y="23"/>
                        <a:pt x="57" y="15"/>
                      </a:cubicBezTo>
                      <a:cubicBezTo>
                        <a:pt x="57" y="7"/>
                        <a:pt x="50" y="0"/>
                        <a:pt x="43" y="0"/>
                      </a:cubicBezTo>
                      <a:cubicBezTo>
                        <a:pt x="15" y="0"/>
                        <a:pt x="15" y="0"/>
                        <a:pt x="15" y="0"/>
                      </a:cubicBezTo>
                      <a:cubicBezTo>
                        <a:pt x="7" y="0"/>
                        <a:pt x="0" y="7"/>
                        <a:pt x="0" y="15"/>
                      </a:cubicBezTo>
                      <a:cubicBezTo>
                        <a:pt x="0" y="23"/>
                        <a:pt x="7" y="29"/>
                        <a:pt x="15" y="29"/>
                      </a:cubicBezTo>
                      <a:close/>
                    </a:path>
                  </a:pathLst>
                </a:custGeom>
                <a:solidFill>
                  <a:srgbClr val="4D4D4F"/>
                </a:solidFill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2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/>
                    <a:cs typeface=""/>
                  </a:endParaRPr>
                </a:p>
              </p:txBody>
            </p:sp>
            <p:sp>
              <p:nvSpPr>
                <p:cNvPr id="789" name="Freeform 18"/>
                <p:cNvSpPr>
                  <a:spLocks/>
                </p:cNvSpPr>
                <p:nvPr/>
              </p:nvSpPr>
              <p:spPr bwMode="auto">
                <a:xfrm>
                  <a:off x="4905376" y="1997075"/>
                  <a:ext cx="50800" cy="41275"/>
                </a:xfrm>
                <a:custGeom>
                  <a:avLst/>
                  <a:gdLst>
                    <a:gd name="T0" fmla="*/ 10 w 56"/>
                    <a:gd name="T1" fmla="*/ 30 h 47"/>
                    <a:gd name="T2" fmla="*/ 31 w 56"/>
                    <a:gd name="T3" fmla="*/ 43 h 47"/>
                    <a:gd name="T4" fmla="*/ 40 w 56"/>
                    <a:gd name="T5" fmla="*/ 47 h 47"/>
                    <a:gd name="T6" fmla="*/ 51 w 56"/>
                    <a:gd name="T7" fmla="*/ 41 h 47"/>
                    <a:gd name="T8" fmla="*/ 49 w 56"/>
                    <a:gd name="T9" fmla="*/ 21 h 47"/>
                    <a:gd name="T10" fmla="*/ 22 w 56"/>
                    <a:gd name="T11" fmla="*/ 4 h 47"/>
                    <a:gd name="T12" fmla="*/ 3 w 56"/>
                    <a:gd name="T13" fmla="*/ 11 h 47"/>
                    <a:gd name="T14" fmla="*/ 10 w 56"/>
                    <a:gd name="T15" fmla="*/ 30 h 4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56" h="47">
                      <a:moveTo>
                        <a:pt x="10" y="30"/>
                      </a:moveTo>
                      <a:cubicBezTo>
                        <a:pt x="17" y="33"/>
                        <a:pt x="25" y="38"/>
                        <a:pt x="31" y="43"/>
                      </a:cubicBezTo>
                      <a:cubicBezTo>
                        <a:pt x="34" y="46"/>
                        <a:pt x="37" y="47"/>
                        <a:pt x="40" y="47"/>
                      </a:cubicBezTo>
                      <a:cubicBezTo>
                        <a:pt x="44" y="47"/>
                        <a:pt x="49" y="45"/>
                        <a:pt x="51" y="41"/>
                      </a:cubicBezTo>
                      <a:cubicBezTo>
                        <a:pt x="56" y="35"/>
                        <a:pt x="55" y="26"/>
                        <a:pt x="49" y="21"/>
                      </a:cubicBezTo>
                      <a:cubicBezTo>
                        <a:pt x="41" y="14"/>
                        <a:pt x="32" y="9"/>
                        <a:pt x="22" y="4"/>
                      </a:cubicBezTo>
                      <a:cubicBezTo>
                        <a:pt x="15" y="0"/>
                        <a:pt x="7" y="3"/>
                        <a:pt x="3" y="11"/>
                      </a:cubicBezTo>
                      <a:cubicBezTo>
                        <a:pt x="0" y="18"/>
                        <a:pt x="3" y="26"/>
                        <a:pt x="10" y="30"/>
                      </a:cubicBezTo>
                      <a:close/>
                    </a:path>
                  </a:pathLst>
                </a:custGeom>
                <a:solidFill>
                  <a:srgbClr val="4D4D4F"/>
                </a:solidFill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2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/>
                    <a:cs typeface=""/>
                  </a:endParaRPr>
                </a:p>
              </p:txBody>
            </p:sp>
            <p:sp>
              <p:nvSpPr>
                <p:cNvPr id="790" name="Freeform 19"/>
                <p:cNvSpPr>
                  <a:spLocks/>
                </p:cNvSpPr>
                <p:nvPr/>
              </p:nvSpPr>
              <p:spPr bwMode="auto">
                <a:xfrm>
                  <a:off x="4476751" y="2039938"/>
                  <a:ext cx="39688" cy="52388"/>
                </a:xfrm>
                <a:custGeom>
                  <a:avLst/>
                  <a:gdLst>
                    <a:gd name="T0" fmla="*/ 12 w 45"/>
                    <a:gd name="T1" fmla="*/ 56 h 57"/>
                    <a:gd name="T2" fmla="*/ 16 w 45"/>
                    <a:gd name="T3" fmla="*/ 57 h 57"/>
                    <a:gd name="T4" fmla="*/ 30 w 45"/>
                    <a:gd name="T5" fmla="*/ 47 h 57"/>
                    <a:gd name="T6" fmla="*/ 41 w 45"/>
                    <a:gd name="T7" fmla="*/ 24 h 57"/>
                    <a:gd name="T8" fmla="*/ 36 w 45"/>
                    <a:gd name="T9" fmla="*/ 4 h 57"/>
                    <a:gd name="T10" fmla="*/ 16 w 45"/>
                    <a:gd name="T11" fmla="*/ 9 h 57"/>
                    <a:gd name="T12" fmla="*/ 3 w 45"/>
                    <a:gd name="T13" fmla="*/ 38 h 57"/>
                    <a:gd name="T14" fmla="*/ 12 w 45"/>
                    <a:gd name="T15" fmla="*/ 56 h 5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45" h="57">
                      <a:moveTo>
                        <a:pt x="12" y="56"/>
                      </a:moveTo>
                      <a:cubicBezTo>
                        <a:pt x="13" y="57"/>
                        <a:pt x="15" y="57"/>
                        <a:pt x="16" y="57"/>
                      </a:cubicBezTo>
                      <a:cubicBezTo>
                        <a:pt x="22" y="57"/>
                        <a:pt x="28" y="53"/>
                        <a:pt x="30" y="47"/>
                      </a:cubicBezTo>
                      <a:cubicBezTo>
                        <a:pt x="33" y="39"/>
                        <a:pt x="36" y="32"/>
                        <a:pt x="41" y="24"/>
                      </a:cubicBezTo>
                      <a:cubicBezTo>
                        <a:pt x="45" y="17"/>
                        <a:pt x="43" y="9"/>
                        <a:pt x="36" y="4"/>
                      </a:cubicBezTo>
                      <a:cubicBezTo>
                        <a:pt x="29" y="0"/>
                        <a:pt x="21" y="2"/>
                        <a:pt x="16" y="9"/>
                      </a:cubicBezTo>
                      <a:cubicBezTo>
                        <a:pt x="11" y="18"/>
                        <a:pt x="6" y="28"/>
                        <a:pt x="3" y="38"/>
                      </a:cubicBezTo>
                      <a:cubicBezTo>
                        <a:pt x="0" y="45"/>
                        <a:pt x="4" y="54"/>
                        <a:pt x="12" y="56"/>
                      </a:cubicBezTo>
                      <a:close/>
                    </a:path>
                  </a:pathLst>
                </a:custGeom>
                <a:solidFill>
                  <a:srgbClr val="4D4D4F"/>
                </a:solidFill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2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/>
                    <a:cs typeface=""/>
                  </a:endParaRPr>
                </a:p>
              </p:txBody>
            </p:sp>
            <p:sp>
              <p:nvSpPr>
                <p:cNvPr id="791" name="Freeform 20"/>
                <p:cNvSpPr>
                  <a:spLocks/>
                </p:cNvSpPr>
                <p:nvPr/>
              </p:nvSpPr>
              <p:spPr bwMode="auto">
                <a:xfrm>
                  <a:off x="4522788" y="1992313"/>
                  <a:ext cx="52388" cy="39688"/>
                </a:xfrm>
                <a:custGeom>
                  <a:avLst/>
                  <a:gdLst>
                    <a:gd name="T0" fmla="*/ 55 w 58"/>
                    <a:gd name="T1" fmla="*/ 11 h 43"/>
                    <a:gd name="T2" fmla="*/ 37 w 58"/>
                    <a:gd name="T3" fmla="*/ 2 h 43"/>
                    <a:gd name="T4" fmla="*/ 9 w 58"/>
                    <a:gd name="T5" fmla="*/ 17 h 43"/>
                    <a:gd name="T6" fmla="*/ 4 w 58"/>
                    <a:gd name="T7" fmla="*/ 37 h 43"/>
                    <a:gd name="T8" fmla="*/ 16 w 58"/>
                    <a:gd name="T9" fmla="*/ 43 h 43"/>
                    <a:gd name="T10" fmla="*/ 24 w 58"/>
                    <a:gd name="T11" fmla="*/ 41 h 43"/>
                    <a:gd name="T12" fmla="*/ 47 w 58"/>
                    <a:gd name="T13" fmla="*/ 29 h 43"/>
                    <a:gd name="T14" fmla="*/ 55 w 58"/>
                    <a:gd name="T15" fmla="*/ 11 h 4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58" h="43">
                      <a:moveTo>
                        <a:pt x="55" y="11"/>
                      </a:moveTo>
                      <a:cubicBezTo>
                        <a:pt x="53" y="3"/>
                        <a:pt x="44" y="0"/>
                        <a:pt x="37" y="2"/>
                      </a:cubicBezTo>
                      <a:cubicBezTo>
                        <a:pt x="27" y="6"/>
                        <a:pt x="17" y="11"/>
                        <a:pt x="9" y="17"/>
                      </a:cubicBezTo>
                      <a:cubicBezTo>
                        <a:pt x="2" y="21"/>
                        <a:pt x="0" y="30"/>
                        <a:pt x="4" y="37"/>
                      </a:cubicBezTo>
                      <a:cubicBezTo>
                        <a:pt x="7" y="41"/>
                        <a:pt x="12" y="43"/>
                        <a:pt x="16" y="43"/>
                      </a:cubicBezTo>
                      <a:cubicBezTo>
                        <a:pt x="19" y="43"/>
                        <a:pt x="22" y="43"/>
                        <a:pt x="24" y="41"/>
                      </a:cubicBezTo>
                      <a:cubicBezTo>
                        <a:pt x="31" y="36"/>
                        <a:pt x="39" y="32"/>
                        <a:pt x="47" y="29"/>
                      </a:cubicBezTo>
                      <a:cubicBezTo>
                        <a:pt x="54" y="27"/>
                        <a:pt x="58" y="18"/>
                        <a:pt x="55" y="11"/>
                      </a:cubicBezTo>
                      <a:close/>
                    </a:path>
                  </a:pathLst>
                </a:custGeom>
                <a:solidFill>
                  <a:srgbClr val="4D4D4F"/>
                </a:solidFill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2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/>
                    <a:cs typeface=""/>
                  </a:endParaRPr>
                </a:p>
              </p:txBody>
            </p:sp>
            <p:sp>
              <p:nvSpPr>
                <p:cNvPr id="792" name="Freeform 21"/>
                <p:cNvSpPr>
                  <a:spLocks/>
                </p:cNvSpPr>
                <p:nvPr/>
              </p:nvSpPr>
              <p:spPr bwMode="auto">
                <a:xfrm>
                  <a:off x="4959351" y="2051050"/>
                  <a:ext cx="36513" cy="52388"/>
                </a:xfrm>
                <a:custGeom>
                  <a:avLst/>
                  <a:gdLst>
                    <a:gd name="T0" fmla="*/ 13 w 42"/>
                    <a:gd name="T1" fmla="*/ 47 h 58"/>
                    <a:gd name="T2" fmla="*/ 27 w 42"/>
                    <a:gd name="T3" fmla="*/ 58 h 58"/>
                    <a:gd name="T4" fmla="*/ 30 w 42"/>
                    <a:gd name="T5" fmla="*/ 57 h 58"/>
                    <a:gd name="T6" fmla="*/ 41 w 42"/>
                    <a:gd name="T7" fmla="*/ 40 h 58"/>
                    <a:gd name="T8" fmla="*/ 30 w 42"/>
                    <a:gd name="T9" fmla="*/ 10 h 58"/>
                    <a:gd name="T10" fmla="*/ 11 w 42"/>
                    <a:gd name="T11" fmla="*/ 4 h 58"/>
                    <a:gd name="T12" fmla="*/ 4 w 42"/>
                    <a:gd name="T13" fmla="*/ 23 h 58"/>
                    <a:gd name="T14" fmla="*/ 13 w 42"/>
                    <a:gd name="T15" fmla="*/ 47 h 5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42" h="58">
                      <a:moveTo>
                        <a:pt x="13" y="47"/>
                      </a:moveTo>
                      <a:cubicBezTo>
                        <a:pt x="14" y="53"/>
                        <a:pt x="20" y="58"/>
                        <a:pt x="27" y="58"/>
                      </a:cubicBezTo>
                      <a:cubicBezTo>
                        <a:pt x="28" y="58"/>
                        <a:pt x="29" y="58"/>
                        <a:pt x="30" y="57"/>
                      </a:cubicBezTo>
                      <a:cubicBezTo>
                        <a:pt x="38" y="56"/>
                        <a:pt x="42" y="48"/>
                        <a:pt x="41" y="40"/>
                      </a:cubicBezTo>
                      <a:cubicBezTo>
                        <a:pt x="38" y="30"/>
                        <a:pt x="35" y="20"/>
                        <a:pt x="30" y="10"/>
                      </a:cubicBezTo>
                      <a:cubicBezTo>
                        <a:pt x="26" y="3"/>
                        <a:pt x="18" y="0"/>
                        <a:pt x="11" y="4"/>
                      </a:cubicBezTo>
                      <a:cubicBezTo>
                        <a:pt x="3" y="7"/>
                        <a:pt x="0" y="16"/>
                        <a:pt x="4" y="23"/>
                      </a:cubicBezTo>
                      <a:cubicBezTo>
                        <a:pt x="8" y="31"/>
                        <a:pt x="11" y="39"/>
                        <a:pt x="13" y="47"/>
                      </a:cubicBezTo>
                      <a:close/>
                    </a:path>
                  </a:pathLst>
                </a:custGeom>
                <a:solidFill>
                  <a:srgbClr val="4D4D4F"/>
                </a:solidFill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2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/>
                    <a:cs typeface=""/>
                  </a:endParaRPr>
                </a:p>
              </p:txBody>
            </p:sp>
            <p:sp>
              <p:nvSpPr>
                <p:cNvPr id="793" name="Freeform 22"/>
                <p:cNvSpPr>
                  <a:spLocks/>
                </p:cNvSpPr>
                <p:nvPr/>
              </p:nvSpPr>
              <p:spPr bwMode="auto">
                <a:xfrm>
                  <a:off x="4598988" y="1985963"/>
                  <a:ext cx="52388" cy="26988"/>
                </a:xfrm>
                <a:custGeom>
                  <a:avLst/>
                  <a:gdLst>
                    <a:gd name="T0" fmla="*/ 14 w 58"/>
                    <a:gd name="T1" fmla="*/ 29 h 29"/>
                    <a:gd name="T2" fmla="*/ 43 w 58"/>
                    <a:gd name="T3" fmla="*/ 29 h 29"/>
                    <a:gd name="T4" fmla="*/ 58 w 58"/>
                    <a:gd name="T5" fmla="*/ 15 h 29"/>
                    <a:gd name="T6" fmla="*/ 43 w 58"/>
                    <a:gd name="T7" fmla="*/ 0 h 29"/>
                    <a:gd name="T8" fmla="*/ 14 w 58"/>
                    <a:gd name="T9" fmla="*/ 0 h 29"/>
                    <a:gd name="T10" fmla="*/ 0 w 58"/>
                    <a:gd name="T11" fmla="*/ 15 h 29"/>
                    <a:gd name="T12" fmla="*/ 14 w 58"/>
                    <a:gd name="T13" fmla="*/ 29 h 2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58" h="29">
                      <a:moveTo>
                        <a:pt x="14" y="29"/>
                      </a:moveTo>
                      <a:cubicBezTo>
                        <a:pt x="43" y="29"/>
                        <a:pt x="43" y="29"/>
                        <a:pt x="43" y="29"/>
                      </a:cubicBezTo>
                      <a:cubicBezTo>
                        <a:pt x="51" y="29"/>
                        <a:pt x="58" y="23"/>
                        <a:pt x="58" y="15"/>
                      </a:cubicBezTo>
                      <a:cubicBezTo>
                        <a:pt x="58" y="7"/>
                        <a:pt x="51" y="0"/>
                        <a:pt x="43" y="0"/>
                      </a:cubicBezTo>
                      <a:cubicBezTo>
                        <a:pt x="14" y="0"/>
                        <a:pt x="14" y="0"/>
                        <a:pt x="14" y="0"/>
                      </a:cubicBezTo>
                      <a:cubicBezTo>
                        <a:pt x="6" y="0"/>
                        <a:pt x="0" y="7"/>
                        <a:pt x="0" y="15"/>
                      </a:cubicBezTo>
                      <a:cubicBezTo>
                        <a:pt x="0" y="23"/>
                        <a:pt x="6" y="29"/>
                        <a:pt x="14" y="29"/>
                      </a:cubicBezTo>
                      <a:close/>
                    </a:path>
                  </a:pathLst>
                </a:custGeom>
                <a:solidFill>
                  <a:srgbClr val="4D4D4F"/>
                </a:solidFill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2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/>
                    <a:cs typeface=""/>
                  </a:endParaRPr>
                </a:p>
              </p:txBody>
            </p:sp>
            <p:sp>
              <p:nvSpPr>
                <p:cNvPr id="794" name="Freeform 23"/>
                <p:cNvSpPr>
                  <a:spLocks/>
                </p:cNvSpPr>
                <p:nvPr/>
              </p:nvSpPr>
              <p:spPr bwMode="auto">
                <a:xfrm>
                  <a:off x="4676776" y="1985963"/>
                  <a:ext cx="50800" cy="26988"/>
                </a:xfrm>
                <a:custGeom>
                  <a:avLst/>
                  <a:gdLst>
                    <a:gd name="T0" fmla="*/ 15 w 58"/>
                    <a:gd name="T1" fmla="*/ 29 h 29"/>
                    <a:gd name="T2" fmla="*/ 43 w 58"/>
                    <a:gd name="T3" fmla="*/ 29 h 29"/>
                    <a:gd name="T4" fmla="*/ 58 w 58"/>
                    <a:gd name="T5" fmla="*/ 15 h 29"/>
                    <a:gd name="T6" fmla="*/ 43 w 58"/>
                    <a:gd name="T7" fmla="*/ 0 h 29"/>
                    <a:gd name="T8" fmla="*/ 15 w 58"/>
                    <a:gd name="T9" fmla="*/ 0 h 29"/>
                    <a:gd name="T10" fmla="*/ 0 w 58"/>
                    <a:gd name="T11" fmla="*/ 15 h 29"/>
                    <a:gd name="T12" fmla="*/ 15 w 58"/>
                    <a:gd name="T13" fmla="*/ 29 h 2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58" h="29">
                      <a:moveTo>
                        <a:pt x="15" y="29"/>
                      </a:moveTo>
                      <a:cubicBezTo>
                        <a:pt x="43" y="29"/>
                        <a:pt x="43" y="29"/>
                        <a:pt x="43" y="29"/>
                      </a:cubicBezTo>
                      <a:cubicBezTo>
                        <a:pt x="51" y="29"/>
                        <a:pt x="58" y="23"/>
                        <a:pt x="58" y="15"/>
                      </a:cubicBezTo>
                      <a:cubicBezTo>
                        <a:pt x="58" y="7"/>
                        <a:pt x="51" y="0"/>
                        <a:pt x="43" y="0"/>
                      </a:cubicBezTo>
                      <a:cubicBezTo>
                        <a:pt x="15" y="0"/>
                        <a:pt x="15" y="0"/>
                        <a:pt x="15" y="0"/>
                      </a:cubicBezTo>
                      <a:cubicBezTo>
                        <a:pt x="7" y="0"/>
                        <a:pt x="0" y="7"/>
                        <a:pt x="0" y="15"/>
                      </a:cubicBezTo>
                      <a:cubicBezTo>
                        <a:pt x="0" y="23"/>
                        <a:pt x="7" y="29"/>
                        <a:pt x="15" y="29"/>
                      </a:cubicBezTo>
                      <a:close/>
                    </a:path>
                  </a:pathLst>
                </a:custGeom>
                <a:solidFill>
                  <a:srgbClr val="4D4D4F"/>
                </a:solidFill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2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/>
                    <a:cs typeface=""/>
                  </a:endParaRPr>
                </a:p>
              </p:txBody>
            </p:sp>
            <p:sp>
              <p:nvSpPr>
                <p:cNvPr id="795" name="Freeform 24"/>
                <p:cNvSpPr>
                  <a:spLocks/>
                </p:cNvSpPr>
                <p:nvPr/>
              </p:nvSpPr>
              <p:spPr bwMode="auto">
                <a:xfrm>
                  <a:off x="4752976" y="1985963"/>
                  <a:ext cx="52388" cy="26988"/>
                </a:xfrm>
                <a:custGeom>
                  <a:avLst/>
                  <a:gdLst>
                    <a:gd name="T0" fmla="*/ 15 w 58"/>
                    <a:gd name="T1" fmla="*/ 29 h 29"/>
                    <a:gd name="T2" fmla="*/ 43 w 58"/>
                    <a:gd name="T3" fmla="*/ 29 h 29"/>
                    <a:gd name="T4" fmla="*/ 58 w 58"/>
                    <a:gd name="T5" fmla="*/ 15 h 29"/>
                    <a:gd name="T6" fmla="*/ 43 w 58"/>
                    <a:gd name="T7" fmla="*/ 0 h 29"/>
                    <a:gd name="T8" fmla="*/ 15 w 58"/>
                    <a:gd name="T9" fmla="*/ 0 h 29"/>
                    <a:gd name="T10" fmla="*/ 0 w 58"/>
                    <a:gd name="T11" fmla="*/ 15 h 29"/>
                    <a:gd name="T12" fmla="*/ 15 w 58"/>
                    <a:gd name="T13" fmla="*/ 29 h 2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58" h="29">
                      <a:moveTo>
                        <a:pt x="15" y="29"/>
                      </a:moveTo>
                      <a:cubicBezTo>
                        <a:pt x="43" y="29"/>
                        <a:pt x="43" y="29"/>
                        <a:pt x="43" y="29"/>
                      </a:cubicBezTo>
                      <a:cubicBezTo>
                        <a:pt x="51" y="29"/>
                        <a:pt x="58" y="23"/>
                        <a:pt x="58" y="15"/>
                      </a:cubicBezTo>
                      <a:cubicBezTo>
                        <a:pt x="58" y="7"/>
                        <a:pt x="51" y="0"/>
                        <a:pt x="43" y="0"/>
                      </a:cubicBezTo>
                      <a:cubicBezTo>
                        <a:pt x="15" y="0"/>
                        <a:pt x="15" y="0"/>
                        <a:pt x="15" y="0"/>
                      </a:cubicBezTo>
                      <a:cubicBezTo>
                        <a:pt x="7" y="0"/>
                        <a:pt x="0" y="7"/>
                        <a:pt x="0" y="15"/>
                      </a:cubicBezTo>
                      <a:cubicBezTo>
                        <a:pt x="0" y="23"/>
                        <a:pt x="7" y="29"/>
                        <a:pt x="15" y="29"/>
                      </a:cubicBezTo>
                      <a:close/>
                    </a:path>
                  </a:pathLst>
                </a:custGeom>
                <a:solidFill>
                  <a:srgbClr val="4D4D4F"/>
                </a:solidFill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2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/>
                    <a:cs typeface=""/>
                  </a:endParaRPr>
                </a:p>
              </p:txBody>
            </p:sp>
            <p:sp>
              <p:nvSpPr>
                <p:cNvPr id="796" name="Freeform 25"/>
                <p:cNvSpPr>
                  <a:spLocks/>
                </p:cNvSpPr>
                <p:nvPr/>
              </p:nvSpPr>
              <p:spPr bwMode="auto">
                <a:xfrm>
                  <a:off x="4471988" y="2349500"/>
                  <a:ext cx="26988" cy="52388"/>
                </a:xfrm>
                <a:custGeom>
                  <a:avLst/>
                  <a:gdLst>
                    <a:gd name="T0" fmla="*/ 30 w 31"/>
                    <a:gd name="T1" fmla="*/ 42 h 58"/>
                    <a:gd name="T2" fmla="*/ 29 w 31"/>
                    <a:gd name="T3" fmla="*/ 28 h 58"/>
                    <a:gd name="T4" fmla="*/ 29 w 31"/>
                    <a:gd name="T5" fmla="*/ 15 h 58"/>
                    <a:gd name="T6" fmla="*/ 14 w 31"/>
                    <a:gd name="T7" fmla="*/ 0 h 58"/>
                    <a:gd name="T8" fmla="*/ 0 w 31"/>
                    <a:gd name="T9" fmla="*/ 15 h 58"/>
                    <a:gd name="T10" fmla="*/ 0 w 31"/>
                    <a:gd name="T11" fmla="*/ 28 h 58"/>
                    <a:gd name="T12" fmla="*/ 1 w 31"/>
                    <a:gd name="T13" fmla="*/ 45 h 58"/>
                    <a:gd name="T14" fmla="*/ 15 w 31"/>
                    <a:gd name="T15" fmla="*/ 58 h 58"/>
                    <a:gd name="T16" fmla="*/ 17 w 31"/>
                    <a:gd name="T17" fmla="*/ 58 h 58"/>
                    <a:gd name="T18" fmla="*/ 30 w 31"/>
                    <a:gd name="T19" fmla="*/ 42 h 5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31" h="58">
                      <a:moveTo>
                        <a:pt x="30" y="42"/>
                      </a:moveTo>
                      <a:cubicBezTo>
                        <a:pt x="29" y="37"/>
                        <a:pt x="29" y="33"/>
                        <a:pt x="29" y="28"/>
                      </a:cubicBezTo>
                      <a:cubicBezTo>
                        <a:pt x="29" y="15"/>
                        <a:pt x="29" y="15"/>
                        <a:pt x="29" y="15"/>
                      </a:cubicBezTo>
                      <a:cubicBezTo>
                        <a:pt x="29" y="7"/>
                        <a:pt x="22" y="0"/>
                        <a:pt x="14" y="0"/>
                      </a:cubicBezTo>
                      <a:cubicBezTo>
                        <a:pt x="7" y="0"/>
                        <a:pt x="0" y="7"/>
                        <a:pt x="0" y="15"/>
                      </a:cubicBezTo>
                      <a:cubicBezTo>
                        <a:pt x="0" y="28"/>
                        <a:pt x="0" y="28"/>
                        <a:pt x="0" y="28"/>
                      </a:cubicBezTo>
                      <a:cubicBezTo>
                        <a:pt x="0" y="34"/>
                        <a:pt x="0" y="39"/>
                        <a:pt x="1" y="45"/>
                      </a:cubicBezTo>
                      <a:cubicBezTo>
                        <a:pt x="2" y="52"/>
                        <a:pt x="8" y="58"/>
                        <a:pt x="15" y="58"/>
                      </a:cubicBezTo>
                      <a:cubicBezTo>
                        <a:pt x="16" y="58"/>
                        <a:pt x="17" y="58"/>
                        <a:pt x="17" y="58"/>
                      </a:cubicBezTo>
                      <a:cubicBezTo>
                        <a:pt x="25" y="57"/>
                        <a:pt x="31" y="50"/>
                        <a:pt x="30" y="42"/>
                      </a:cubicBezTo>
                      <a:close/>
                    </a:path>
                  </a:pathLst>
                </a:custGeom>
                <a:solidFill>
                  <a:srgbClr val="4D4D4F"/>
                </a:solidFill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2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/>
                    <a:cs typeface=""/>
                  </a:endParaRPr>
                </a:p>
              </p:txBody>
            </p:sp>
            <p:sp>
              <p:nvSpPr>
                <p:cNvPr id="797" name="Freeform 26"/>
                <p:cNvSpPr>
                  <a:spLocks/>
                </p:cNvSpPr>
                <p:nvPr/>
              </p:nvSpPr>
              <p:spPr bwMode="auto">
                <a:xfrm>
                  <a:off x="4973638" y="2282825"/>
                  <a:ext cx="25400" cy="52388"/>
                </a:xfrm>
                <a:custGeom>
                  <a:avLst/>
                  <a:gdLst>
                    <a:gd name="T0" fmla="*/ 14 w 29"/>
                    <a:gd name="T1" fmla="*/ 0 h 58"/>
                    <a:gd name="T2" fmla="*/ 0 w 29"/>
                    <a:gd name="T3" fmla="*/ 15 h 58"/>
                    <a:gd name="T4" fmla="*/ 0 w 29"/>
                    <a:gd name="T5" fmla="*/ 44 h 58"/>
                    <a:gd name="T6" fmla="*/ 14 w 29"/>
                    <a:gd name="T7" fmla="*/ 58 h 58"/>
                    <a:gd name="T8" fmla="*/ 29 w 29"/>
                    <a:gd name="T9" fmla="*/ 44 h 58"/>
                    <a:gd name="T10" fmla="*/ 29 w 29"/>
                    <a:gd name="T11" fmla="*/ 15 h 58"/>
                    <a:gd name="T12" fmla="*/ 14 w 29"/>
                    <a:gd name="T13" fmla="*/ 0 h 5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9" h="58">
                      <a:moveTo>
                        <a:pt x="14" y="0"/>
                      </a:moveTo>
                      <a:cubicBezTo>
                        <a:pt x="6" y="0"/>
                        <a:pt x="0" y="7"/>
                        <a:pt x="0" y="15"/>
                      </a:cubicBezTo>
                      <a:cubicBezTo>
                        <a:pt x="0" y="44"/>
                        <a:pt x="0" y="44"/>
                        <a:pt x="0" y="44"/>
                      </a:cubicBezTo>
                      <a:cubicBezTo>
                        <a:pt x="0" y="52"/>
                        <a:pt x="6" y="58"/>
                        <a:pt x="14" y="58"/>
                      </a:cubicBezTo>
                      <a:cubicBezTo>
                        <a:pt x="22" y="58"/>
                        <a:pt x="29" y="52"/>
                        <a:pt x="29" y="44"/>
                      </a:cubicBezTo>
                      <a:cubicBezTo>
                        <a:pt x="29" y="15"/>
                        <a:pt x="29" y="15"/>
                        <a:pt x="29" y="15"/>
                      </a:cubicBezTo>
                      <a:cubicBezTo>
                        <a:pt x="29" y="7"/>
                        <a:pt x="22" y="0"/>
                        <a:pt x="14" y="0"/>
                      </a:cubicBezTo>
                      <a:close/>
                    </a:path>
                  </a:pathLst>
                </a:custGeom>
                <a:solidFill>
                  <a:srgbClr val="4D4D4F"/>
                </a:solidFill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2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/>
                    <a:cs typeface=""/>
                  </a:endParaRPr>
                </a:p>
              </p:txBody>
            </p:sp>
            <p:sp>
              <p:nvSpPr>
                <p:cNvPr id="798" name="Freeform 28"/>
                <p:cNvSpPr>
                  <a:spLocks/>
                </p:cNvSpPr>
                <p:nvPr/>
              </p:nvSpPr>
              <p:spPr bwMode="auto">
                <a:xfrm>
                  <a:off x="4927601" y="2432050"/>
                  <a:ext cx="47625" cy="46038"/>
                </a:xfrm>
                <a:custGeom>
                  <a:avLst/>
                  <a:gdLst>
                    <a:gd name="T0" fmla="*/ 25 w 53"/>
                    <a:gd name="T1" fmla="*/ 7 h 51"/>
                    <a:gd name="T2" fmla="*/ 7 w 53"/>
                    <a:gd name="T3" fmla="*/ 25 h 51"/>
                    <a:gd name="T4" fmla="*/ 5 w 53"/>
                    <a:gd name="T5" fmla="*/ 45 h 51"/>
                    <a:gd name="T6" fmla="*/ 16 w 53"/>
                    <a:gd name="T7" fmla="*/ 51 h 51"/>
                    <a:gd name="T8" fmla="*/ 25 w 53"/>
                    <a:gd name="T9" fmla="*/ 47 h 51"/>
                    <a:gd name="T10" fmla="*/ 48 w 53"/>
                    <a:gd name="T11" fmla="*/ 25 h 51"/>
                    <a:gd name="T12" fmla="*/ 45 w 53"/>
                    <a:gd name="T13" fmla="*/ 5 h 51"/>
                    <a:gd name="T14" fmla="*/ 25 w 53"/>
                    <a:gd name="T15" fmla="*/ 7 h 5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53" h="51">
                      <a:moveTo>
                        <a:pt x="25" y="7"/>
                      </a:moveTo>
                      <a:cubicBezTo>
                        <a:pt x="20" y="14"/>
                        <a:pt x="14" y="20"/>
                        <a:pt x="7" y="25"/>
                      </a:cubicBezTo>
                      <a:cubicBezTo>
                        <a:pt x="1" y="30"/>
                        <a:pt x="0" y="39"/>
                        <a:pt x="5" y="45"/>
                      </a:cubicBezTo>
                      <a:cubicBezTo>
                        <a:pt x="8" y="49"/>
                        <a:pt x="12" y="51"/>
                        <a:pt x="16" y="51"/>
                      </a:cubicBezTo>
                      <a:cubicBezTo>
                        <a:pt x="20" y="51"/>
                        <a:pt x="23" y="50"/>
                        <a:pt x="25" y="47"/>
                      </a:cubicBezTo>
                      <a:cubicBezTo>
                        <a:pt x="34" y="41"/>
                        <a:pt x="41" y="33"/>
                        <a:pt x="48" y="25"/>
                      </a:cubicBezTo>
                      <a:cubicBezTo>
                        <a:pt x="53" y="19"/>
                        <a:pt x="52" y="9"/>
                        <a:pt x="45" y="5"/>
                      </a:cubicBezTo>
                      <a:cubicBezTo>
                        <a:pt x="39" y="0"/>
                        <a:pt x="30" y="1"/>
                        <a:pt x="25" y="7"/>
                      </a:cubicBezTo>
                      <a:close/>
                    </a:path>
                  </a:pathLst>
                </a:custGeom>
                <a:solidFill>
                  <a:srgbClr val="4D4D4F"/>
                </a:solidFill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2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/>
                    <a:cs typeface=""/>
                  </a:endParaRPr>
                </a:p>
              </p:txBody>
            </p:sp>
            <p:sp>
              <p:nvSpPr>
                <p:cNvPr id="799" name="Freeform 29"/>
                <p:cNvSpPr>
                  <a:spLocks/>
                </p:cNvSpPr>
                <p:nvPr/>
              </p:nvSpPr>
              <p:spPr bwMode="auto">
                <a:xfrm>
                  <a:off x="4968876" y="2360613"/>
                  <a:ext cx="30163" cy="52388"/>
                </a:xfrm>
                <a:custGeom>
                  <a:avLst/>
                  <a:gdLst>
                    <a:gd name="T0" fmla="*/ 19 w 34"/>
                    <a:gd name="T1" fmla="*/ 0 h 58"/>
                    <a:gd name="T2" fmla="*/ 5 w 34"/>
                    <a:gd name="T3" fmla="*/ 15 h 58"/>
                    <a:gd name="T4" fmla="*/ 2 w 34"/>
                    <a:gd name="T5" fmla="*/ 40 h 58"/>
                    <a:gd name="T6" fmla="*/ 13 w 34"/>
                    <a:gd name="T7" fmla="*/ 58 h 58"/>
                    <a:gd name="T8" fmla="*/ 16 w 34"/>
                    <a:gd name="T9" fmla="*/ 58 h 58"/>
                    <a:gd name="T10" fmla="*/ 30 w 34"/>
                    <a:gd name="T11" fmla="*/ 47 h 58"/>
                    <a:gd name="T12" fmla="*/ 34 w 34"/>
                    <a:gd name="T13" fmla="*/ 15 h 58"/>
                    <a:gd name="T14" fmla="*/ 34 w 34"/>
                    <a:gd name="T15" fmla="*/ 14 h 58"/>
                    <a:gd name="T16" fmla="*/ 19 w 34"/>
                    <a:gd name="T17" fmla="*/ 0 h 5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34" h="58">
                      <a:moveTo>
                        <a:pt x="19" y="0"/>
                      </a:moveTo>
                      <a:cubicBezTo>
                        <a:pt x="11" y="0"/>
                        <a:pt x="5" y="7"/>
                        <a:pt x="5" y="15"/>
                      </a:cubicBezTo>
                      <a:cubicBezTo>
                        <a:pt x="5" y="24"/>
                        <a:pt x="4" y="32"/>
                        <a:pt x="2" y="40"/>
                      </a:cubicBezTo>
                      <a:cubicBezTo>
                        <a:pt x="0" y="48"/>
                        <a:pt x="5" y="56"/>
                        <a:pt x="13" y="58"/>
                      </a:cubicBezTo>
                      <a:cubicBezTo>
                        <a:pt x="14" y="58"/>
                        <a:pt x="15" y="58"/>
                        <a:pt x="16" y="58"/>
                      </a:cubicBezTo>
                      <a:cubicBezTo>
                        <a:pt x="23" y="58"/>
                        <a:pt x="29" y="53"/>
                        <a:pt x="30" y="47"/>
                      </a:cubicBezTo>
                      <a:cubicBezTo>
                        <a:pt x="32" y="36"/>
                        <a:pt x="34" y="26"/>
                        <a:pt x="34" y="15"/>
                      </a:cubicBezTo>
                      <a:cubicBezTo>
                        <a:pt x="34" y="14"/>
                        <a:pt x="34" y="14"/>
                        <a:pt x="34" y="14"/>
                      </a:cubicBezTo>
                      <a:cubicBezTo>
                        <a:pt x="34" y="6"/>
                        <a:pt x="27" y="0"/>
                        <a:pt x="19" y="0"/>
                      </a:cubicBezTo>
                      <a:close/>
                    </a:path>
                  </a:pathLst>
                </a:custGeom>
                <a:solidFill>
                  <a:srgbClr val="4D4D4F"/>
                </a:solidFill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2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/>
                    <a:cs typeface=""/>
                  </a:endParaRPr>
                </a:p>
              </p:txBody>
            </p:sp>
            <p:sp>
              <p:nvSpPr>
                <p:cNvPr id="800" name="Freeform 30"/>
                <p:cNvSpPr>
                  <a:spLocks/>
                </p:cNvSpPr>
                <p:nvPr/>
              </p:nvSpPr>
              <p:spPr bwMode="auto">
                <a:xfrm>
                  <a:off x="4973638" y="2205038"/>
                  <a:ext cx="25400" cy="52388"/>
                </a:xfrm>
                <a:custGeom>
                  <a:avLst/>
                  <a:gdLst>
                    <a:gd name="T0" fmla="*/ 14 w 29"/>
                    <a:gd name="T1" fmla="*/ 0 h 58"/>
                    <a:gd name="T2" fmla="*/ 0 w 29"/>
                    <a:gd name="T3" fmla="*/ 15 h 58"/>
                    <a:gd name="T4" fmla="*/ 0 w 29"/>
                    <a:gd name="T5" fmla="*/ 43 h 58"/>
                    <a:gd name="T6" fmla="*/ 14 w 29"/>
                    <a:gd name="T7" fmla="*/ 58 h 58"/>
                    <a:gd name="T8" fmla="*/ 29 w 29"/>
                    <a:gd name="T9" fmla="*/ 43 h 58"/>
                    <a:gd name="T10" fmla="*/ 29 w 29"/>
                    <a:gd name="T11" fmla="*/ 15 h 58"/>
                    <a:gd name="T12" fmla="*/ 14 w 29"/>
                    <a:gd name="T13" fmla="*/ 0 h 5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9" h="58">
                      <a:moveTo>
                        <a:pt x="14" y="0"/>
                      </a:moveTo>
                      <a:cubicBezTo>
                        <a:pt x="6" y="0"/>
                        <a:pt x="0" y="7"/>
                        <a:pt x="0" y="15"/>
                      </a:cubicBezTo>
                      <a:cubicBezTo>
                        <a:pt x="0" y="43"/>
                        <a:pt x="0" y="43"/>
                        <a:pt x="0" y="43"/>
                      </a:cubicBezTo>
                      <a:cubicBezTo>
                        <a:pt x="0" y="51"/>
                        <a:pt x="6" y="58"/>
                        <a:pt x="14" y="58"/>
                      </a:cubicBezTo>
                      <a:cubicBezTo>
                        <a:pt x="22" y="58"/>
                        <a:pt x="29" y="51"/>
                        <a:pt x="29" y="43"/>
                      </a:cubicBezTo>
                      <a:cubicBezTo>
                        <a:pt x="29" y="15"/>
                        <a:pt x="29" y="15"/>
                        <a:pt x="29" y="15"/>
                      </a:cubicBezTo>
                      <a:cubicBezTo>
                        <a:pt x="29" y="7"/>
                        <a:pt x="22" y="0"/>
                        <a:pt x="14" y="0"/>
                      </a:cubicBezTo>
                      <a:close/>
                    </a:path>
                  </a:pathLst>
                </a:custGeom>
                <a:solidFill>
                  <a:srgbClr val="4D4D4F"/>
                </a:solidFill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2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/>
                    <a:cs typeface=""/>
                  </a:endParaRPr>
                </a:p>
              </p:txBody>
            </p:sp>
            <p:sp>
              <p:nvSpPr>
                <p:cNvPr id="801" name="Freeform 31"/>
                <p:cNvSpPr>
                  <a:spLocks/>
                </p:cNvSpPr>
                <p:nvPr/>
              </p:nvSpPr>
              <p:spPr bwMode="auto">
                <a:xfrm>
                  <a:off x="4973638" y="2127250"/>
                  <a:ext cx="25400" cy="52388"/>
                </a:xfrm>
                <a:custGeom>
                  <a:avLst/>
                  <a:gdLst>
                    <a:gd name="T0" fmla="*/ 14 w 29"/>
                    <a:gd name="T1" fmla="*/ 0 h 58"/>
                    <a:gd name="T2" fmla="*/ 0 w 29"/>
                    <a:gd name="T3" fmla="*/ 15 h 58"/>
                    <a:gd name="T4" fmla="*/ 0 w 29"/>
                    <a:gd name="T5" fmla="*/ 43 h 58"/>
                    <a:gd name="T6" fmla="*/ 14 w 29"/>
                    <a:gd name="T7" fmla="*/ 58 h 58"/>
                    <a:gd name="T8" fmla="*/ 29 w 29"/>
                    <a:gd name="T9" fmla="*/ 43 h 58"/>
                    <a:gd name="T10" fmla="*/ 29 w 29"/>
                    <a:gd name="T11" fmla="*/ 15 h 58"/>
                    <a:gd name="T12" fmla="*/ 14 w 29"/>
                    <a:gd name="T13" fmla="*/ 0 h 5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9" h="58">
                      <a:moveTo>
                        <a:pt x="14" y="0"/>
                      </a:moveTo>
                      <a:cubicBezTo>
                        <a:pt x="6" y="0"/>
                        <a:pt x="0" y="7"/>
                        <a:pt x="0" y="15"/>
                      </a:cubicBezTo>
                      <a:cubicBezTo>
                        <a:pt x="0" y="43"/>
                        <a:pt x="0" y="43"/>
                        <a:pt x="0" y="43"/>
                      </a:cubicBezTo>
                      <a:cubicBezTo>
                        <a:pt x="0" y="51"/>
                        <a:pt x="6" y="58"/>
                        <a:pt x="14" y="58"/>
                      </a:cubicBezTo>
                      <a:cubicBezTo>
                        <a:pt x="22" y="58"/>
                        <a:pt x="29" y="51"/>
                        <a:pt x="29" y="43"/>
                      </a:cubicBezTo>
                      <a:cubicBezTo>
                        <a:pt x="29" y="15"/>
                        <a:pt x="29" y="15"/>
                        <a:pt x="29" y="15"/>
                      </a:cubicBezTo>
                      <a:cubicBezTo>
                        <a:pt x="29" y="7"/>
                        <a:pt x="22" y="0"/>
                        <a:pt x="14" y="0"/>
                      </a:cubicBezTo>
                      <a:close/>
                    </a:path>
                  </a:pathLst>
                </a:custGeom>
                <a:solidFill>
                  <a:srgbClr val="4D4D4F"/>
                </a:solidFill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2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/>
                    <a:cs typeface=""/>
                  </a:endParaRPr>
                </a:p>
              </p:txBody>
            </p:sp>
            <p:sp>
              <p:nvSpPr>
                <p:cNvPr id="802" name="Freeform 32"/>
                <p:cNvSpPr>
                  <a:spLocks/>
                </p:cNvSpPr>
                <p:nvPr/>
              </p:nvSpPr>
              <p:spPr bwMode="auto">
                <a:xfrm>
                  <a:off x="4546601" y="2470150"/>
                  <a:ext cx="53975" cy="33338"/>
                </a:xfrm>
                <a:custGeom>
                  <a:avLst/>
                  <a:gdLst>
                    <a:gd name="T0" fmla="*/ 46 w 60"/>
                    <a:gd name="T1" fmla="*/ 8 h 37"/>
                    <a:gd name="T2" fmla="*/ 21 w 60"/>
                    <a:gd name="T3" fmla="*/ 2 h 37"/>
                    <a:gd name="T4" fmla="*/ 3 w 60"/>
                    <a:gd name="T5" fmla="*/ 11 h 37"/>
                    <a:gd name="T6" fmla="*/ 12 w 60"/>
                    <a:gd name="T7" fmla="*/ 30 h 37"/>
                    <a:gd name="T8" fmla="*/ 43 w 60"/>
                    <a:gd name="T9" fmla="*/ 37 h 37"/>
                    <a:gd name="T10" fmla="*/ 44 w 60"/>
                    <a:gd name="T11" fmla="*/ 37 h 37"/>
                    <a:gd name="T12" fmla="*/ 59 w 60"/>
                    <a:gd name="T13" fmla="*/ 24 h 37"/>
                    <a:gd name="T14" fmla="*/ 46 w 60"/>
                    <a:gd name="T15" fmla="*/ 8 h 3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60" h="37">
                      <a:moveTo>
                        <a:pt x="46" y="8"/>
                      </a:moveTo>
                      <a:cubicBezTo>
                        <a:pt x="38" y="7"/>
                        <a:pt x="29" y="5"/>
                        <a:pt x="21" y="2"/>
                      </a:cubicBezTo>
                      <a:cubicBezTo>
                        <a:pt x="14" y="0"/>
                        <a:pt x="6" y="4"/>
                        <a:pt x="3" y="11"/>
                      </a:cubicBezTo>
                      <a:cubicBezTo>
                        <a:pt x="0" y="19"/>
                        <a:pt x="4" y="27"/>
                        <a:pt x="12" y="30"/>
                      </a:cubicBezTo>
                      <a:cubicBezTo>
                        <a:pt x="22" y="33"/>
                        <a:pt x="32" y="36"/>
                        <a:pt x="43" y="37"/>
                      </a:cubicBezTo>
                      <a:cubicBezTo>
                        <a:pt x="43" y="37"/>
                        <a:pt x="44" y="37"/>
                        <a:pt x="44" y="37"/>
                      </a:cubicBezTo>
                      <a:cubicBezTo>
                        <a:pt x="51" y="37"/>
                        <a:pt x="58" y="32"/>
                        <a:pt x="59" y="24"/>
                      </a:cubicBezTo>
                      <a:cubicBezTo>
                        <a:pt x="60" y="16"/>
                        <a:pt x="54" y="9"/>
                        <a:pt x="46" y="8"/>
                      </a:cubicBezTo>
                      <a:close/>
                    </a:path>
                  </a:pathLst>
                </a:custGeom>
                <a:solidFill>
                  <a:srgbClr val="4D4D4F"/>
                </a:solidFill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2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/>
                    <a:cs typeface=""/>
                  </a:endParaRPr>
                </a:p>
              </p:txBody>
            </p:sp>
            <p:sp>
              <p:nvSpPr>
                <p:cNvPr id="803" name="Freeform 33"/>
                <p:cNvSpPr>
                  <a:spLocks/>
                </p:cNvSpPr>
                <p:nvPr/>
              </p:nvSpPr>
              <p:spPr bwMode="auto">
                <a:xfrm>
                  <a:off x="4781551" y="2478088"/>
                  <a:ext cx="50800" cy="25400"/>
                </a:xfrm>
                <a:custGeom>
                  <a:avLst/>
                  <a:gdLst>
                    <a:gd name="T0" fmla="*/ 43 w 57"/>
                    <a:gd name="T1" fmla="*/ 0 h 29"/>
                    <a:gd name="T2" fmla="*/ 14 w 57"/>
                    <a:gd name="T3" fmla="*/ 0 h 29"/>
                    <a:gd name="T4" fmla="*/ 0 w 57"/>
                    <a:gd name="T5" fmla="*/ 15 h 29"/>
                    <a:gd name="T6" fmla="*/ 14 w 57"/>
                    <a:gd name="T7" fmla="*/ 29 h 29"/>
                    <a:gd name="T8" fmla="*/ 43 w 57"/>
                    <a:gd name="T9" fmla="*/ 29 h 29"/>
                    <a:gd name="T10" fmla="*/ 57 w 57"/>
                    <a:gd name="T11" fmla="*/ 15 h 29"/>
                    <a:gd name="T12" fmla="*/ 43 w 57"/>
                    <a:gd name="T13" fmla="*/ 0 h 2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57" h="29">
                      <a:moveTo>
                        <a:pt x="43" y="0"/>
                      </a:moveTo>
                      <a:cubicBezTo>
                        <a:pt x="14" y="0"/>
                        <a:pt x="14" y="0"/>
                        <a:pt x="14" y="0"/>
                      </a:cubicBezTo>
                      <a:cubicBezTo>
                        <a:pt x="6" y="0"/>
                        <a:pt x="0" y="7"/>
                        <a:pt x="0" y="15"/>
                      </a:cubicBezTo>
                      <a:cubicBezTo>
                        <a:pt x="0" y="23"/>
                        <a:pt x="6" y="29"/>
                        <a:pt x="14" y="29"/>
                      </a:cubicBezTo>
                      <a:cubicBezTo>
                        <a:pt x="43" y="29"/>
                        <a:pt x="43" y="29"/>
                        <a:pt x="43" y="29"/>
                      </a:cubicBezTo>
                      <a:cubicBezTo>
                        <a:pt x="51" y="29"/>
                        <a:pt x="57" y="23"/>
                        <a:pt x="57" y="15"/>
                      </a:cubicBezTo>
                      <a:cubicBezTo>
                        <a:pt x="57" y="7"/>
                        <a:pt x="51" y="0"/>
                        <a:pt x="43" y="0"/>
                      </a:cubicBezTo>
                      <a:close/>
                    </a:path>
                  </a:pathLst>
                </a:custGeom>
                <a:solidFill>
                  <a:srgbClr val="4D4D4F"/>
                </a:solidFill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2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/>
                    <a:cs typeface=""/>
                  </a:endParaRPr>
                </a:p>
              </p:txBody>
            </p:sp>
            <p:sp>
              <p:nvSpPr>
                <p:cNvPr id="804" name="Freeform 34"/>
                <p:cNvSpPr>
                  <a:spLocks/>
                </p:cNvSpPr>
                <p:nvPr/>
              </p:nvSpPr>
              <p:spPr bwMode="auto">
                <a:xfrm>
                  <a:off x="4703763" y="2478088"/>
                  <a:ext cx="50800" cy="25400"/>
                </a:xfrm>
                <a:custGeom>
                  <a:avLst/>
                  <a:gdLst>
                    <a:gd name="T0" fmla="*/ 44 w 58"/>
                    <a:gd name="T1" fmla="*/ 0 h 29"/>
                    <a:gd name="T2" fmla="*/ 15 w 58"/>
                    <a:gd name="T3" fmla="*/ 0 h 29"/>
                    <a:gd name="T4" fmla="*/ 0 w 58"/>
                    <a:gd name="T5" fmla="*/ 15 h 29"/>
                    <a:gd name="T6" fmla="*/ 15 w 58"/>
                    <a:gd name="T7" fmla="*/ 29 h 29"/>
                    <a:gd name="T8" fmla="*/ 44 w 58"/>
                    <a:gd name="T9" fmla="*/ 29 h 29"/>
                    <a:gd name="T10" fmla="*/ 58 w 58"/>
                    <a:gd name="T11" fmla="*/ 15 h 29"/>
                    <a:gd name="T12" fmla="*/ 44 w 58"/>
                    <a:gd name="T13" fmla="*/ 0 h 2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58" h="29">
                      <a:moveTo>
                        <a:pt x="44" y="0"/>
                      </a:moveTo>
                      <a:cubicBezTo>
                        <a:pt x="15" y="0"/>
                        <a:pt x="15" y="0"/>
                        <a:pt x="15" y="0"/>
                      </a:cubicBezTo>
                      <a:cubicBezTo>
                        <a:pt x="7" y="0"/>
                        <a:pt x="0" y="7"/>
                        <a:pt x="0" y="15"/>
                      </a:cubicBezTo>
                      <a:cubicBezTo>
                        <a:pt x="0" y="23"/>
                        <a:pt x="7" y="29"/>
                        <a:pt x="15" y="29"/>
                      </a:cubicBezTo>
                      <a:cubicBezTo>
                        <a:pt x="44" y="29"/>
                        <a:pt x="44" y="29"/>
                        <a:pt x="44" y="29"/>
                      </a:cubicBezTo>
                      <a:cubicBezTo>
                        <a:pt x="51" y="29"/>
                        <a:pt x="58" y="23"/>
                        <a:pt x="58" y="15"/>
                      </a:cubicBezTo>
                      <a:cubicBezTo>
                        <a:pt x="58" y="7"/>
                        <a:pt x="51" y="0"/>
                        <a:pt x="44" y="0"/>
                      </a:cubicBezTo>
                      <a:close/>
                    </a:path>
                  </a:pathLst>
                </a:custGeom>
                <a:solidFill>
                  <a:srgbClr val="4D4D4F"/>
                </a:solidFill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2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/>
                    <a:cs typeface=""/>
                  </a:endParaRPr>
                </a:p>
              </p:txBody>
            </p:sp>
            <p:sp>
              <p:nvSpPr>
                <p:cNvPr id="805" name="Freeform 35"/>
                <p:cNvSpPr>
                  <a:spLocks/>
                </p:cNvSpPr>
                <p:nvPr/>
              </p:nvSpPr>
              <p:spPr bwMode="auto">
                <a:xfrm>
                  <a:off x="4625976" y="2478088"/>
                  <a:ext cx="52388" cy="25400"/>
                </a:xfrm>
                <a:custGeom>
                  <a:avLst/>
                  <a:gdLst>
                    <a:gd name="T0" fmla="*/ 43 w 58"/>
                    <a:gd name="T1" fmla="*/ 0 h 29"/>
                    <a:gd name="T2" fmla="*/ 15 w 58"/>
                    <a:gd name="T3" fmla="*/ 0 h 29"/>
                    <a:gd name="T4" fmla="*/ 0 w 58"/>
                    <a:gd name="T5" fmla="*/ 15 h 29"/>
                    <a:gd name="T6" fmla="*/ 15 w 58"/>
                    <a:gd name="T7" fmla="*/ 29 h 29"/>
                    <a:gd name="T8" fmla="*/ 43 w 58"/>
                    <a:gd name="T9" fmla="*/ 29 h 29"/>
                    <a:gd name="T10" fmla="*/ 58 w 58"/>
                    <a:gd name="T11" fmla="*/ 15 h 29"/>
                    <a:gd name="T12" fmla="*/ 43 w 58"/>
                    <a:gd name="T13" fmla="*/ 0 h 2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58" h="29">
                      <a:moveTo>
                        <a:pt x="43" y="0"/>
                      </a:moveTo>
                      <a:cubicBezTo>
                        <a:pt x="15" y="0"/>
                        <a:pt x="15" y="0"/>
                        <a:pt x="15" y="0"/>
                      </a:cubicBezTo>
                      <a:cubicBezTo>
                        <a:pt x="7" y="0"/>
                        <a:pt x="0" y="7"/>
                        <a:pt x="0" y="15"/>
                      </a:cubicBezTo>
                      <a:cubicBezTo>
                        <a:pt x="0" y="23"/>
                        <a:pt x="7" y="29"/>
                        <a:pt x="15" y="29"/>
                      </a:cubicBezTo>
                      <a:cubicBezTo>
                        <a:pt x="43" y="29"/>
                        <a:pt x="43" y="29"/>
                        <a:pt x="43" y="29"/>
                      </a:cubicBezTo>
                      <a:cubicBezTo>
                        <a:pt x="51" y="29"/>
                        <a:pt x="58" y="23"/>
                        <a:pt x="58" y="15"/>
                      </a:cubicBezTo>
                      <a:cubicBezTo>
                        <a:pt x="58" y="7"/>
                        <a:pt x="51" y="0"/>
                        <a:pt x="43" y="0"/>
                      </a:cubicBezTo>
                      <a:close/>
                    </a:path>
                  </a:pathLst>
                </a:custGeom>
                <a:solidFill>
                  <a:srgbClr val="4D4D4F"/>
                </a:solidFill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2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/>
                    <a:cs typeface=""/>
                  </a:endParaRPr>
                </a:p>
              </p:txBody>
            </p:sp>
            <p:sp>
              <p:nvSpPr>
                <p:cNvPr id="806" name="Freeform 38"/>
                <p:cNvSpPr>
                  <a:spLocks/>
                </p:cNvSpPr>
                <p:nvPr/>
              </p:nvSpPr>
              <p:spPr bwMode="auto">
                <a:xfrm>
                  <a:off x="4859338" y="2473325"/>
                  <a:ext cx="52388" cy="30163"/>
                </a:xfrm>
                <a:custGeom>
                  <a:avLst/>
                  <a:gdLst>
                    <a:gd name="T0" fmla="*/ 39 w 58"/>
                    <a:gd name="T1" fmla="*/ 2 h 34"/>
                    <a:gd name="T2" fmla="*/ 14 w 58"/>
                    <a:gd name="T3" fmla="*/ 5 h 34"/>
                    <a:gd name="T4" fmla="*/ 0 w 58"/>
                    <a:gd name="T5" fmla="*/ 20 h 34"/>
                    <a:gd name="T6" fmla="*/ 14 w 58"/>
                    <a:gd name="T7" fmla="*/ 34 h 34"/>
                    <a:gd name="T8" fmla="*/ 14 w 58"/>
                    <a:gd name="T9" fmla="*/ 34 h 34"/>
                    <a:gd name="T10" fmla="*/ 46 w 58"/>
                    <a:gd name="T11" fmla="*/ 30 h 34"/>
                    <a:gd name="T12" fmla="*/ 56 w 58"/>
                    <a:gd name="T13" fmla="*/ 12 h 34"/>
                    <a:gd name="T14" fmla="*/ 39 w 58"/>
                    <a:gd name="T15" fmla="*/ 2 h 3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58" h="34">
                      <a:moveTo>
                        <a:pt x="39" y="2"/>
                      </a:moveTo>
                      <a:cubicBezTo>
                        <a:pt x="31" y="4"/>
                        <a:pt x="22" y="5"/>
                        <a:pt x="14" y="5"/>
                      </a:cubicBezTo>
                      <a:cubicBezTo>
                        <a:pt x="6" y="5"/>
                        <a:pt x="0" y="12"/>
                        <a:pt x="0" y="20"/>
                      </a:cubicBezTo>
                      <a:cubicBezTo>
                        <a:pt x="0" y="28"/>
                        <a:pt x="6" y="34"/>
                        <a:pt x="14" y="34"/>
                      </a:cubicBezTo>
                      <a:cubicBezTo>
                        <a:pt x="14" y="34"/>
                        <a:pt x="14" y="34"/>
                        <a:pt x="14" y="34"/>
                      </a:cubicBezTo>
                      <a:cubicBezTo>
                        <a:pt x="25" y="34"/>
                        <a:pt x="36" y="32"/>
                        <a:pt x="46" y="30"/>
                      </a:cubicBezTo>
                      <a:cubicBezTo>
                        <a:pt x="54" y="28"/>
                        <a:pt x="58" y="20"/>
                        <a:pt x="56" y="12"/>
                      </a:cubicBezTo>
                      <a:cubicBezTo>
                        <a:pt x="55" y="5"/>
                        <a:pt x="47" y="0"/>
                        <a:pt x="39" y="2"/>
                      </a:cubicBezTo>
                      <a:close/>
                    </a:path>
                  </a:pathLst>
                </a:custGeom>
                <a:solidFill>
                  <a:srgbClr val="4D4D4F"/>
                </a:solidFill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2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/>
                    <a:cs typeface=""/>
                  </a:endParaRPr>
                </a:p>
              </p:txBody>
            </p:sp>
          </p:grpSp>
          <p:sp>
            <p:nvSpPr>
              <p:cNvPr id="782" name="Rounded Rectangle 781"/>
              <p:cNvSpPr/>
              <p:nvPr/>
            </p:nvSpPr>
            <p:spPr>
              <a:xfrm>
                <a:off x="5359901" y="2386601"/>
                <a:ext cx="308105" cy="310923"/>
              </a:xfrm>
              <a:prstGeom prst="roundRect">
                <a:avLst/>
              </a:prstGeom>
              <a:solidFill>
                <a:srgbClr val="F79646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"/>
                  <a:cs typeface=""/>
                </a:endParaRPr>
              </a:p>
            </p:txBody>
          </p:sp>
          <p:sp>
            <p:nvSpPr>
              <p:cNvPr id="783" name="Freeform 12"/>
              <p:cNvSpPr>
                <a:spLocks noEditPoints="1"/>
              </p:cNvSpPr>
              <p:nvPr/>
            </p:nvSpPr>
            <p:spPr bwMode="auto">
              <a:xfrm>
                <a:off x="5406483" y="2446478"/>
                <a:ext cx="214941" cy="191168"/>
              </a:xfrm>
              <a:custGeom>
                <a:avLst/>
                <a:gdLst>
                  <a:gd name="T0" fmla="*/ 419 w 494"/>
                  <a:gd name="T1" fmla="*/ 299 h 448"/>
                  <a:gd name="T2" fmla="*/ 403 w 494"/>
                  <a:gd name="T3" fmla="*/ 301 h 448"/>
                  <a:gd name="T4" fmla="*/ 302 w 494"/>
                  <a:gd name="T5" fmla="*/ 126 h 448"/>
                  <a:gd name="T6" fmla="*/ 322 w 494"/>
                  <a:gd name="T7" fmla="*/ 75 h 448"/>
                  <a:gd name="T8" fmla="*/ 247 w 494"/>
                  <a:gd name="T9" fmla="*/ 0 h 448"/>
                  <a:gd name="T10" fmla="*/ 173 w 494"/>
                  <a:gd name="T11" fmla="*/ 75 h 448"/>
                  <a:gd name="T12" fmla="*/ 193 w 494"/>
                  <a:gd name="T13" fmla="*/ 126 h 448"/>
                  <a:gd name="T14" fmla="*/ 91 w 494"/>
                  <a:gd name="T15" fmla="*/ 301 h 448"/>
                  <a:gd name="T16" fmla="*/ 75 w 494"/>
                  <a:gd name="T17" fmla="*/ 299 h 448"/>
                  <a:gd name="T18" fmla="*/ 0 w 494"/>
                  <a:gd name="T19" fmla="*/ 373 h 448"/>
                  <a:gd name="T20" fmla="*/ 75 w 494"/>
                  <a:gd name="T21" fmla="*/ 448 h 448"/>
                  <a:gd name="T22" fmla="*/ 146 w 494"/>
                  <a:gd name="T23" fmla="*/ 395 h 448"/>
                  <a:gd name="T24" fmla="*/ 349 w 494"/>
                  <a:gd name="T25" fmla="*/ 395 h 448"/>
                  <a:gd name="T26" fmla="*/ 419 w 494"/>
                  <a:gd name="T27" fmla="*/ 448 h 448"/>
                  <a:gd name="T28" fmla="*/ 494 w 494"/>
                  <a:gd name="T29" fmla="*/ 373 h 448"/>
                  <a:gd name="T30" fmla="*/ 419 w 494"/>
                  <a:gd name="T31" fmla="*/ 299 h 448"/>
                  <a:gd name="T32" fmla="*/ 349 w 494"/>
                  <a:gd name="T33" fmla="*/ 351 h 448"/>
                  <a:gd name="T34" fmla="*/ 146 w 494"/>
                  <a:gd name="T35" fmla="*/ 351 h 448"/>
                  <a:gd name="T36" fmla="*/ 130 w 494"/>
                  <a:gd name="T37" fmla="*/ 323 h 448"/>
                  <a:gd name="T38" fmla="*/ 231 w 494"/>
                  <a:gd name="T39" fmla="*/ 148 h 448"/>
                  <a:gd name="T40" fmla="*/ 247 w 494"/>
                  <a:gd name="T41" fmla="*/ 150 h 448"/>
                  <a:gd name="T42" fmla="*/ 264 w 494"/>
                  <a:gd name="T43" fmla="*/ 148 h 448"/>
                  <a:gd name="T44" fmla="*/ 365 w 494"/>
                  <a:gd name="T45" fmla="*/ 323 h 448"/>
                  <a:gd name="T46" fmla="*/ 349 w 494"/>
                  <a:gd name="T47" fmla="*/ 351 h 4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494" h="448">
                    <a:moveTo>
                      <a:pt x="419" y="299"/>
                    </a:moveTo>
                    <a:cubicBezTo>
                      <a:pt x="414" y="299"/>
                      <a:pt x="408" y="300"/>
                      <a:pt x="403" y="301"/>
                    </a:cubicBezTo>
                    <a:cubicBezTo>
                      <a:pt x="302" y="126"/>
                      <a:pt x="302" y="126"/>
                      <a:pt x="302" y="126"/>
                    </a:cubicBezTo>
                    <a:cubicBezTo>
                      <a:pt x="314" y="112"/>
                      <a:pt x="322" y="95"/>
                      <a:pt x="322" y="75"/>
                    </a:cubicBezTo>
                    <a:cubicBezTo>
                      <a:pt x="322" y="34"/>
                      <a:pt x="288" y="0"/>
                      <a:pt x="247" y="0"/>
                    </a:cubicBezTo>
                    <a:cubicBezTo>
                      <a:pt x="206" y="0"/>
                      <a:pt x="173" y="34"/>
                      <a:pt x="173" y="75"/>
                    </a:cubicBezTo>
                    <a:cubicBezTo>
                      <a:pt x="173" y="95"/>
                      <a:pt x="180" y="112"/>
                      <a:pt x="193" y="126"/>
                    </a:cubicBezTo>
                    <a:cubicBezTo>
                      <a:pt x="91" y="301"/>
                      <a:pt x="91" y="301"/>
                      <a:pt x="91" y="301"/>
                    </a:cubicBezTo>
                    <a:cubicBezTo>
                      <a:pt x="86" y="300"/>
                      <a:pt x="81" y="299"/>
                      <a:pt x="75" y="299"/>
                    </a:cubicBezTo>
                    <a:cubicBezTo>
                      <a:pt x="34" y="299"/>
                      <a:pt x="0" y="332"/>
                      <a:pt x="0" y="373"/>
                    </a:cubicBezTo>
                    <a:cubicBezTo>
                      <a:pt x="0" y="415"/>
                      <a:pt x="34" y="448"/>
                      <a:pt x="75" y="448"/>
                    </a:cubicBezTo>
                    <a:cubicBezTo>
                      <a:pt x="108" y="448"/>
                      <a:pt x="136" y="426"/>
                      <a:pt x="146" y="395"/>
                    </a:cubicBezTo>
                    <a:cubicBezTo>
                      <a:pt x="349" y="395"/>
                      <a:pt x="349" y="395"/>
                      <a:pt x="349" y="395"/>
                    </a:cubicBezTo>
                    <a:cubicBezTo>
                      <a:pt x="358" y="426"/>
                      <a:pt x="386" y="448"/>
                      <a:pt x="419" y="448"/>
                    </a:cubicBezTo>
                    <a:cubicBezTo>
                      <a:pt x="461" y="448"/>
                      <a:pt x="494" y="415"/>
                      <a:pt x="494" y="373"/>
                    </a:cubicBezTo>
                    <a:cubicBezTo>
                      <a:pt x="494" y="332"/>
                      <a:pt x="461" y="299"/>
                      <a:pt x="419" y="299"/>
                    </a:cubicBezTo>
                    <a:close/>
                    <a:moveTo>
                      <a:pt x="349" y="351"/>
                    </a:moveTo>
                    <a:cubicBezTo>
                      <a:pt x="146" y="351"/>
                      <a:pt x="146" y="351"/>
                      <a:pt x="146" y="351"/>
                    </a:cubicBezTo>
                    <a:cubicBezTo>
                      <a:pt x="142" y="341"/>
                      <a:pt x="137" y="331"/>
                      <a:pt x="130" y="323"/>
                    </a:cubicBezTo>
                    <a:cubicBezTo>
                      <a:pt x="231" y="148"/>
                      <a:pt x="231" y="148"/>
                      <a:pt x="231" y="148"/>
                    </a:cubicBezTo>
                    <a:cubicBezTo>
                      <a:pt x="236" y="149"/>
                      <a:pt x="242" y="150"/>
                      <a:pt x="247" y="150"/>
                    </a:cubicBezTo>
                    <a:cubicBezTo>
                      <a:pt x="253" y="150"/>
                      <a:pt x="258" y="149"/>
                      <a:pt x="264" y="148"/>
                    </a:cubicBezTo>
                    <a:cubicBezTo>
                      <a:pt x="365" y="323"/>
                      <a:pt x="365" y="323"/>
                      <a:pt x="365" y="323"/>
                    </a:cubicBezTo>
                    <a:cubicBezTo>
                      <a:pt x="358" y="331"/>
                      <a:pt x="352" y="341"/>
                      <a:pt x="349" y="351"/>
                    </a:cubicBezTo>
                    <a:close/>
                  </a:path>
                </a:pathLst>
              </a:custGeom>
              <a:solidFill>
                <a:sysClr val="window" lastClr="FFFFFF"/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cs typeface=""/>
                </a:endParaRPr>
              </a:p>
            </p:txBody>
          </p:sp>
        </p:grpSp>
        <p:grpSp>
          <p:nvGrpSpPr>
            <p:cNvPr id="699" name="Group 698"/>
            <p:cNvGrpSpPr/>
            <p:nvPr/>
          </p:nvGrpSpPr>
          <p:grpSpPr>
            <a:xfrm>
              <a:off x="3747227" y="3300224"/>
              <a:ext cx="323368" cy="283709"/>
              <a:chOff x="5310724" y="2352924"/>
              <a:chExt cx="398754" cy="374816"/>
            </a:xfrm>
          </p:grpSpPr>
          <p:grpSp>
            <p:nvGrpSpPr>
              <p:cNvPr id="755" name="Group 754"/>
              <p:cNvGrpSpPr/>
              <p:nvPr/>
            </p:nvGrpSpPr>
            <p:grpSpPr>
              <a:xfrm rot="5400000">
                <a:off x="5322693" y="2340955"/>
                <a:ext cx="374816" cy="398754"/>
                <a:chOff x="4471988" y="1985963"/>
                <a:chExt cx="527051" cy="517525"/>
              </a:xfrm>
            </p:grpSpPr>
            <p:sp>
              <p:nvSpPr>
                <p:cNvPr id="758" name="Freeform 13"/>
                <p:cNvSpPr>
                  <a:spLocks/>
                </p:cNvSpPr>
                <p:nvPr/>
              </p:nvSpPr>
              <p:spPr bwMode="auto">
                <a:xfrm>
                  <a:off x="4471988" y="2117725"/>
                  <a:ext cx="25400" cy="50800"/>
                </a:xfrm>
                <a:custGeom>
                  <a:avLst/>
                  <a:gdLst>
                    <a:gd name="T0" fmla="*/ 14 w 29"/>
                    <a:gd name="T1" fmla="*/ 57 h 57"/>
                    <a:gd name="T2" fmla="*/ 29 w 29"/>
                    <a:gd name="T3" fmla="*/ 43 h 57"/>
                    <a:gd name="T4" fmla="*/ 29 w 29"/>
                    <a:gd name="T5" fmla="*/ 14 h 57"/>
                    <a:gd name="T6" fmla="*/ 14 w 29"/>
                    <a:gd name="T7" fmla="*/ 0 h 57"/>
                    <a:gd name="T8" fmla="*/ 0 w 29"/>
                    <a:gd name="T9" fmla="*/ 14 h 57"/>
                    <a:gd name="T10" fmla="*/ 0 w 29"/>
                    <a:gd name="T11" fmla="*/ 43 h 57"/>
                    <a:gd name="T12" fmla="*/ 14 w 29"/>
                    <a:gd name="T13" fmla="*/ 57 h 5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9" h="57">
                      <a:moveTo>
                        <a:pt x="14" y="57"/>
                      </a:moveTo>
                      <a:cubicBezTo>
                        <a:pt x="22" y="57"/>
                        <a:pt x="29" y="51"/>
                        <a:pt x="29" y="43"/>
                      </a:cubicBezTo>
                      <a:cubicBezTo>
                        <a:pt x="29" y="14"/>
                        <a:pt x="29" y="14"/>
                        <a:pt x="29" y="14"/>
                      </a:cubicBezTo>
                      <a:cubicBezTo>
                        <a:pt x="29" y="6"/>
                        <a:pt x="22" y="0"/>
                        <a:pt x="14" y="0"/>
                      </a:cubicBezTo>
                      <a:cubicBezTo>
                        <a:pt x="7" y="0"/>
                        <a:pt x="0" y="6"/>
                        <a:pt x="0" y="14"/>
                      </a:cubicBezTo>
                      <a:cubicBezTo>
                        <a:pt x="0" y="43"/>
                        <a:pt x="0" y="43"/>
                        <a:pt x="0" y="43"/>
                      </a:cubicBezTo>
                      <a:cubicBezTo>
                        <a:pt x="0" y="51"/>
                        <a:pt x="7" y="57"/>
                        <a:pt x="14" y="57"/>
                      </a:cubicBezTo>
                      <a:close/>
                    </a:path>
                  </a:pathLst>
                </a:custGeom>
                <a:solidFill>
                  <a:srgbClr val="4D4D4F"/>
                </a:solidFill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2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/>
                    <a:cs typeface=""/>
                  </a:endParaRPr>
                </a:p>
              </p:txBody>
            </p:sp>
            <p:sp>
              <p:nvSpPr>
                <p:cNvPr id="759" name="Freeform 14"/>
                <p:cNvSpPr>
                  <a:spLocks/>
                </p:cNvSpPr>
                <p:nvPr/>
              </p:nvSpPr>
              <p:spPr bwMode="auto">
                <a:xfrm>
                  <a:off x="4471988" y="2271713"/>
                  <a:ext cx="25400" cy="52388"/>
                </a:xfrm>
                <a:custGeom>
                  <a:avLst/>
                  <a:gdLst>
                    <a:gd name="T0" fmla="*/ 14 w 29"/>
                    <a:gd name="T1" fmla="*/ 58 h 58"/>
                    <a:gd name="T2" fmla="*/ 29 w 29"/>
                    <a:gd name="T3" fmla="*/ 43 h 58"/>
                    <a:gd name="T4" fmla="*/ 29 w 29"/>
                    <a:gd name="T5" fmla="*/ 15 h 58"/>
                    <a:gd name="T6" fmla="*/ 14 w 29"/>
                    <a:gd name="T7" fmla="*/ 0 h 58"/>
                    <a:gd name="T8" fmla="*/ 0 w 29"/>
                    <a:gd name="T9" fmla="*/ 15 h 58"/>
                    <a:gd name="T10" fmla="*/ 0 w 29"/>
                    <a:gd name="T11" fmla="*/ 43 h 58"/>
                    <a:gd name="T12" fmla="*/ 14 w 29"/>
                    <a:gd name="T13" fmla="*/ 58 h 5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9" h="58">
                      <a:moveTo>
                        <a:pt x="14" y="58"/>
                      </a:moveTo>
                      <a:cubicBezTo>
                        <a:pt x="22" y="58"/>
                        <a:pt x="29" y="51"/>
                        <a:pt x="29" y="43"/>
                      </a:cubicBezTo>
                      <a:cubicBezTo>
                        <a:pt x="29" y="15"/>
                        <a:pt x="29" y="15"/>
                        <a:pt x="29" y="15"/>
                      </a:cubicBezTo>
                      <a:cubicBezTo>
                        <a:pt x="29" y="7"/>
                        <a:pt x="22" y="0"/>
                        <a:pt x="14" y="0"/>
                      </a:cubicBezTo>
                      <a:cubicBezTo>
                        <a:pt x="7" y="0"/>
                        <a:pt x="0" y="7"/>
                        <a:pt x="0" y="15"/>
                      </a:cubicBezTo>
                      <a:cubicBezTo>
                        <a:pt x="0" y="43"/>
                        <a:pt x="0" y="43"/>
                        <a:pt x="0" y="43"/>
                      </a:cubicBezTo>
                      <a:cubicBezTo>
                        <a:pt x="0" y="51"/>
                        <a:pt x="7" y="58"/>
                        <a:pt x="14" y="58"/>
                      </a:cubicBezTo>
                      <a:close/>
                    </a:path>
                  </a:pathLst>
                </a:custGeom>
                <a:solidFill>
                  <a:srgbClr val="4D4D4F"/>
                </a:solidFill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2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/>
                    <a:cs typeface=""/>
                  </a:endParaRPr>
                </a:p>
              </p:txBody>
            </p:sp>
            <p:sp>
              <p:nvSpPr>
                <p:cNvPr id="760" name="Freeform 15"/>
                <p:cNvSpPr>
                  <a:spLocks/>
                </p:cNvSpPr>
                <p:nvPr/>
              </p:nvSpPr>
              <p:spPr bwMode="auto">
                <a:xfrm>
                  <a:off x="4487863" y="2422525"/>
                  <a:ext cx="44450" cy="47625"/>
                </a:xfrm>
                <a:custGeom>
                  <a:avLst/>
                  <a:gdLst>
                    <a:gd name="T0" fmla="*/ 29 w 50"/>
                    <a:gd name="T1" fmla="*/ 8 h 53"/>
                    <a:gd name="T2" fmla="*/ 9 w 50"/>
                    <a:gd name="T3" fmla="*/ 4 h 53"/>
                    <a:gd name="T4" fmla="*/ 4 w 50"/>
                    <a:gd name="T5" fmla="*/ 24 h 53"/>
                    <a:gd name="T6" fmla="*/ 24 w 50"/>
                    <a:gd name="T7" fmla="*/ 49 h 53"/>
                    <a:gd name="T8" fmla="*/ 34 w 50"/>
                    <a:gd name="T9" fmla="*/ 53 h 53"/>
                    <a:gd name="T10" fmla="*/ 45 w 50"/>
                    <a:gd name="T11" fmla="*/ 49 h 53"/>
                    <a:gd name="T12" fmla="*/ 45 w 50"/>
                    <a:gd name="T13" fmla="*/ 28 h 53"/>
                    <a:gd name="T14" fmla="*/ 29 w 50"/>
                    <a:gd name="T15" fmla="*/ 8 h 5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50" h="53">
                      <a:moveTo>
                        <a:pt x="29" y="8"/>
                      </a:moveTo>
                      <a:cubicBezTo>
                        <a:pt x="24" y="2"/>
                        <a:pt x="15" y="0"/>
                        <a:pt x="9" y="4"/>
                      </a:cubicBezTo>
                      <a:cubicBezTo>
                        <a:pt x="2" y="8"/>
                        <a:pt x="0" y="17"/>
                        <a:pt x="4" y="24"/>
                      </a:cubicBezTo>
                      <a:cubicBezTo>
                        <a:pt x="10" y="33"/>
                        <a:pt x="17" y="41"/>
                        <a:pt x="24" y="49"/>
                      </a:cubicBezTo>
                      <a:cubicBezTo>
                        <a:pt x="27" y="51"/>
                        <a:pt x="31" y="53"/>
                        <a:pt x="34" y="53"/>
                      </a:cubicBezTo>
                      <a:cubicBezTo>
                        <a:pt x="38" y="53"/>
                        <a:pt x="42" y="51"/>
                        <a:pt x="45" y="49"/>
                      </a:cubicBezTo>
                      <a:cubicBezTo>
                        <a:pt x="50" y="43"/>
                        <a:pt x="50" y="34"/>
                        <a:pt x="45" y="28"/>
                      </a:cubicBezTo>
                      <a:cubicBezTo>
                        <a:pt x="39" y="22"/>
                        <a:pt x="33" y="15"/>
                        <a:pt x="29" y="8"/>
                      </a:cubicBezTo>
                      <a:close/>
                    </a:path>
                  </a:pathLst>
                </a:custGeom>
                <a:solidFill>
                  <a:srgbClr val="4D4D4F"/>
                </a:solidFill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2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/>
                    <a:cs typeface=""/>
                  </a:endParaRPr>
                </a:p>
              </p:txBody>
            </p:sp>
            <p:sp>
              <p:nvSpPr>
                <p:cNvPr id="761" name="Freeform 16"/>
                <p:cNvSpPr>
                  <a:spLocks/>
                </p:cNvSpPr>
                <p:nvPr/>
              </p:nvSpPr>
              <p:spPr bwMode="auto">
                <a:xfrm>
                  <a:off x="4471988" y="2193925"/>
                  <a:ext cx="25400" cy="52388"/>
                </a:xfrm>
                <a:custGeom>
                  <a:avLst/>
                  <a:gdLst>
                    <a:gd name="T0" fmla="*/ 14 w 29"/>
                    <a:gd name="T1" fmla="*/ 58 h 58"/>
                    <a:gd name="T2" fmla="*/ 29 w 29"/>
                    <a:gd name="T3" fmla="*/ 43 h 58"/>
                    <a:gd name="T4" fmla="*/ 29 w 29"/>
                    <a:gd name="T5" fmla="*/ 14 h 58"/>
                    <a:gd name="T6" fmla="*/ 14 w 29"/>
                    <a:gd name="T7" fmla="*/ 0 h 58"/>
                    <a:gd name="T8" fmla="*/ 0 w 29"/>
                    <a:gd name="T9" fmla="*/ 14 h 58"/>
                    <a:gd name="T10" fmla="*/ 0 w 29"/>
                    <a:gd name="T11" fmla="*/ 43 h 58"/>
                    <a:gd name="T12" fmla="*/ 14 w 29"/>
                    <a:gd name="T13" fmla="*/ 58 h 5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9" h="58">
                      <a:moveTo>
                        <a:pt x="14" y="58"/>
                      </a:moveTo>
                      <a:cubicBezTo>
                        <a:pt x="22" y="58"/>
                        <a:pt x="29" y="51"/>
                        <a:pt x="29" y="43"/>
                      </a:cubicBezTo>
                      <a:cubicBezTo>
                        <a:pt x="29" y="14"/>
                        <a:pt x="29" y="14"/>
                        <a:pt x="29" y="14"/>
                      </a:cubicBezTo>
                      <a:cubicBezTo>
                        <a:pt x="29" y="6"/>
                        <a:pt x="22" y="0"/>
                        <a:pt x="14" y="0"/>
                      </a:cubicBezTo>
                      <a:cubicBezTo>
                        <a:pt x="7" y="0"/>
                        <a:pt x="0" y="6"/>
                        <a:pt x="0" y="14"/>
                      </a:cubicBezTo>
                      <a:cubicBezTo>
                        <a:pt x="0" y="43"/>
                        <a:pt x="0" y="43"/>
                        <a:pt x="0" y="43"/>
                      </a:cubicBezTo>
                      <a:cubicBezTo>
                        <a:pt x="0" y="51"/>
                        <a:pt x="7" y="58"/>
                        <a:pt x="14" y="58"/>
                      </a:cubicBezTo>
                      <a:close/>
                    </a:path>
                  </a:pathLst>
                </a:custGeom>
                <a:solidFill>
                  <a:srgbClr val="4D4D4F"/>
                </a:solidFill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2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/>
                    <a:cs typeface=""/>
                  </a:endParaRPr>
                </a:p>
              </p:txBody>
            </p:sp>
            <p:sp>
              <p:nvSpPr>
                <p:cNvPr id="762" name="Freeform 17"/>
                <p:cNvSpPr>
                  <a:spLocks/>
                </p:cNvSpPr>
                <p:nvPr/>
              </p:nvSpPr>
              <p:spPr bwMode="auto">
                <a:xfrm>
                  <a:off x="4830763" y="1985963"/>
                  <a:ext cx="50800" cy="26988"/>
                </a:xfrm>
                <a:custGeom>
                  <a:avLst/>
                  <a:gdLst>
                    <a:gd name="T0" fmla="*/ 15 w 57"/>
                    <a:gd name="T1" fmla="*/ 29 h 29"/>
                    <a:gd name="T2" fmla="*/ 44 w 57"/>
                    <a:gd name="T3" fmla="*/ 29 h 29"/>
                    <a:gd name="T4" fmla="*/ 57 w 57"/>
                    <a:gd name="T5" fmla="*/ 15 h 29"/>
                    <a:gd name="T6" fmla="*/ 43 w 57"/>
                    <a:gd name="T7" fmla="*/ 0 h 29"/>
                    <a:gd name="T8" fmla="*/ 15 w 57"/>
                    <a:gd name="T9" fmla="*/ 0 h 29"/>
                    <a:gd name="T10" fmla="*/ 0 w 57"/>
                    <a:gd name="T11" fmla="*/ 15 h 29"/>
                    <a:gd name="T12" fmla="*/ 15 w 57"/>
                    <a:gd name="T13" fmla="*/ 29 h 2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57" h="29">
                      <a:moveTo>
                        <a:pt x="15" y="29"/>
                      </a:moveTo>
                      <a:cubicBezTo>
                        <a:pt x="44" y="29"/>
                        <a:pt x="44" y="29"/>
                        <a:pt x="44" y="29"/>
                      </a:cubicBezTo>
                      <a:cubicBezTo>
                        <a:pt x="51" y="29"/>
                        <a:pt x="57" y="23"/>
                        <a:pt x="57" y="15"/>
                      </a:cubicBezTo>
                      <a:cubicBezTo>
                        <a:pt x="57" y="7"/>
                        <a:pt x="50" y="0"/>
                        <a:pt x="43" y="0"/>
                      </a:cubicBezTo>
                      <a:cubicBezTo>
                        <a:pt x="15" y="0"/>
                        <a:pt x="15" y="0"/>
                        <a:pt x="15" y="0"/>
                      </a:cubicBezTo>
                      <a:cubicBezTo>
                        <a:pt x="7" y="0"/>
                        <a:pt x="0" y="7"/>
                        <a:pt x="0" y="15"/>
                      </a:cubicBezTo>
                      <a:cubicBezTo>
                        <a:pt x="0" y="23"/>
                        <a:pt x="7" y="29"/>
                        <a:pt x="15" y="29"/>
                      </a:cubicBezTo>
                      <a:close/>
                    </a:path>
                  </a:pathLst>
                </a:custGeom>
                <a:solidFill>
                  <a:srgbClr val="4D4D4F"/>
                </a:solidFill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2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/>
                    <a:cs typeface=""/>
                  </a:endParaRPr>
                </a:p>
              </p:txBody>
            </p:sp>
            <p:sp>
              <p:nvSpPr>
                <p:cNvPr id="763" name="Freeform 18"/>
                <p:cNvSpPr>
                  <a:spLocks/>
                </p:cNvSpPr>
                <p:nvPr/>
              </p:nvSpPr>
              <p:spPr bwMode="auto">
                <a:xfrm>
                  <a:off x="4905376" y="1997075"/>
                  <a:ext cx="50800" cy="41275"/>
                </a:xfrm>
                <a:custGeom>
                  <a:avLst/>
                  <a:gdLst>
                    <a:gd name="T0" fmla="*/ 10 w 56"/>
                    <a:gd name="T1" fmla="*/ 30 h 47"/>
                    <a:gd name="T2" fmla="*/ 31 w 56"/>
                    <a:gd name="T3" fmla="*/ 43 h 47"/>
                    <a:gd name="T4" fmla="*/ 40 w 56"/>
                    <a:gd name="T5" fmla="*/ 47 h 47"/>
                    <a:gd name="T6" fmla="*/ 51 w 56"/>
                    <a:gd name="T7" fmla="*/ 41 h 47"/>
                    <a:gd name="T8" fmla="*/ 49 w 56"/>
                    <a:gd name="T9" fmla="*/ 21 h 47"/>
                    <a:gd name="T10" fmla="*/ 22 w 56"/>
                    <a:gd name="T11" fmla="*/ 4 h 47"/>
                    <a:gd name="T12" fmla="*/ 3 w 56"/>
                    <a:gd name="T13" fmla="*/ 11 h 47"/>
                    <a:gd name="T14" fmla="*/ 10 w 56"/>
                    <a:gd name="T15" fmla="*/ 30 h 4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56" h="47">
                      <a:moveTo>
                        <a:pt x="10" y="30"/>
                      </a:moveTo>
                      <a:cubicBezTo>
                        <a:pt x="17" y="33"/>
                        <a:pt x="25" y="38"/>
                        <a:pt x="31" y="43"/>
                      </a:cubicBezTo>
                      <a:cubicBezTo>
                        <a:pt x="34" y="46"/>
                        <a:pt x="37" y="47"/>
                        <a:pt x="40" y="47"/>
                      </a:cubicBezTo>
                      <a:cubicBezTo>
                        <a:pt x="44" y="47"/>
                        <a:pt x="49" y="45"/>
                        <a:pt x="51" y="41"/>
                      </a:cubicBezTo>
                      <a:cubicBezTo>
                        <a:pt x="56" y="35"/>
                        <a:pt x="55" y="26"/>
                        <a:pt x="49" y="21"/>
                      </a:cubicBezTo>
                      <a:cubicBezTo>
                        <a:pt x="41" y="14"/>
                        <a:pt x="32" y="9"/>
                        <a:pt x="22" y="4"/>
                      </a:cubicBezTo>
                      <a:cubicBezTo>
                        <a:pt x="15" y="0"/>
                        <a:pt x="7" y="3"/>
                        <a:pt x="3" y="11"/>
                      </a:cubicBezTo>
                      <a:cubicBezTo>
                        <a:pt x="0" y="18"/>
                        <a:pt x="3" y="26"/>
                        <a:pt x="10" y="30"/>
                      </a:cubicBezTo>
                      <a:close/>
                    </a:path>
                  </a:pathLst>
                </a:custGeom>
                <a:solidFill>
                  <a:srgbClr val="4D4D4F"/>
                </a:solidFill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2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/>
                    <a:cs typeface=""/>
                  </a:endParaRPr>
                </a:p>
              </p:txBody>
            </p:sp>
            <p:sp>
              <p:nvSpPr>
                <p:cNvPr id="764" name="Freeform 19"/>
                <p:cNvSpPr>
                  <a:spLocks/>
                </p:cNvSpPr>
                <p:nvPr/>
              </p:nvSpPr>
              <p:spPr bwMode="auto">
                <a:xfrm>
                  <a:off x="4476751" y="2039938"/>
                  <a:ext cx="39688" cy="52388"/>
                </a:xfrm>
                <a:custGeom>
                  <a:avLst/>
                  <a:gdLst>
                    <a:gd name="T0" fmla="*/ 12 w 45"/>
                    <a:gd name="T1" fmla="*/ 56 h 57"/>
                    <a:gd name="T2" fmla="*/ 16 w 45"/>
                    <a:gd name="T3" fmla="*/ 57 h 57"/>
                    <a:gd name="T4" fmla="*/ 30 w 45"/>
                    <a:gd name="T5" fmla="*/ 47 h 57"/>
                    <a:gd name="T6" fmla="*/ 41 w 45"/>
                    <a:gd name="T7" fmla="*/ 24 h 57"/>
                    <a:gd name="T8" fmla="*/ 36 w 45"/>
                    <a:gd name="T9" fmla="*/ 4 h 57"/>
                    <a:gd name="T10" fmla="*/ 16 w 45"/>
                    <a:gd name="T11" fmla="*/ 9 h 57"/>
                    <a:gd name="T12" fmla="*/ 3 w 45"/>
                    <a:gd name="T13" fmla="*/ 38 h 57"/>
                    <a:gd name="T14" fmla="*/ 12 w 45"/>
                    <a:gd name="T15" fmla="*/ 56 h 5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45" h="57">
                      <a:moveTo>
                        <a:pt x="12" y="56"/>
                      </a:moveTo>
                      <a:cubicBezTo>
                        <a:pt x="13" y="57"/>
                        <a:pt x="15" y="57"/>
                        <a:pt x="16" y="57"/>
                      </a:cubicBezTo>
                      <a:cubicBezTo>
                        <a:pt x="22" y="57"/>
                        <a:pt x="28" y="53"/>
                        <a:pt x="30" y="47"/>
                      </a:cubicBezTo>
                      <a:cubicBezTo>
                        <a:pt x="33" y="39"/>
                        <a:pt x="36" y="32"/>
                        <a:pt x="41" y="24"/>
                      </a:cubicBezTo>
                      <a:cubicBezTo>
                        <a:pt x="45" y="17"/>
                        <a:pt x="43" y="9"/>
                        <a:pt x="36" y="4"/>
                      </a:cubicBezTo>
                      <a:cubicBezTo>
                        <a:pt x="29" y="0"/>
                        <a:pt x="21" y="2"/>
                        <a:pt x="16" y="9"/>
                      </a:cubicBezTo>
                      <a:cubicBezTo>
                        <a:pt x="11" y="18"/>
                        <a:pt x="6" y="28"/>
                        <a:pt x="3" y="38"/>
                      </a:cubicBezTo>
                      <a:cubicBezTo>
                        <a:pt x="0" y="45"/>
                        <a:pt x="4" y="54"/>
                        <a:pt x="12" y="56"/>
                      </a:cubicBezTo>
                      <a:close/>
                    </a:path>
                  </a:pathLst>
                </a:custGeom>
                <a:solidFill>
                  <a:srgbClr val="4D4D4F"/>
                </a:solidFill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2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/>
                    <a:cs typeface=""/>
                  </a:endParaRPr>
                </a:p>
              </p:txBody>
            </p:sp>
            <p:sp>
              <p:nvSpPr>
                <p:cNvPr id="765" name="Freeform 20"/>
                <p:cNvSpPr>
                  <a:spLocks/>
                </p:cNvSpPr>
                <p:nvPr/>
              </p:nvSpPr>
              <p:spPr bwMode="auto">
                <a:xfrm>
                  <a:off x="4522788" y="1992313"/>
                  <a:ext cx="52388" cy="39688"/>
                </a:xfrm>
                <a:custGeom>
                  <a:avLst/>
                  <a:gdLst>
                    <a:gd name="T0" fmla="*/ 55 w 58"/>
                    <a:gd name="T1" fmla="*/ 11 h 43"/>
                    <a:gd name="T2" fmla="*/ 37 w 58"/>
                    <a:gd name="T3" fmla="*/ 2 h 43"/>
                    <a:gd name="T4" fmla="*/ 9 w 58"/>
                    <a:gd name="T5" fmla="*/ 17 h 43"/>
                    <a:gd name="T6" fmla="*/ 4 w 58"/>
                    <a:gd name="T7" fmla="*/ 37 h 43"/>
                    <a:gd name="T8" fmla="*/ 16 w 58"/>
                    <a:gd name="T9" fmla="*/ 43 h 43"/>
                    <a:gd name="T10" fmla="*/ 24 w 58"/>
                    <a:gd name="T11" fmla="*/ 41 h 43"/>
                    <a:gd name="T12" fmla="*/ 47 w 58"/>
                    <a:gd name="T13" fmla="*/ 29 h 43"/>
                    <a:gd name="T14" fmla="*/ 55 w 58"/>
                    <a:gd name="T15" fmla="*/ 11 h 4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58" h="43">
                      <a:moveTo>
                        <a:pt x="55" y="11"/>
                      </a:moveTo>
                      <a:cubicBezTo>
                        <a:pt x="53" y="3"/>
                        <a:pt x="44" y="0"/>
                        <a:pt x="37" y="2"/>
                      </a:cubicBezTo>
                      <a:cubicBezTo>
                        <a:pt x="27" y="6"/>
                        <a:pt x="17" y="11"/>
                        <a:pt x="9" y="17"/>
                      </a:cubicBezTo>
                      <a:cubicBezTo>
                        <a:pt x="2" y="21"/>
                        <a:pt x="0" y="30"/>
                        <a:pt x="4" y="37"/>
                      </a:cubicBezTo>
                      <a:cubicBezTo>
                        <a:pt x="7" y="41"/>
                        <a:pt x="12" y="43"/>
                        <a:pt x="16" y="43"/>
                      </a:cubicBezTo>
                      <a:cubicBezTo>
                        <a:pt x="19" y="43"/>
                        <a:pt x="22" y="43"/>
                        <a:pt x="24" y="41"/>
                      </a:cubicBezTo>
                      <a:cubicBezTo>
                        <a:pt x="31" y="36"/>
                        <a:pt x="39" y="32"/>
                        <a:pt x="47" y="29"/>
                      </a:cubicBezTo>
                      <a:cubicBezTo>
                        <a:pt x="54" y="27"/>
                        <a:pt x="58" y="18"/>
                        <a:pt x="55" y="11"/>
                      </a:cubicBezTo>
                      <a:close/>
                    </a:path>
                  </a:pathLst>
                </a:custGeom>
                <a:solidFill>
                  <a:srgbClr val="4D4D4F"/>
                </a:solidFill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2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/>
                    <a:cs typeface=""/>
                  </a:endParaRPr>
                </a:p>
              </p:txBody>
            </p:sp>
            <p:sp>
              <p:nvSpPr>
                <p:cNvPr id="766" name="Freeform 21"/>
                <p:cNvSpPr>
                  <a:spLocks/>
                </p:cNvSpPr>
                <p:nvPr/>
              </p:nvSpPr>
              <p:spPr bwMode="auto">
                <a:xfrm>
                  <a:off x="4959351" y="2051050"/>
                  <a:ext cx="36513" cy="52388"/>
                </a:xfrm>
                <a:custGeom>
                  <a:avLst/>
                  <a:gdLst>
                    <a:gd name="T0" fmla="*/ 13 w 42"/>
                    <a:gd name="T1" fmla="*/ 47 h 58"/>
                    <a:gd name="T2" fmla="*/ 27 w 42"/>
                    <a:gd name="T3" fmla="*/ 58 h 58"/>
                    <a:gd name="T4" fmla="*/ 30 w 42"/>
                    <a:gd name="T5" fmla="*/ 57 h 58"/>
                    <a:gd name="T6" fmla="*/ 41 w 42"/>
                    <a:gd name="T7" fmla="*/ 40 h 58"/>
                    <a:gd name="T8" fmla="*/ 30 w 42"/>
                    <a:gd name="T9" fmla="*/ 10 h 58"/>
                    <a:gd name="T10" fmla="*/ 11 w 42"/>
                    <a:gd name="T11" fmla="*/ 4 h 58"/>
                    <a:gd name="T12" fmla="*/ 4 w 42"/>
                    <a:gd name="T13" fmla="*/ 23 h 58"/>
                    <a:gd name="T14" fmla="*/ 13 w 42"/>
                    <a:gd name="T15" fmla="*/ 47 h 5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42" h="58">
                      <a:moveTo>
                        <a:pt x="13" y="47"/>
                      </a:moveTo>
                      <a:cubicBezTo>
                        <a:pt x="14" y="53"/>
                        <a:pt x="20" y="58"/>
                        <a:pt x="27" y="58"/>
                      </a:cubicBezTo>
                      <a:cubicBezTo>
                        <a:pt x="28" y="58"/>
                        <a:pt x="29" y="58"/>
                        <a:pt x="30" y="57"/>
                      </a:cubicBezTo>
                      <a:cubicBezTo>
                        <a:pt x="38" y="56"/>
                        <a:pt x="42" y="48"/>
                        <a:pt x="41" y="40"/>
                      </a:cubicBezTo>
                      <a:cubicBezTo>
                        <a:pt x="38" y="30"/>
                        <a:pt x="35" y="20"/>
                        <a:pt x="30" y="10"/>
                      </a:cubicBezTo>
                      <a:cubicBezTo>
                        <a:pt x="26" y="3"/>
                        <a:pt x="18" y="0"/>
                        <a:pt x="11" y="4"/>
                      </a:cubicBezTo>
                      <a:cubicBezTo>
                        <a:pt x="3" y="7"/>
                        <a:pt x="0" y="16"/>
                        <a:pt x="4" y="23"/>
                      </a:cubicBezTo>
                      <a:cubicBezTo>
                        <a:pt x="8" y="31"/>
                        <a:pt x="11" y="39"/>
                        <a:pt x="13" y="47"/>
                      </a:cubicBezTo>
                      <a:close/>
                    </a:path>
                  </a:pathLst>
                </a:custGeom>
                <a:solidFill>
                  <a:srgbClr val="4D4D4F"/>
                </a:solidFill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2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/>
                    <a:cs typeface=""/>
                  </a:endParaRPr>
                </a:p>
              </p:txBody>
            </p:sp>
            <p:sp>
              <p:nvSpPr>
                <p:cNvPr id="767" name="Freeform 22"/>
                <p:cNvSpPr>
                  <a:spLocks/>
                </p:cNvSpPr>
                <p:nvPr/>
              </p:nvSpPr>
              <p:spPr bwMode="auto">
                <a:xfrm>
                  <a:off x="4598988" y="1985963"/>
                  <a:ext cx="52388" cy="26988"/>
                </a:xfrm>
                <a:custGeom>
                  <a:avLst/>
                  <a:gdLst>
                    <a:gd name="T0" fmla="*/ 14 w 58"/>
                    <a:gd name="T1" fmla="*/ 29 h 29"/>
                    <a:gd name="T2" fmla="*/ 43 w 58"/>
                    <a:gd name="T3" fmla="*/ 29 h 29"/>
                    <a:gd name="T4" fmla="*/ 58 w 58"/>
                    <a:gd name="T5" fmla="*/ 15 h 29"/>
                    <a:gd name="T6" fmla="*/ 43 w 58"/>
                    <a:gd name="T7" fmla="*/ 0 h 29"/>
                    <a:gd name="T8" fmla="*/ 14 w 58"/>
                    <a:gd name="T9" fmla="*/ 0 h 29"/>
                    <a:gd name="T10" fmla="*/ 0 w 58"/>
                    <a:gd name="T11" fmla="*/ 15 h 29"/>
                    <a:gd name="T12" fmla="*/ 14 w 58"/>
                    <a:gd name="T13" fmla="*/ 29 h 2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58" h="29">
                      <a:moveTo>
                        <a:pt x="14" y="29"/>
                      </a:moveTo>
                      <a:cubicBezTo>
                        <a:pt x="43" y="29"/>
                        <a:pt x="43" y="29"/>
                        <a:pt x="43" y="29"/>
                      </a:cubicBezTo>
                      <a:cubicBezTo>
                        <a:pt x="51" y="29"/>
                        <a:pt x="58" y="23"/>
                        <a:pt x="58" y="15"/>
                      </a:cubicBezTo>
                      <a:cubicBezTo>
                        <a:pt x="58" y="7"/>
                        <a:pt x="51" y="0"/>
                        <a:pt x="43" y="0"/>
                      </a:cubicBezTo>
                      <a:cubicBezTo>
                        <a:pt x="14" y="0"/>
                        <a:pt x="14" y="0"/>
                        <a:pt x="14" y="0"/>
                      </a:cubicBezTo>
                      <a:cubicBezTo>
                        <a:pt x="6" y="0"/>
                        <a:pt x="0" y="7"/>
                        <a:pt x="0" y="15"/>
                      </a:cubicBezTo>
                      <a:cubicBezTo>
                        <a:pt x="0" y="23"/>
                        <a:pt x="6" y="29"/>
                        <a:pt x="14" y="29"/>
                      </a:cubicBezTo>
                      <a:close/>
                    </a:path>
                  </a:pathLst>
                </a:custGeom>
                <a:solidFill>
                  <a:srgbClr val="4D4D4F"/>
                </a:solidFill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2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/>
                    <a:cs typeface=""/>
                  </a:endParaRPr>
                </a:p>
              </p:txBody>
            </p:sp>
            <p:sp>
              <p:nvSpPr>
                <p:cNvPr id="768" name="Freeform 23"/>
                <p:cNvSpPr>
                  <a:spLocks/>
                </p:cNvSpPr>
                <p:nvPr/>
              </p:nvSpPr>
              <p:spPr bwMode="auto">
                <a:xfrm>
                  <a:off x="4676776" y="1985963"/>
                  <a:ext cx="50800" cy="26988"/>
                </a:xfrm>
                <a:custGeom>
                  <a:avLst/>
                  <a:gdLst>
                    <a:gd name="T0" fmla="*/ 15 w 58"/>
                    <a:gd name="T1" fmla="*/ 29 h 29"/>
                    <a:gd name="T2" fmla="*/ 43 w 58"/>
                    <a:gd name="T3" fmla="*/ 29 h 29"/>
                    <a:gd name="T4" fmla="*/ 58 w 58"/>
                    <a:gd name="T5" fmla="*/ 15 h 29"/>
                    <a:gd name="T6" fmla="*/ 43 w 58"/>
                    <a:gd name="T7" fmla="*/ 0 h 29"/>
                    <a:gd name="T8" fmla="*/ 15 w 58"/>
                    <a:gd name="T9" fmla="*/ 0 h 29"/>
                    <a:gd name="T10" fmla="*/ 0 w 58"/>
                    <a:gd name="T11" fmla="*/ 15 h 29"/>
                    <a:gd name="T12" fmla="*/ 15 w 58"/>
                    <a:gd name="T13" fmla="*/ 29 h 2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58" h="29">
                      <a:moveTo>
                        <a:pt x="15" y="29"/>
                      </a:moveTo>
                      <a:cubicBezTo>
                        <a:pt x="43" y="29"/>
                        <a:pt x="43" y="29"/>
                        <a:pt x="43" y="29"/>
                      </a:cubicBezTo>
                      <a:cubicBezTo>
                        <a:pt x="51" y="29"/>
                        <a:pt x="58" y="23"/>
                        <a:pt x="58" y="15"/>
                      </a:cubicBezTo>
                      <a:cubicBezTo>
                        <a:pt x="58" y="7"/>
                        <a:pt x="51" y="0"/>
                        <a:pt x="43" y="0"/>
                      </a:cubicBezTo>
                      <a:cubicBezTo>
                        <a:pt x="15" y="0"/>
                        <a:pt x="15" y="0"/>
                        <a:pt x="15" y="0"/>
                      </a:cubicBezTo>
                      <a:cubicBezTo>
                        <a:pt x="7" y="0"/>
                        <a:pt x="0" y="7"/>
                        <a:pt x="0" y="15"/>
                      </a:cubicBezTo>
                      <a:cubicBezTo>
                        <a:pt x="0" y="23"/>
                        <a:pt x="7" y="29"/>
                        <a:pt x="15" y="29"/>
                      </a:cubicBezTo>
                      <a:close/>
                    </a:path>
                  </a:pathLst>
                </a:custGeom>
                <a:solidFill>
                  <a:srgbClr val="4D4D4F"/>
                </a:solidFill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2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/>
                    <a:cs typeface=""/>
                  </a:endParaRPr>
                </a:p>
              </p:txBody>
            </p:sp>
            <p:sp>
              <p:nvSpPr>
                <p:cNvPr id="769" name="Freeform 24"/>
                <p:cNvSpPr>
                  <a:spLocks/>
                </p:cNvSpPr>
                <p:nvPr/>
              </p:nvSpPr>
              <p:spPr bwMode="auto">
                <a:xfrm>
                  <a:off x="4752976" y="1985963"/>
                  <a:ext cx="52388" cy="26988"/>
                </a:xfrm>
                <a:custGeom>
                  <a:avLst/>
                  <a:gdLst>
                    <a:gd name="T0" fmla="*/ 15 w 58"/>
                    <a:gd name="T1" fmla="*/ 29 h 29"/>
                    <a:gd name="T2" fmla="*/ 43 w 58"/>
                    <a:gd name="T3" fmla="*/ 29 h 29"/>
                    <a:gd name="T4" fmla="*/ 58 w 58"/>
                    <a:gd name="T5" fmla="*/ 15 h 29"/>
                    <a:gd name="T6" fmla="*/ 43 w 58"/>
                    <a:gd name="T7" fmla="*/ 0 h 29"/>
                    <a:gd name="T8" fmla="*/ 15 w 58"/>
                    <a:gd name="T9" fmla="*/ 0 h 29"/>
                    <a:gd name="T10" fmla="*/ 0 w 58"/>
                    <a:gd name="T11" fmla="*/ 15 h 29"/>
                    <a:gd name="T12" fmla="*/ 15 w 58"/>
                    <a:gd name="T13" fmla="*/ 29 h 2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58" h="29">
                      <a:moveTo>
                        <a:pt x="15" y="29"/>
                      </a:moveTo>
                      <a:cubicBezTo>
                        <a:pt x="43" y="29"/>
                        <a:pt x="43" y="29"/>
                        <a:pt x="43" y="29"/>
                      </a:cubicBezTo>
                      <a:cubicBezTo>
                        <a:pt x="51" y="29"/>
                        <a:pt x="58" y="23"/>
                        <a:pt x="58" y="15"/>
                      </a:cubicBezTo>
                      <a:cubicBezTo>
                        <a:pt x="58" y="7"/>
                        <a:pt x="51" y="0"/>
                        <a:pt x="43" y="0"/>
                      </a:cubicBezTo>
                      <a:cubicBezTo>
                        <a:pt x="15" y="0"/>
                        <a:pt x="15" y="0"/>
                        <a:pt x="15" y="0"/>
                      </a:cubicBezTo>
                      <a:cubicBezTo>
                        <a:pt x="7" y="0"/>
                        <a:pt x="0" y="7"/>
                        <a:pt x="0" y="15"/>
                      </a:cubicBezTo>
                      <a:cubicBezTo>
                        <a:pt x="0" y="23"/>
                        <a:pt x="7" y="29"/>
                        <a:pt x="15" y="29"/>
                      </a:cubicBezTo>
                      <a:close/>
                    </a:path>
                  </a:pathLst>
                </a:custGeom>
                <a:solidFill>
                  <a:srgbClr val="4D4D4F"/>
                </a:solidFill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2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/>
                    <a:cs typeface=""/>
                  </a:endParaRPr>
                </a:p>
              </p:txBody>
            </p:sp>
            <p:sp>
              <p:nvSpPr>
                <p:cNvPr id="770" name="Freeform 25"/>
                <p:cNvSpPr>
                  <a:spLocks/>
                </p:cNvSpPr>
                <p:nvPr/>
              </p:nvSpPr>
              <p:spPr bwMode="auto">
                <a:xfrm>
                  <a:off x="4471988" y="2349500"/>
                  <a:ext cx="26988" cy="52388"/>
                </a:xfrm>
                <a:custGeom>
                  <a:avLst/>
                  <a:gdLst>
                    <a:gd name="T0" fmla="*/ 30 w 31"/>
                    <a:gd name="T1" fmla="*/ 42 h 58"/>
                    <a:gd name="T2" fmla="*/ 29 w 31"/>
                    <a:gd name="T3" fmla="*/ 28 h 58"/>
                    <a:gd name="T4" fmla="*/ 29 w 31"/>
                    <a:gd name="T5" fmla="*/ 15 h 58"/>
                    <a:gd name="T6" fmla="*/ 14 w 31"/>
                    <a:gd name="T7" fmla="*/ 0 h 58"/>
                    <a:gd name="T8" fmla="*/ 0 w 31"/>
                    <a:gd name="T9" fmla="*/ 15 h 58"/>
                    <a:gd name="T10" fmla="*/ 0 w 31"/>
                    <a:gd name="T11" fmla="*/ 28 h 58"/>
                    <a:gd name="T12" fmla="*/ 1 w 31"/>
                    <a:gd name="T13" fmla="*/ 45 h 58"/>
                    <a:gd name="T14" fmla="*/ 15 w 31"/>
                    <a:gd name="T15" fmla="*/ 58 h 58"/>
                    <a:gd name="T16" fmla="*/ 17 w 31"/>
                    <a:gd name="T17" fmla="*/ 58 h 58"/>
                    <a:gd name="T18" fmla="*/ 30 w 31"/>
                    <a:gd name="T19" fmla="*/ 42 h 5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31" h="58">
                      <a:moveTo>
                        <a:pt x="30" y="42"/>
                      </a:moveTo>
                      <a:cubicBezTo>
                        <a:pt x="29" y="37"/>
                        <a:pt x="29" y="33"/>
                        <a:pt x="29" y="28"/>
                      </a:cubicBezTo>
                      <a:cubicBezTo>
                        <a:pt x="29" y="15"/>
                        <a:pt x="29" y="15"/>
                        <a:pt x="29" y="15"/>
                      </a:cubicBezTo>
                      <a:cubicBezTo>
                        <a:pt x="29" y="7"/>
                        <a:pt x="22" y="0"/>
                        <a:pt x="14" y="0"/>
                      </a:cubicBezTo>
                      <a:cubicBezTo>
                        <a:pt x="7" y="0"/>
                        <a:pt x="0" y="7"/>
                        <a:pt x="0" y="15"/>
                      </a:cubicBezTo>
                      <a:cubicBezTo>
                        <a:pt x="0" y="28"/>
                        <a:pt x="0" y="28"/>
                        <a:pt x="0" y="28"/>
                      </a:cubicBezTo>
                      <a:cubicBezTo>
                        <a:pt x="0" y="34"/>
                        <a:pt x="0" y="39"/>
                        <a:pt x="1" y="45"/>
                      </a:cubicBezTo>
                      <a:cubicBezTo>
                        <a:pt x="2" y="52"/>
                        <a:pt x="8" y="58"/>
                        <a:pt x="15" y="58"/>
                      </a:cubicBezTo>
                      <a:cubicBezTo>
                        <a:pt x="16" y="58"/>
                        <a:pt x="17" y="58"/>
                        <a:pt x="17" y="58"/>
                      </a:cubicBezTo>
                      <a:cubicBezTo>
                        <a:pt x="25" y="57"/>
                        <a:pt x="31" y="50"/>
                        <a:pt x="30" y="42"/>
                      </a:cubicBezTo>
                      <a:close/>
                    </a:path>
                  </a:pathLst>
                </a:custGeom>
                <a:solidFill>
                  <a:srgbClr val="4D4D4F"/>
                </a:solidFill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2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/>
                    <a:cs typeface=""/>
                  </a:endParaRPr>
                </a:p>
              </p:txBody>
            </p:sp>
            <p:sp>
              <p:nvSpPr>
                <p:cNvPr id="771" name="Freeform 26"/>
                <p:cNvSpPr>
                  <a:spLocks/>
                </p:cNvSpPr>
                <p:nvPr/>
              </p:nvSpPr>
              <p:spPr bwMode="auto">
                <a:xfrm>
                  <a:off x="4973638" y="2282825"/>
                  <a:ext cx="25400" cy="52388"/>
                </a:xfrm>
                <a:custGeom>
                  <a:avLst/>
                  <a:gdLst>
                    <a:gd name="T0" fmla="*/ 14 w 29"/>
                    <a:gd name="T1" fmla="*/ 0 h 58"/>
                    <a:gd name="T2" fmla="*/ 0 w 29"/>
                    <a:gd name="T3" fmla="*/ 15 h 58"/>
                    <a:gd name="T4" fmla="*/ 0 w 29"/>
                    <a:gd name="T5" fmla="*/ 44 h 58"/>
                    <a:gd name="T6" fmla="*/ 14 w 29"/>
                    <a:gd name="T7" fmla="*/ 58 h 58"/>
                    <a:gd name="T8" fmla="*/ 29 w 29"/>
                    <a:gd name="T9" fmla="*/ 44 h 58"/>
                    <a:gd name="T10" fmla="*/ 29 w 29"/>
                    <a:gd name="T11" fmla="*/ 15 h 58"/>
                    <a:gd name="T12" fmla="*/ 14 w 29"/>
                    <a:gd name="T13" fmla="*/ 0 h 5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9" h="58">
                      <a:moveTo>
                        <a:pt x="14" y="0"/>
                      </a:moveTo>
                      <a:cubicBezTo>
                        <a:pt x="6" y="0"/>
                        <a:pt x="0" y="7"/>
                        <a:pt x="0" y="15"/>
                      </a:cubicBezTo>
                      <a:cubicBezTo>
                        <a:pt x="0" y="44"/>
                        <a:pt x="0" y="44"/>
                        <a:pt x="0" y="44"/>
                      </a:cubicBezTo>
                      <a:cubicBezTo>
                        <a:pt x="0" y="52"/>
                        <a:pt x="6" y="58"/>
                        <a:pt x="14" y="58"/>
                      </a:cubicBezTo>
                      <a:cubicBezTo>
                        <a:pt x="22" y="58"/>
                        <a:pt x="29" y="52"/>
                        <a:pt x="29" y="44"/>
                      </a:cubicBezTo>
                      <a:cubicBezTo>
                        <a:pt x="29" y="15"/>
                        <a:pt x="29" y="15"/>
                        <a:pt x="29" y="15"/>
                      </a:cubicBezTo>
                      <a:cubicBezTo>
                        <a:pt x="29" y="7"/>
                        <a:pt x="22" y="0"/>
                        <a:pt x="14" y="0"/>
                      </a:cubicBezTo>
                      <a:close/>
                    </a:path>
                  </a:pathLst>
                </a:custGeom>
                <a:solidFill>
                  <a:srgbClr val="4D4D4F"/>
                </a:solidFill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2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/>
                    <a:cs typeface=""/>
                  </a:endParaRPr>
                </a:p>
              </p:txBody>
            </p:sp>
            <p:sp>
              <p:nvSpPr>
                <p:cNvPr id="772" name="Freeform 28"/>
                <p:cNvSpPr>
                  <a:spLocks/>
                </p:cNvSpPr>
                <p:nvPr/>
              </p:nvSpPr>
              <p:spPr bwMode="auto">
                <a:xfrm>
                  <a:off x="4927601" y="2432050"/>
                  <a:ext cx="47625" cy="46038"/>
                </a:xfrm>
                <a:custGeom>
                  <a:avLst/>
                  <a:gdLst>
                    <a:gd name="T0" fmla="*/ 25 w 53"/>
                    <a:gd name="T1" fmla="*/ 7 h 51"/>
                    <a:gd name="T2" fmla="*/ 7 w 53"/>
                    <a:gd name="T3" fmla="*/ 25 h 51"/>
                    <a:gd name="T4" fmla="*/ 5 w 53"/>
                    <a:gd name="T5" fmla="*/ 45 h 51"/>
                    <a:gd name="T6" fmla="*/ 16 w 53"/>
                    <a:gd name="T7" fmla="*/ 51 h 51"/>
                    <a:gd name="T8" fmla="*/ 25 w 53"/>
                    <a:gd name="T9" fmla="*/ 47 h 51"/>
                    <a:gd name="T10" fmla="*/ 48 w 53"/>
                    <a:gd name="T11" fmla="*/ 25 h 51"/>
                    <a:gd name="T12" fmla="*/ 45 w 53"/>
                    <a:gd name="T13" fmla="*/ 5 h 51"/>
                    <a:gd name="T14" fmla="*/ 25 w 53"/>
                    <a:gd name="T15" fmla="*/ 7 h 5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53" h="51">
                      <a:moveTo>
                        <a:pt x="25" y="7"/>
                      </a:moveTo>
                      <a:cubicBezTo>
                        <a:pt x="20" y="14"/>
                        <a:pt x="14" y="20"/>
                        <a:pt x="7" y="25"/>
                      </a:cubicBezTo>
                      <a:cubicBezTo>
                        <a:pt x="1" y="30"/>
                        <a:pt x="0" y="39"/>
                        <a:pt x="5" y="45"/>
                      </a:cubicBezTo>
                      <a:cubicBezTo>
                        <a:pt x="8" y="49"/>
                        <a:pt x="12" y="51"/>
                        <a:pt x="16" y="51"/>
                      </a:cubicBezTo>
                      <a:cubicBezTo>
                        <a:pt x="20" y="51"/>
                        <a:pt x="23" y="50"/>
                        <a:pt x="25" y="47"/>
                      </a:cubicBezTo>
                      <a:cubicBezTo>
                        <a:pt x="34" y="41"/>
                        <a:pt x="41" y="33"/>
                        <a:pt x="48" y="25"/>
                      </a:cubicBezTo>
                      <a:cubicBezTo>
                        <a:pt x="53" y="19"/>
                        <a:pt x="52" y="9"/>
                        <a:pt x="45" y="5"/>
                      </a:cubicBezTo>
                      <a:cubicBezTo>
                        <a:pt x="39" y="0"/>
                        <a:pt x="30" y="1"/>
                        <a:pt x="25" y="7"/>
                      </a:cubicBezTo>
                      <a:close/>
                    </a:path>
                  </a:pathLst>
                </a:custGeom>
                <a:solidFill>
                  <a:srgbClr val="4D4D4F"/>
                </a:solidFill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2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/>
                    <a:cs typeface=""/>
                  </a:endParaRPr>
                </a:p>
              </p:txBody>
            </p:sp>
            <p:sp>
              <p:nvSpPr>
                <p:cNvPr id="773" name="Freeform 29"/>
                <p:cNvSpPr>
                  <a:spLocks/>
                </p:cNvSpPr>
                <p:nvPr/>
              </p:nvSpPr>
              <p:spPr bwMode="auto">
                <a:xfrm>
                  <a:off x="4968876" y="2360613"/>
                  <a:ext cx="30163" cy="52388"/>
                </a:xfrm>
                <a:custGeom>
                  <a:avLst/>
                  <a:gdLst>
                    <a:gd name="T0" fmla="*/ 19 w 34"/>
                    <a:gd name="T1" fmla="*/ 0 h 58"/>
                    <a:gd name="T2" fmla="*/ 5 w 34"/>
                    <a:gd name="T3" fmla="*/ 15 h 58"/>
                    <a:gd name="T4" fmla="*/ 2 w 34"/>
                    <a:gd name="T5" fmla="*/ 40 h 58"/>
                    <a:gd name="T6" fmla="*/ 13 w 34"/>
                    <a:gd name="T7" fmla="*/ 58 h 58"/>
                    <a:gd name="T8" fmla="*/ 16 w 34"/>
                    <a:gd name="T9" fmla="*/ 58 h 58"/>
                    <a:gd name="T10" fmla="*/ 30 w 34"/>
                    <a:gd name="T11" fmla="*/ 47 h 58"/>
                    <a:gd name="T12" fmla="*/ 34 w 34"/>
                    <a:gd name="T13" fmla="*/ 15 h 58"/>
                    <a:gd name="T14" fmla="*/ 34 w 34"/>
                    <a:gd name="T15" fmla="*/ 14 h 58"/>
                    <a:gd name="T16" fmla="*/ 19 w 34"/>
                    <a:gd name="T17" fmla="*/ 0 h 5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34" h="58">
                      <a:moveTo>
                        <a:pt x="19" y="0"/>
                      </a:moveTo>
                      <a:cubicBezTo>
                        <a:pt x="11" y="0"/>
                        <a:pt x="5" y="7"/>
                        <a:pt x="5" y="15"/>
                      </a:cubicBezTo>
                      <a:cubicBezTo>
                        <a:pt x="5" y="24"/>
                        <a:pt x="4" y="32"/>
                        <a:pt x="2" y="40"/>
                      </a:cubicBezTo>
                      <a:cubicBezTo>
                        <a:pt x="0" y="48"/>
                        <a:pt x="5" y="56"/>
                        <a:pt x="13" y="58"/>
                      </a:cubicBezTo>
                      <a:cubicBezTo>
                        <a:pt x="14" y="58"/>
                        <a:pt x="15" y="58"/>
                        <a:pt x="16" y="58"/>
                      </a:cubicBezTo>
                      <a:cubicBezTo>
                        <a:pt x="23" y="58"/>
                        <a:pt x="29" y="53"/>
                        <a:pt x="30" y="47"/>
                      </a:cubicBezTo>
                      <a:cubicBezTo>
                        <a:pt x="32" y="36"/>
                        <a:pt x="34" y="26"/>
                        <a:pt x="34" y="15"/>
                      </a:cubicBezTo>
                      <a:cubicBezTo>
                        <a:pt x="34" y="14"/>
                        <a:pt x="34" y="14"/>
                        <a:pt x="34" y="14"/>
                      </a:cubicBezTo>
                      <a:cubicBezTo>
                        <a:pt x="34" y="6"/>
                        <a:pt x="27" y="0"/>
                        <a:pt x="19" y="0"/>
                      </a:cubicBezTo>
                      <a:close/>
                    </a:path>
                  </a:pathLst>
                </a:custGeom>
                <a:solidFill>
                  <a:srgbClr val="4D4D4F"/>
                </a:solidFill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2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/>
                    <a:cs typeface=""/>
                  </a:endParaRPr>
                </a:p>
              </p:txBody>
            </p:sp>
            <p:sp>
              <p:nvSpPr>
                <p:cNvPr id="774" name="Freeform 30"/>
                <p:cNvSpPr>
                  <a:spLocks/>
                </p:cNvSpPr>
                <p:nvPr/>
              </p:nvSpPr>
              <p:spPr bwMode="auto">
                <a:xfrm>
                  <a:off x="4973638" y="2205038"/>
                  <a:ext cx="25400" cy="52388"/>
                </a:xfrm>
                <a:custGeom>
                  <a:avLst/>
                  <a:gdLst>
                    <a:gd name="T0" fmla="*/ 14 w 29"/>
                    <a:gd name="T1" fmla="*/ 0 h 58"/>
                    <a:gd name="T2" fmla="*/ 0 w 29"/>
                    <a:gd name="T3" fmla="*/ 15 h 58"/>
                    <a:gd name="T4" fmla="*/ 0 w 29"/>
                    <a:gd name="T5" fmla="*/ 43 h 58"/>
                    <a:gd name="T6" fmla="*/ 14 w 29"/>
                    <a:gd name="T7" fmla="*/ 58 h 58"/>
                    <a:gd name="T8" fmla="*/ 29 w 29"/>
                    <a:gd name="T9" fmla="*/ 43 h 58"/>
                    <a:gd name="T10" fmla="*/ 29 w 29"/>
                    <a:gd name="T11" fmla="*/ 15 h 58"/>
                    <a:gd name="T12" fmla="*/ 14 w 29"/>
                    <a:gd name="T13" fmla="*/ 0 h 5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9" h="58">
                      <a:moveTo>
                        <a:pt x="14" y="0"/>
                      </a:moveTo>
                      <a:cubicBezTo>
                        <a:pt x="6" y="0"/>
                        <a:pt x="0" y="7"/>
                        <a:pt x="0" y="15"/>
                      </a:cubicBezTo>
                      <a:cubicBezTo>
                        <a:pt x="0" y="43"/>
                        <a:pt x="0" y="43"/>
                        <a:pt x="0" y="43"/>
                      </a:cubicBezTo>
                      <a:cubicBezTo>
                        <a:pt x="0" y="51"/>
                        <a:pt x="6" y="58"/>
                        <a:pt x="14" y="58"/>
                      </a:cubicBezTo>
                      <a:cubicBezTo>
                        <a:pt x="22" y="58"/>
                        <a:pt x="29" y="51"/>
                        <a:pt x="29" y="43"/>
                      </a:cubicBezTo>
                      <a:cubicBezTo>
                        <a:pt x="29" y="15"/>
                        <a:pt x="29" y="15"/>
                        <a:pt x="29" y="15"/>
                      </a:cubicBezTo>
                      <a:cubicBezTo>
                        <a:pt x="29" y="7"/>
                        <a:pt x="22" y="0"/>
                        <a:pt x="14" y="0"/>
                      </a:cubicBezTo>
                      <a:close/>
                    </a:path>
                  </a:pathLst>
                </a:custGeom>
                <a:solidFill>
                  <a:srgbClr val="4D4D4F"/>
                </a:solidFill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2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/>
                    <a:cs typeface=""/>
                  </a:endParaRPr>
                </a:p>
              </p:txBody>
            </p:sp>
            <p:sp>
              <p:nvSpPr>
                <p:cNvPr id="775" name="Freeform 31"/>
                <p:cNvSpPr>
                  <a:spLocks/>
                </p:cNvSpPr>
                <p:nvPr/>
              </p:nvSpPr>
              <p:spPr bwMode="auto">
                <a:xfrm>
                  <a:off x="4973638" y="2127250"/>
                  <a:ext cx="25400" cy="52388"/>
                </a:xfrm>
                <a:custGeom>
                  <a:avLst/>
                  <a:gdLst>
                    <a:gd name="T0" fmla="*/ 14 w 29"/>
                    <a:gd name="T1" fmla="*/ 0 h 58"/>
                    <a:gd name="T2" fmla="*/ 0 w 29"/>
                    <a:gd name="T3" fmla="*/ 15 h 58"/>
                    <a:gd name="T4" fmla="*/ 0 w 29"/>
                    <a:gd name="T5" fmla="*/ 43 h 58"/>
                    <a:gd name="T6" fmla="*/ 14 w 29"/>
                    <a:gd name="T7" fmla="*/ 58 h 58"/>
                    <a:gd name="T8" fmla="*/ 29 w 29"/>
                    <a:gd name="T9" fmla="*/ 43 h 58"/>
                    <a:gd name="T10" fmla="*/ 29 w 29"/>
                    <a:gd name="T11" fmla="*/ 15 h 58"/>
                    <a:gd name="T12" fmla="*/ 14 w 29"/>
                    <a:gd name="T13" fmla="*/ 0 h 5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9" h="58">
                      <a:moveTo>
                        <a:pt x="14" y="0"/>
                      </a:moveTo>
                      <a:cubicBezTo>
                        <a:pt x="6" y="0"/>
                        <a:pt x="0" y="7"/>
                        <a:pt x="0" y="15"/>
                      </a:cubicBezTo>
                      <a:cubicBezTo>
                        <a:pt x="0" y="43"/>
                        <a:pt x="0" y="43"/>
                        <a:pt x="0" y="43"/>
                      </a:cubicBezTo>
                      <a:cubicBezTo>
                        <a:pt x="0" y="51"/>
                        <a:pt x="6" y="58"/>
                        <a:pt x="14" y="58"/>
                      </a:cubicBezTo>
                      <a:cubicBezTo>
                        <a:pt x="22" y="58"/>
                        <a:pt x="29" y="51"/>
                        <a:pt x="29" y="43"/>
                      </a:cubicBezTo>
                      <a:cubicBezTo>
                        <a:pt x="29" y="15"/>
                        <a:pt x="29" y="15"/>
                        <a:pt x="29" y="15"/>
                      </a:cubicBezTo>
                      <a:cubicBezTo>
                        <a:pt x="29" y="7"/>
                        <a:pt x="22" y="0"/>
                        <a:pt x="14" y="0"/>
                      </a:cubicBezTo>
                      <a:close/>
                    </a:path>
                  </a:pathLst>
                </a:custGeom>
                <a:solidFill>
                  <a:srgbClr val="4D4D4F"/>
                </a:solidFill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2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/>
                    <a:cs typeface=""/>
                  </a:endParaRPr>
                </a:p>
              </p:txBody>
            </p:sp>
            <p:sp>
              <p:nvSpPr>
                <p:cNvPr id="776" name="Freeform 32"/>
                <p:cNvSpPr>
                  <a:spLocks/>
                </p:cNvSpPr>
                <p:nvPr/>
              </p:nvSpPr>
              <p:spPr bwMode="auto">
                <a:xfrm>
                  <a:off x="4546601" y="2470150"/>
                  <a:ext cx="53975" cy="33338"/>
                </a:xfrm>
                <a:custGeom>
                  <a:avLst/>
                  <a:gdLst>
                    <a:gd name="T0" fmla="*/ 46 w 60"/>
                    <a:gd name="T1" fmla="*/ 8 h 37"/>
                    <a:gd name="T2" fmla="*/ 21 w 60"/>
                    <a:gd name="T3" fmla="*/ 2 h 37"/>
                    <a:gd name="T4" fmla="*/ 3 w 60"/>
                    <a:gd name="T5" fmla="*/ 11 h 37"/>
                    <a:gd name="T6" fmla="*/ 12 w 60"/>
                    <a:gd name="T7" fmla="*/ 30 h 37"/>
                    <a:gd name="T8" fmla="*/ 43 w 60"/>
                    <a:gd name="T9" fmla="*/ 37 h 37"/>
                    <a:gd name="T10" fmla="*/ 44 w 60"/>
                    <a:gd name="T11" fmla="*/ 37 h 37"/>
                    <a:gd name="T12" fmla="*/ 59 w 60"/>
                    <a:gd name="T13" fmla="*/ 24 h 37"/>
                    <a:gd name="T14" fmla="*/ 46 w 60"/>
                    <a:gd name="T15" fmla="*/ 8 h 3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60" h="37">
                      <a:moveTo>
                        <a:pt x="46" y="8"/>
                      </a:moveTo>
                      <a:cubicBezTo>
                        <a:pt x="38" y="7"/>
                        <a:pt x="29" y="5"/>
                        <a:pt x="21" y="2"/>
                      </a:cubicBezTo>
                      <a:cubicBezTo>
                        <a:pt x="14" y="0"/>
                        <a:pt x="6" y="4"/>
                        <a:pt x="3" y="11"/>
                      </a:cubicBezTo>
                      <a:cubicBezTo>
                        <a:pt x="0" y="19"/>
                        <a:pt x="4" y="27"/>
                        <a:pt x="12" y="30"/>
                      </a:cubicBezTo>
                      <a:cubicBezTo>
                        <a:pt x="22" y="33"/>
                        <a:pt x="32" y="36"/>
                        <a:pt x="43" y="37"/>
                      </a:cubicBezTo>
                      <a:cubicBezTo>
                        <a:pt x="43" y="37"/>
                        <a:pt x="44" y="37"/>
                        <a:pt x="44" y="37"/>
                      </a:cubicBezTo>
                      <a:cubicBezTo>
                        <a:pt x="51" y="37"/>
                        <a:pt x="58" y="32"/>
                        <a:pt x="59" y="24"/>
                      </a:cubicBezTo>
                      <a:cubicBezTo>
                        <a:pt x="60" y="16"/>
                        <a:pt x="54" y="9"/>
                        <a:pt x="46" y="8"/>
                      </a:cubicBezTo>
                      <a:close/>
                    </a:path>
                  </a:pathLst>
                </a:custGeom>
                <a:solidFill>
                  <a:srgbClr val="4D4D4F"/>
                </a:solidFill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2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/>
                    <a:cs typeface=""/>
                  </a:endParaRPr>
                </a:p>
              </p:txBody>
            </p:sp>
            <p:sp>
              <p:nvSpPr>
                <p:cNvPr id="777" name="Freeform 33"/>
                <p:cNvSpPr>
                  <a:spLocks/>
                </p:cNvSpPr>
                <p:nvPr/>
              </p:nvSpPr>
              <p:spPr bwMode="auto">
                <a:xfrm>
                  <a:off x="4781551" y="2478088"/>
                  <a:ext cx="50800" cy="25400"/>
                </a:xfrm>
                <a:custGeom>
                  <a:avLst/>
                  <a:gdLst>
                    <a:gd name="T0" fmla="*/ 43 w 57"/>
                    <a:gd name="T1" fmla="*/ 0 h 29"/>
                    <a:gd name="T2" fmla="*/ 14 w 57"/>
                    <a:gd name="T3" fmla="*/ 0 h 29"/>
                    <a:gd name="T4" fmla="*/ 0 w 57"/>
                    <a:gd name="T5" fmla="*/ 15 h 29"/>
                    <a:gd name="T6" fmla="*/ 14 w 57"/>
                    <a:gd name="T7" fmla="*/ 29 h 29"/>
                    <a:gd name="T8" fmla="*/ 43 w 57"/>
                    <a:gd name="T9" fmla="*/ 29 h 29"/>
                    <a:gd name="T10" fmla="*/ 57 w 57"/>
                    <a:gd name="T11" fmla="*/ 15 h 29"/>
                    <a:gd name="T12" fmla="*/ 43 w 57"/>
                    <a:gd name="T13" fmla="*/ 0 h 2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57" h="29">
                      <a:moveTo>
                        <a:pt x="43" y="0"/>
                      </a:moveTo>
                      <a:cubicBezTo>
                        <a:pt x="14" y="0"/>
                        <a:pt x="14" y="0"/>
                        <a:pt x="14" y="0"/>
                      </a:cubicBezTo>
                      <a:cubicBezTo>
                        <a:pt x="6" y="0"/>
                        <a:pt x="0" y="7"/>
                        <a:pt x="0" y="15"/>
                      </a:cubicBezTo>
                      <a:cubicBezTo>
                        <a:pt x="0" y="23"/>
                        <a:pt x="6" y="29"/>
                        <a:pt x="14" y="29"/>
                      </a:cubicBezTo>
                      <a:cubicBezTo>
                        <a:pt x="43" y="29"/>
                        <a:pt x="43" y="29"/>
                        <a:pt x="43" y="29"/>
                      </a:cubicBezTo>
                      <a:cubicBezTo>
                        <a:pt x="51" y="29"/>
                        <a:pt x="57" y="23"/>
                        <a:pt x="57" y="15"/>
                      </a:cubicBezTo>
                      <a:cubicBezTo>
                        <a:pt x="57" y="7"/>
                        <a:pt x="51" y="0"/>
                        <a:pt x="43" y="0"/>
                      </a:cubicBezTo>
                      <a:close/>
                    </a:path>
                  </a:pathLst>
                </a:custGeom>
                <a:solidFill>
                  <a:srgbClr val="4D4D4F"/>
                </a:solidFill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2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/>
                    <a:cs typeface=""/>
                  </a:endParaRPr>
                </a:p>
              </p:txBody>
            </p:sp>
            <p:sp>
              <p:nvSpPr>
                <p:cNvPr id="778" name="Freeform 34"/>
                <p:cNvSpPr>
                  <a:spLocks/>
                </p:cNvSpPr>
                <p:nvPr/>
              </p:nvSpPr>
              <p:spPr bwMode="auto">
                <a:xfrm>
                  <a:off x="4703763" y="2478088"/>
                  <a:ext cx="50800" cy="25400"/>
                </a:xfrm>
                <a:custGeom>
                  <a:avLst/>
                  <a:gdLst>
                    <a:gd name="T0" fmla="*/ 44 w 58"/>
                    <a:gd name="T1" fmla="*/ 0 h 29"/>
                    <a:gd name="T2" fmla="*/ 15 w 58"/>
                    <a:gd name="T3" fmla="*/ 0 h 29"/>
                    <a:gd name="T4" fmla="*/ 0 w 58"/>
                    <a:gd name="T5" fmla="*/ 15 h 29"/>
                    <a:gd name="T6" fmla="*/ 15 w 58"/>
                    <a:gd name="T7" fmla="*/ 29 h 29"/>
                    <a:gd name="T8" fmla="*/ 44 w 58"/>
                    <a:gd name="T9" fmla="*/ 29 h 29"/>
                    <a:gd name="T10" fmla="*/ 58 w 58"/>
                    <a:gd name="T11" fmla="*/ 15 h 29"/>
                    <a:gd name="T12" fmla="*/ 44 w 58"/>
                    <a:gd name="T13" fmla="*/ 0 h 2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58" h="29">
                      <a:moveTo>
                        <a:pt x="44" y="0"/>
                      </a:moveTo>
                      <a:cubicBezTo>
                        <a:pt x="15" y="0"/>
                        <a:pt x="15" y="0"/>
                        <a:pt x="15" y="0"/>
                      </a:cubicBezTo>
                      <a:cubicBezTo>
                        <a:pt x="7" y="0"/>
                        <a:pt x="0" y="7"/>
                        <a:pt x="0" y="15"/>
                      </a:cubicBezTo>
                      <a:cubicBezTo>
                        <a:pt x="0" y="23"/>
                        <a:pt x="7" y="29"/>
                        <a:pt x="15" y="29"/>
                      </a:cubicBezTo>
                      <a:cubicBezTo>
                        <a:pt x="44" y="29"/>
                        <a:pt x="44" y="29"/>
                        <a:pt x="44" y="29"/>
                      </a:cubicBezTo>
                      <a:cubicBezTo>
                        <a:pt x="51" y="29"/>
                        <a:pt x="58" y="23"/>
                        <a:pt x="58" y="15"/>
                      </a:cubicBezTo>
                      <a:cubicBezTo>
                        <a:pt x="58" y="7"/>
                        <a:pt x="51" y="0"/>
                        <a:pt x="44" y="0"/>
                      </a:cubicBezTo>
                      <a:close/>
                    </a:path>
                  </a:pathLst>
                </a:custGeom>
                <a:solidFill>
                  <a:srgbClr val="4D4D4F"/>
                </a:solidFill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2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/>
                    <a:cs typeface=""/>
                  </a:endParaRPr>
                </a:p>
              </p:txBody>
            </p:sp>
            <p:sp>
              <p:nvSpPr>
                <p:cNvPr id="779" name="Freeform 35"/>
                <p:cNvSpPr>
                  <a:spLocks/>
                </p:cNvSpPr>
                <p:nvPr/>
              </p:nvSpPr>
              <p:spPr bwMode="auto">
                <a:xfrm>
                  <a:off x="4625976" y="2478088"/>
                  <a:ext cx="52388" cy="25400"/>
                </a:xfrm>
                <a:custGeom>
                  <a:avLst/>
                  <a:gdLst>
                    <a:gd name="T0" fmla="*/ 43 w 58"/>
                    <a:gd name="T1" fmla="*/ 0 h 29"/>
                    <a:gd name="T2" fmla="*/ 15 w 58"/>
                    <a:gd name="T3" fmla="*/ 0 h 29"/>
                    <a:gd name="T4" fmla="*/ 0 w 58"/>
                    <a:gd name="T5" fmla="*/ 15 h 29"/>
                    <a:gd name="T6" fmla="*/ 15 w 58"/>
                    <a:gd name="T7" fmla="*/ 29 h 29"/>
                    <a:gd name="T8" fmla="*/ 43 w 58"/>
                    <a:gd name="T9" fmla="*/ 29 h 29"/>
                    <a:gd name="T10" fmla="*/ 58 w 58"/>
                    <a:gd name="T11" fmla="*/ 15 h 29"/>
                    <a:gd name="T12" fmla="*/ 43 w 58"/>
                    <a:gd name="T13" fmla="*/ 0 h 2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58" h="29">
                      <a:moveTo>
                        <a:pt x="43" y="0"/>
                      </a:moveTo>
                      <a:cubicBezTo>
                        <a:pt x="15" y="0"/>
                        <a:pt x="15" y="0"/>
                        <a:pt x="15" y="0"/>
                      </a:cubicBezTo>
                      <a:cubicBezTo>
                        <a:pt x="7" y="0"/>
                        <a:pt x="0" y="7"/>
                        <a:pt x="0" y="15"/>
                      </a:cubicBezTo>
                      <a:cubicBezTo>
                        <a:pt x="0" y="23"/>
                        <a:pt x="7" y="29"/>
                        <a:pt x="15" y="29"/>
                      </a:cubicBezTo>
                      <a:cubicBezTo>
                        <a:pt x="43" y="29"/>
                        <a:pt x="43" y="29"/>
                        <a:pt x="43" y="29"/>
                      </a:cubicBezTo>
                      <a:cubicBezTo>
                        <a:pt x="51" y="29"/>
                        <a:pt x="58" y="23"/>
                        <a:pt x="58" y="15"/>
                      </a:cubicBezTo>
                      <a:cubicBezTo>
                        <a:pt x="58" y="7"/>
                        <a:pt x="51" y="0"/>
                        <a:pt x="43" y="0"/>
                      </a:cubicBezTo>
                      <a:close/>
                    </a:path>
                  </a:pathLst>
                </a:custGeom>
                <a:solidFill>
                  <a:srgbClr val="4D4D4F"/>
                </a:solidFill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2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/>
                    <a:cs typeface=""/>
                  </a:endParaRPr>
                </a:p>
              </p:txBody>
            </p:sp>
            <p:sp>
              <p:nvSpPr>
                <p:cNvPr id="780" name="Freeform 38"/>
                <p:cNvSpPr>
                  <a:spLocks/>
                </p:cNvSpPr>
                <p:nvPr/>
              </p:nvSpPr>
              <p:spPr bwMode="auto">
                <a:xfrm>
                  <a:off x="4859338" y="2473325"/>
                  <a:ext cx="52388" cy="30163"/>
                </a:xfrm>
                <a:custGeom>
                  <a:avLst/>
                  <a:gdLst>
                    <a:gd name="T0" fmla="*/ 39 w 58"/>
                    <a:gd name="T1" fmla="*/ 2 h 34"/>
                    <a:gd name="T2" fmla="*/ 14 w 58"/>
                    <a:gd name="T3" fmla="*/ 5 h 34"/>
                    <a:gd name="T4" fmla="*/ 0 w 58"/>
                    <a:gd name="T5" fmla="*/ 20 h 34"/>
                    <a:gd name="T6" fmla="*/ 14 w 58"/>
                    <a:gd name="T7" fmla="*/ 34 h 34"/>
                    <a:gd name="T8" fmla="*/ 14 w 58"/>
                    <a:gd name="T9" fmla="*/ 34 h 34"/>
                    <a:gd name="T10" fmla="*/ 46 w 58"/>
                    <a:gd name="T11" fmla="*/ 30 h 34"/>
                    <a:gd name="T12" fmla="*/ 56 w 58"/>
                    <a:gd name="T13" fmla="*/ 12 h 34"/>
                    <a:gd name="T14" fmla="*/ 39 w 58"/>
                    <a:gd name="T15" fmla="*/ 2 h 3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58" h="34">
                      <a:moveTo>
                        <a:pt x="39" y="2"/>
                      </a:moveTo>
                      <a:cubicBezTo>
                        <a:pt x="31" y="4"/>
                        <a:pt x="22" y="5"/>
                        <a:pt x="14" y="5"/>
                      </a:cubicBezTo>
                      <a:cubicBezTo>
                        <a:pt x="6" y="5"/>
                        <a:pt x="0" y="12"/>
                        <a:pt x="0" y="20"/>
                      </a:cubicBezTo>
                      <a:cubicBezTo>
                        <a:pt x="0" y="28"/>
                        <a:pt x="6" y="34"/>
                        <a:pt x="14" y="34"/>
                      </a:cubicBezTo>
                      <a:cubicBezTo>
                        <a:pt x="14" y="34"/>
                        <a:pt x="14" y="34"/>
                        <a:pt x="14" y="34"/>
                      </a:cubicBezTo>
                      <a:cubicBezTo>
                        <a:pt x="25" y="34"/>
                        <a:pt x="36" y="32"/>
                        <a:pt x="46" y="30"/>
                      </a:cubicBezTo>
                      <a:cubicBezTo>
                        <a:pt x="54" y="28"/>
                        <a:pt x="58" y="20"/>
                        <a:pt x="56" y="12"/>
                      </a:cubicBezTo>
                      <a:cubicBezTo>
                        <a:pt x="55" y="5"/>
                        <a:pt x="47" y="0"/>
                        <a:pt x="39" y="2"/>
                      </a:cubicBezTo>
                      <a:close/>
                    </a:path>
                  </a:pathLst>
                </a:custGeom>
                <a:solidFill>
                  <a:srgbClr val="4D4D4F"/>
                </a:solidFill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2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/>
                    <a:cs typeface=""/>
                  </a:endParaRPr>
                </a:p>
              </p:txBody>
            </p:sp>
          </p:grpSp>
          <p:sp>
            <p:nvSpPr>
              <p:cNvPr id="756" name="Rounded Rectangle 755"/>
              <p:cNvSpPr/>
              <p:nvPr/>
            </p:nvSpPr>
            <p:spPr>
              <a:xfrm>
                <a:off x="5359901" y="2386601"/>
                <a:ext cx="308105" cy="310923"/>
              </a:xfrm>
              <a:prstGeom prst="roundRect">
                <a:avLst/>
              </a:prstGeom>
              <a:solidFill>
                <a:srgbClr val="F79646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"/>
                  <a:cs typeface=""/>
                </a:endParaRPr>
              </a:p>
            </p:txBody>
          </p:sp>
          <p:sp>
            <p:nvSpPr>
              <p:cNvPr id="757" name="Freeform 12"/>
              <p:cNvSpPr>
                <a:spLocks noEditPoints="1"/>
              </p:cNvSpPr>
              <p:nvPr/>
            </p:nvSpPr>
            <p:spPr bwMode="auto">
              <a:xfrm>
                <a:off x="5406483" y="2446478"/>
                <a:ext cx="214941" cy="191168"/>
              </a:xfrm>
              <a:custGeom>
                <a:avLst/>
                <a:gdLst>
                  <a:gd name="T0" fmla="*/ 419 w 494"/>
                  <a:gd name="T1" fmla="*/ 299 h 448"/>
                  <a:gd name="T2" fmla="*/ 403 w 494"/>
                  <a:gd name="T3" fmla="*/ 301 h 448"/>
                  <a:gd name="T4" fmla="*/ 302 w 494"/>
                  <a:gd name="T5" fmla="*/ 126 h 448"/>
                  <a:gd name="T6" fmla="*/ 322 w 494"/>
                  <a:gd name="T7" fmla="*/ 75 h 448"/>
                  <a:gd name="T8" fmla="*/ 247 w 494"/>
                  <a:gd name="T9" fmla="*/ 0 h 448"/>
                  <a:gd name="T10" fmla="*/ 173 w 494"/>
                  <a:gd name="T11" fmla="*/ 75 h 448"/>
                  <a:gd name="T12" fmla="*/ 193 w 494"/>
                  <a:gd name="T13" fmla="*/ 126 h 448"/>
                  <a:gd name="T14" fmla="*/ 91 w 494"/>
                  <a:gd name="T15" fmla="*/ 301 h 448"/>
                  <a:gd name="T16" fmla="*/ 75 w 494"/>
                  <a:gd name="T17" fmla="*/ 299 h 448"/>
                  <a:gd name="T18" fmla="*/ 0 w 494"/>
                  <a:gd name="T19" fmla="*/ 373 h 448"/>
                  <a:gd name="T20" fmla="*/ 75 w 494"/>
                  <a:gd name="T21" fmla="*/ 448 h 448"/>
                  <a:gd name="T22" fmla="*/ 146 w 494"/>
                  <a:gd name="T23" fmla="*/ 395 h 448"/>
                  <a:gd name="T24" fmla="*/ 349 w 494"/>
                  <a:gd name="T25" fmla="*/ 395 h 448"/>
                  <a:gd name="T26" fmla="*/ 419 w 494"/>
                  <a:gd name="T27" fmla="*/ 448 h 448"/>
                  <a:gd name="T28" fmla="*/ 494 w 494"/>
                  <a:gd name="T29" fmla="*/ 373 h 448"/>
                  <a:gd name="T30" fmla="*/ 419 w 494"/>
                  <a:gd name="T31" fmla="*/ 299 h 448"/>
                  <a:gd name="T32" fmla="*/ 349 w 494"/>
                  <a:gd name="T33" fmla="*/ 351 h 448"/>
                  <a:gd name="T34" fmla="*/ 146 w 494"/>
                  <a:gd name="T35" fmla="*/ 351 h 448"/>
                  <a:gd name="T36" fmla="*/ 130 w 494"/>
                  <a:gd name="T37" fmla="*/ 323 h 448"/>
                  <a:gd name="T38" fmla="*/ 231 w 494"/>
                  <a:gd name="T39" fmla="*/ 148 h 448"/>
                  <a:gd name="T40" fmla="*/ 247 w 494"/>
                  <a:gd name="T41" fmla="*/ 150 h 448"/>
                  <a:gd name="T42" fmla="*/ 264 w 494"/>
                  <a:gd name="T43" fmla="*/ 148 h 448"/>
                  <a:gd name="T44" fmla="*/ 365 w 494"/>
                  <a:gd name="T45" fmla="*/ 323 h 448"/>
                  <a:gd name="T46" fmla="*/ 349 w 494"/>
                  <a:gd name="T47" fmla="*/ 351 h 4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494" h="448">
                    <a:moveTo>
                      <a:pt x="419" y="299"/>
                    </a:moveTo>
                    <a:cubicBezTo>
                      <a:pt x="414" y="299"/>
                      <a:pt x="408" y="300"/>
                      <a:pt x="403" y="301"/>
                    </a:cubicBezTo>
                    <a:cubicBezTo>
                      <a:pt x="302" y="126"/>
                      <a:pt x="302" y="126"/>
                      <a:pt x="302" y="126"/>
                    </a:cubicBezTo>
                    <a:cubicBezTo>
                      <a:pt x="314" y="112"/>
                      <a:pt x="322" y="95"/>
                      <a:pt x="322" y="75"/>
                    </a:cubicBezTo>
                    <a:cubicBezTo>
                      <a:pt x="322" y="34"/>
                      <a:pt x="288" y="0"/>
                      <a:pt x="247" y="0"/>
                    </a:cubicBezTo>
                    <a:cubicBezTo>
                      <a:pt x="206" y="0"/>
                      <a:pt x="173" y="34"/>
                      <a:pt x="173" y="75"/>
                    </a:cubicBezTo>
                    <a:cubicBezTo>
                      <a:pt x="173" y="95"/>
                      <a:pt x="180" y="112"/>
                      <a:pt x="193" y="126"/>
                    </a:cubicBezTo>
                    <a:cubicBezTo>
                      <a:pt x="91" y="301"/>
                      <a:pt x="91" y="301"/>
                      <a:pt x="91" y="301"/>
                    </a:cubicBezTo>
                    <a:cubicBezTo>
                      <a:pt x="86" y="300"/>
                      <a:pt x="81" y="299"/>
                      <a:pt x="75" y="299"/>
                    </a:cubicBezTo>
                    <a:cubicBezTo>
                      <a:pt x="34" y="299"/>
                      <a:pt x="0" y="332"/>
                      <a:pt x="0" y="373"/>
                    </a:cubicBezTo>
                    <a:cubicBezTo>
                      <a:pt x="0" y="415"/>
                      <a:pt x="34" y="448"/>
                      <a:pt x="75" y="448"/>
                    </a:cubicBezTo>
                    <a:cubicBezTo>
                      <a:pt x="108" y="448"/>
                      <a:pt x="136" y="426"/>
                      <a:pt x="146" y="395"/>
                    </a:cubicBezTo>
                    <a:cubicBezTo>
                      <a:pt x="349" y="395"/>
                      <a:pt x="349" y="395"/>
                      <a:pt x="349" y="395"/>
                    </a:cubicBezTo>
                    <a:cubicBezTo>
                      <a:pt x="358" y="426"/>
                      <a:pt x="386" y="448"/>
                      <a:pt x="419" y="448"/>
                    </a:cubicBezTo>
                    <a:cubicBezTo>
                      <a:pt x="461" y="448"/>
                      <a:pt x="494" y="415"/>
                      <a:pt x="494" y="373"/>
                    </a:cubicBezTo>
                    <a:cubicBezTo>
                      <a:pt x="494" y="332"/>
                      <a:pt x="461" y="299"/>
                      <a:pt x="419" y="299"/>
                    </a:cubicBezTo>
                    <a:close/>
                    <a:moveTo>
                      <a:pt x="349" y="351"/>
                    </a:moveTo>
                    <a:cubicBezTo>
                      <a:pt x="146" y="351"/>
                      <a:pt x="146" y="351"/>
                      <a:pt x="146" y="351"/>
                    </a:cubicBezTo>
                    <a:cubicBezTo>
                      <a:pt x="142" y="341"/>
                      <a:pt x="137" y="331"/>
                      <a:pt x="130" y="323"/>
                    </a:cubicBezTo>
                    <a:cubicBezTo>
                      <a:pt x="231" y="148"/>
                      <a:pt x="231" y="148"/>
                      <a:pt x="231" y="148"/>
                    </a:cubicBezTo>
                    <a:cubicBezTo>
                      <a:pt x="236" y="149"/>
                      <a:pt x="242" y="150"/>
                      <a:pt x="247" y="150"/>
                    </a:cubicBezTo>
                    <a:cubicBezTo>
                      <a:pt x="253" y="150"/>
                      <a:pt x="258" y="149"/>
                      <a:pt x="264" y="148"/>
                    </a:cubicBezTo>
                    <a:cubicBezTo>
                      <a:pt x="365" y="323"/>
                      <a:pt x="365" y="323"/>
                      <a:pt x="365" y="323"/>
                    </a:cubicBezTo>
                    <a:cubicBezTo>
                      <a:pt x="358" y="331"/>
                      <a:pt x="352" y="341"/>
                      <a:pt x="349" y="351"/>
                    </a:cubicBezTo>
                    <a:close/>
                  </a:path>
                </a:pathLst>
              </a:custGeom>
              <a:solidFill>
                <a:sysClr val="window" lastClr="FFFFFF"/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cs typeface=""/>
                </a:endParaRPr>
              </a:p>
            </p:txBody>
          </p:sp>
        </p:grpSp>
        <p:grpSp>
          <p:nvGrpSpPr>
            <p:cNvPr id="700" name="Group 699"/>
            <p:cNvGrpSpPr/>
            <p:nvPr/>
          </p:nvGrpSpPr>
          <p:grpSpPr>
            <a:xfrm>
              <a:off x="4061759" y="3304014"/>
              <a:ext cx="323368" cy="283709"/>
              <a:chOff x="5310724" y="2352924"/>
              <a:chExt cx="398754" cy="374816"/>
            </a:xfrm>
          </p:grpSpPr>
          <p:grpSp>
            <p:nvGrpSpPr>
              <p:cNvPr id="729" name="Group 728"/>
              <p:cNvGrpSpPr/>
              <p:nvPr/>
            </p:nvGrpSpPr>
            <p:grpSpPr>
              <a:xfrm rot="5400000">
                <a:off x="5322693" y="2340955"/>
                <a:ext cx="374816" cy="398754"/>
                <a:chOff x="4471988" y="1985963"/>
                <a:chExt cx="527051" cy="517525"/>
              </a:xfrm>
            </p:grpSpPr>
            <p:sp>
              <p:nvSpPr>
                <p:cNvPr id="732" name="Freeform 13"/>
                <p:cNvSpPr>
                  <a:spLocks/>
                </p:cNvSpPr>
                <p:nvPr/>
              </p:nvSpPr>
              <p:spPr bwMode="auto">
                <a:xfrm>
                  <a:off x="4471988" y="2117725"/>
                  <a:ext cx="25400" cy="50800"/>
                </a:xfrm>
                <a:custGeom>
                  <a:avLst/>
                  <a:gdLst>
                    <a:gd name="T0" fmla="*/ 14 w 29"/>
                    <a:gd name="T1" fmla="*/ 57 h 57"/>
                    <a:gd name="T2" fmla="*/ 29 w 29"/>
                    <a:gd name="T3" fmla="*/ 43 h 57"/>
                    <a:gd name="T4" fmla="*/ 29 w 29"/>
                    <a:gd name="T5" fmla="*/ 14 h 57"/>
                    <a:gd name="T6" fmla="*/ 14 w 29"/>
                    <a:gd name="T7" fmla="*/ 0 h 57"/>
                    <a:gd name="T8" fmla="*/ 0 w 29"/>
                    <a:gd name="T9" fmla="*/ 14 h 57"/>
                    <a:gd name="T10" fmla="*/ 0 w 29"/>
                    <a:gd name="T11" fmla="*/ 43 h 57"/>
                    <a:gd name="T12" fmla="*/ 14 w 29"/>
                    <a:gd name="T13" fmla="*/ 57 h 5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9" h="57">
                      <a:moveTo>
                        <a:pt x="14" y="57"/>
                      </a:moveTo>
                      <a:cubicBezTo>
                        <a:pt x="22" y="57"/>
                        <a:pt x="29" y="51"/>
                        <a:pt x="29" y="43"/>
                      </a:cubicBezTo>
                      <a:cubicBezTo>
                        <a:pt x="29" y="14"/>
                        <a:pt x="29" y="14"/>
                        <a:pt x="29" y="14"/>
                      </a:cubicBezTo>
                      <a:cubicBezTo>
                        <a:pt x="29" y="6"/>
                        <a:pt x="22" y="0"/>
                        <a:pt x="14" y="0"/>
                      </a:cubicBezTo>
                      <a:cubicBezTo>
                        <a:pt x="7" y="0"/>
                        <a:pt x="0" y="6"/>
                        <a:pt x="0" y="14"/>
                      </a:cubicBezTo>
                      <a:cubicBezTo>
                        <a:pt x="0" y="43"/>
                        <a:pt x="0" y="43"/>
                        <a:pt x="0" y="43"/>
                      </a:cubicBezTo>
                      <a:cubicBezTo>
                        <a:pt x="0" y="51"/>
                        <a:pt x="7" y="57"/>
                        <a:pt x="14" y="57"/>
                      </a:cubicBezTo>
                      <a:close/>
                    </a:path>
                  </a:pathLst>
                </a:custGeom>
                <a:solidFill>
                  <a:srgbClr val="4D4D4F"/>
                </a:solidFill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2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/>
                    <a:cs typeface=""/>
                  </a:endParaRPr>
                </a:p>
              </p:txBody>
            </p:sp>
            <p:sp>
              <p:nvSpPr>
                <p:cNvPr id="733" name="Freeform 14"/>
                <p:cNvSpPr>
                  <a:spLocks/>
                </p:cNvSpPr>
                <p:nvPr/>
              </p:nvSpPr>
              <p:spPr bwMode="auto">
                <a:xfrm>
                  <a:off x="4471988" y="2271713"/>
                  <a:ext cx="25400" cy="52388"/>
                </a:xfrm>
                <a:custGeom>
                  <a:avLst/>
                  <a:gdLst>
                    <a:gd name="T0" fmla="*/ 14 w 29"/>
                    <a:gd name="T1" fmla="*/ 58 h 58"/>
                    <a:gd name="T2" fmla="*/ 29 w 29"/>
                    <a:gd name="T3" fmla="*/ 43 h 58"/>
                    <a:gd name="T4" fmla="*/ 29 w 29"/>
                    <a:gd name="T5" fmla="*/ 15 h 58"/>
                    <a:gd name="T6" fmla="*/ 14 w 29"/>
                    <a:gd name="T7" fmla="*/ 0 h 58"/>
                    <a:gd name="T8" fmla="*/ 0 w 29"/>
                    <a:gd name="T9" fmla="*/ 15 h 58"/>
                    <a:gd name="T10" fmla="*/ 0 w 29"/>
                    <a:gd name="T11" fmla="*/ 43 h 58"/>
                    <a:gd name="T12" fmla="*/ 14 w 29"/>
                    <a:gd name="T13" fmla="*/ 58 h 5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9" h="58">
                      <a:moveTo>
                        <a:pt x="14" y="58"/>
                      </a:moveTo>
                      <a:cubicBezTo>
                        <a:pt x="22" y="58"/>
                        <a:pt x="29" y="51"/>
                        <a:pt x="29" y="43"/>
                      </a:cubicBezTo>
                      <a:cubicBezTo>
                        <a:pt x="29" y="15"/>
                        <a:pt x="29" y="15"/>
                        <a:pt x="29" y="15"/>
                      </a:cubicBezTo>
                      <a:cubicBezTo>
                        <a:pt x="29" y="7"/>
                        <a:pt x="22" y="0"/>
                        <a:pt x="14" y="0"/>
                      </a:cubicBezTo>
                      <a:cubicBezTo>
                        <a:pt x="7" y="0"/>
                        <a:pt x="0" y="7"/>
                        <a:pt x="0" y="15"/>
                      </a:cubicBezTo>
                      <a:cubicBezTo>
                        <a:pt x="0" y="43"/>
                        <a:pt x="0" y="43"/>
                        <a:pt x="0" y="43"/>
                      </a:cubicBezTo>
                      <a:cubicBezTo>
                        <a:pt x="0" y="51"/>
                        <a:pt x="7" y="58"/>
                        <a:pt x="14" y="58"/>
                      </a:cubicBezTo>
                      <a:close/>
                    </a:path>
                  </a:pathLst>
                </a:custGeom>
                <a:solidFill>
                  <a:srgbClr val="4D4D4F"/>
                </a:solidFill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2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/>
                    <a:cs typeface=""/>
                  </a:endParaRPr>
                </a:p>
              </p:txBody>
            </p:sp>
            <p:sp>
              <p:nvSpPr>
                <p:cNvPr id="734" name="Freeform 15"/>
                <p:cNvSpPr>
                  <a:spLocks/>
                </p:cNvSpPr>
                <p:nvPr/>
              </p:nvSpPr>
              <p:spPr bwMode="auto">
                <a:xfrm>
                  <a:off x="4487863" y="2422525"/>
                  <a:ext cx="44450" cy="47625"/>
                </a:xfrm>
                <a:custGeom>
                  <a:avLst/>
                  <a:gdLst>
                    <a:gd name="T0" fmla="*/ 29 w 50"/>
                    <a:gd name="T1" fmla="*/ 8 h 53"/>
                    <a:gd name="T2" fmla="*/ 9 w 50"/>
                    <a:gd name="T3" fmla="*/ 4 h 53"/>
                    <a:gd name="T4" fmla="*/ 4 w 50"/>
                    <a:gd name="T5" fmla="*/ 24 h 53"/>
                    <a:gd name="T6" fmla="*/ 24 w 50"/>
                    <a:gd name="T7" fmla="*/ 49 h 53"/>
                    <a:gd name="T8" fmla="*/ 34 w 50"/>
                    <a:gd name="T9" fmla="*/ 53 h 53"/>
                    <a:gd name="T10" fmla="*/ 45 w 50"/>
                    <a:gd name="T11" fmla="*/ 49 h 53"/>
                    <a:gd name="T12" fmla="*/ 45 w 50"/>
                    <a:gd name="T13" fmla="*/ 28 h 53"/>
                    <a:gd name="T14" fmla="*/ 29 w 50"/>
                    <a:gd name="T15" fmla="*/ 8 h 5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50" h="53">
                      <a:moveTo>
                        <a:pt x="29" y="8"/>
                      </a:moveTo>
                      <a:cubicBezTo>
                        <a:pt x="24" y="2"/>
                        <a:pt x="15" y="0"/>
                        <a:pt x="9" y="4"/>
                      </a:cubicBezTo>
                      <a:cubicBezTo>
                        <a:pt x="2" y="8"/>
                        <a:pt x="0" y="17"/>
                        <a:pt x="4" y="24"/>
                      </a:cubicBezTo>
                      <a:cubicBezTo>
                        <a:pt x="10" y="33"/>
                        <a:pt x="17" y="41"/>
                        <a:pt x="24" y="49"/>
                      </a:cubicBezTo>
                      <a:cubicBezTo>
                        <a:pt x="27" y="51"/>
                        <a:pt x="31" y="53"/>
                        <a:pt x="34" y="53"/>
                      </a:cubicBezTo>
                      <a:cubicBezTo>
                        <a:pt x="38" y="53"/>
                        <a:pt x="42" y="51"/>
                        <a:pt x="45" y="49"/>
                      </a:cubicBezTo>
                      <a:cubicBezTo>
                        <a:pt x="50" y="43"/>
                        <a:pt x="50" y="34"/>
                        <a:pt x="45" y="28"/>
                      </a:cubicBezTo>
                      <a:cubicBezTo>
                        <a:pt x="39" y="22"/>
                        <a:pt x="33" y="15"/>
                        <a:pt x="29" y="8"/>
                      </a:cubicBezTo>
                      <a:close/>
                    </a:path>
                  </a:pathLst>
                </a:custGeom>
                <a:solidFill>
                  <a:srgbClr val="4D4D4F"/>
                </a:solidFill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2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/>
                    <a:cs typeface=""/>
                  </a:endParaRPr>
                </a:p>
              </p:txBody>
            </p:sp>
            <p:sp>
              <p:nvSpPr>
                <p:cNvPr id="735" name="Freeform 16"/>
                <p:cNvSpPr>
                  <a:spLocks/>
                </p:cNvSpPr>
                <p:nvPr/>
              </p:nvSpPr>
              <p:spPr bwMode="auto">
                <a:xfrm>
                  <a:off x="4471988" y="2193925"/>
                  <a:ext cx="25400" cy="52388"/>
                </a:xfrm>
                <a:custGeom>
                  <a:avLst/>
                  <a:gdLst>
                    <a:gd name="T0" fmla="*/ 14 w 29"/>
                    <a:gd name="T1" fmla="*/ 58 h 58"/>
                    <a:gd name="T2" fmla="*/ 29 w 29"/>
                    <a:gd name="T3" fmla="*/ 43 h 58"/>
                    <a:gd name="T4" fmla="*/ 29 w 29"/>
                    <a:gd name="T5" fmla="*/ 14 h 58"/>
                    <a:gd name="T6" fmla="*/ 14 w 29"/>
                    <a:gd name="T7" fmla="*/ 0 h 58"/>
                    <a:gd name="T8" fmla="*/ 0 w 29"/>
                    <a:gd name="T9" fmla="*/ 14 h 58"/>
                    <a:gd name="T10" fmla="*/ 0 w 29"/>
                    <a:gd name="T11" fmla="*/ 43 h 58"/>
                    <a:gd name="T12" fmla="*/ 14 w 29"/>
                    <a:gd name="T13" fmla="*/ 58 h 5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9" h="58">
                      <a:moveTo>
                        <a:pt x="14" y="58"/>
                      </a:moveTo>
                      <a:cubicBezTo>
                        <a:pt x="22" y="58"/>
                        <a:pt x="29" y="51"/>
                        <a:pt x="29" y="43"/>
                      </a:cubicBezTo>
                      <a:cubicBezTo>
                        <a:pt x="29" y="14"/>
                        <a:pt x="29" y="14"/>
                        <a:pt x="29" y="14"/>
                      </a:cubicBezTo>
                      <a:cubicBezTo>
                        <a:pt x="29" y="6"/>
                        <a:pt x="22" y="0"/>
                        <a:pt x="14" y="0"/>
                      </a:cubicBezTo>
                      <a:cubicBezTo>
                        <a:pt x="7" y="0"/>
                        <a:pt x="0" y="6"/>
                        <a:pt x="0" y="14"/>
                      </a:cubicBezTo>
                      <a:cubicBezTo>
                        <a:pt x="0" y="43"/>
                        <a:pt x="0" y="43"/>
                        <a:pt x="0" y="43"/>
                      </a:cubicBezTo>
                      <a:cubicBezTo>
                        <a:pt x="0" y="51"/>
                        <a:pt x="7" y="58"/>
                        <a:pt x="14" y="58"/>
                      </a:cubicBezTo>
                      <a:close/>
                    </a:path>
                  </a:pathLst>
                </a:custGeom>
                <a:solidFill>
                  <a:srgbClr val="4D4D4F"/>
                </a:solidFill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2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/>
                    <a:cs typeface=""/>
                  </a:endParaRPr>
                </a:p>
              </p:txBody>
            </p:sp>
            <p:sp>
              <p:nvSpPr>
                <p:cNvPr id="736" name="Freeform 17"/>
                <p:cNvSpPr>
                  <a:spLocks/>
                </p:cNvSpPr>
                <p:nvPr/>
              </p:nvSpPr>
              <p:spPr bwMode="auto">
                <a:xfrm>
                  <a:off x="4830763" y="1985963"/>
                  <a:ext cx="50800" cy="26988"/>
                </a:xfrm>
                <a:custGeom>
                  <a:avLst/>
                  <a:gdLst>
                    <a:gd name="T0" fmla="*/ 15 w 57"/>
                    <a:gd name="T1" fmla="*/ 29 h 29"/>
                    <a:gd name="T2" fmla="*/ 44 w 57"/>
                    <a:gd name="T3" fmla="*/ 29 h 29"/>
                    <a:gd name="T4" fmla="*/ 57 w 57"/>
                    <a:gd name="T5" fmla="*/ 15 h 29"/>
                    <a:gd name="T6" fmla="*/ 43 w 57"/>
                    <a:gd name="T7" fmla="*/ 0 h 29"/>
                    <a:gd name="T8" fmla="*/ 15 w 57"/>
                    <a:gd name="T9" fmla="*/ 0 h 29"/>
                    <a:gd name="T10" fmla="*/ 0 w 57"/>
                    <a:gd name="T11" fmla="*/ 15 h 29"/>
                    <a:gd name="T12" fmla="*/ 15 w 57"/>
                    <a:gd name="T13" fmla="*/ 29 h 2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57" h="29">
                      <a:moveTo>
                        <a:pt x="15" y="29"/>
                      </a:moveTo>
                      <a:cubicBezTo>
                        <a:pt x="44" y="29"/>
                        <a:pt x="44" y="29"/>
                        <a:pt x="44" y="29"/>
                      </a:cubicBezTo>
                      <a:cubicBezTo>
                        <a:pt x="51" y="29"/>
                        <a:pt x="57" y="23"/>
                        <a:pt x="57" y="15"/>
                      </a:cubicBezTo>
                      <a:cubicBezTo>
                        <a:pt x="57" y="7"/>
                        <a:pt x="50" y="0"/>
                        <a:pt x="43" y="0"/>
                      </a:cubicBezTo>
                      <a:cubicBezTo>
                        <a:pt x="15" y="0"/>
                        <a:pt x="15" y="0"/>
                        <a:pt x="15" y="0"/>
                      </a:cubicBezTo>
                      <a:cubicBezTo>
                        <a:pt x="7" y="0"/>
                        <a:pt x="0" y="7"/>
                        <a:pt x="0" y="15"/>
                      </a:cubicBezTo>
                      <a:cubicBezTo>
                        <a:pt x="0" y="23"/>
                        <a:pt x="7" y="29"/>
                        <a:pt x="15" y="29"/>
                      </a:cubicBezTo>
                      <a:close/>
                    </a:path>
                  </a:pathLst>
                </a:custGeom>
                <a:solidFill>
                  <a:srgbClr val="4D4D4F"/>
                </a:solidFill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2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/>
                    <a:cs typeface=""/>
                  </a:endParaRPr>
                </a:p>
              </p:txBody>
            </p:sp>
            <p:sp>
              <p:nvSpPr>
                <p:cNvPr id="737" name="Freeform 18"/>
                <p:cNvSpPr>
                  <a:spLocks/>
                </p:cNvSpPr>
                <p:nvPr/>
              </p:nvSpPr>
              <p:spPr bwMode="auto">
                <a:xfrm>
                  <a:off x="4905376" y="1997075"/>
                  <a:ext cx="50800" cy="41275"/>
                </a:xfrm>
                <a:custGeom>
                  <a:avLst/>
                  <a:gdLst>
                    <a:gd name="T0" fmla="*/ 10 w 56"/>
                    <a:gd name="T1" fmla="*/ 30 h 47"/>
                    <a:gd name="T2" fmla="*/ 31 w 56"/>
                    <a:gd name="T3" fmla="*/ 43 h 47"/>
                    <a:gd name="T4" fmla="*/ 40 w 56"/>
                    <a:gd name="T5" fmla="*/ 47 h 47"/>
                    <a:gd name="T6" fmla="*/ 51 w 56"/>
                    <a:gd name="T7" fmla="*/ 41 h 47"/>
                    <a:gd name="T8" fmla="*/ 49 w 56"/>
                    <a:gd name="T9" fmla="*/ 21 h 47"/>
                    <a:gd name="T10" fmla="*/ 22 w 56"/>
                    <a:gd name="T11" fmla="*/ 4 h 47"/>
                    <a:gd name="T12" fmla="*/ 3 w 56"/>
                    <a:gd name="T13" fmla="*/ 11 h 47"/>
                    <a:gd name="T14" fmla="*/ 10 w 56"/>
                    <a:gd name="T15" fmla="*/ 30 h 4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56" h="47">
                      <a:moveTo>
                        <a:pt x="10" y="30"/>
                      </a:moveTo>
                      <a:cubicBezTo>
                        <a:pt x="17" y="33"/>
                        <a:pt x="25" y="38"/>
                        <a:pt x="31" y="43"/>
                      </a:cubicBezTo>
                      <a:cubicBezTo>
                        <a:pt x="34" y="46"/>
                        <a:pt x="37" y="47"/>
                        <a:pt x="40" y="47"/>
                      </a:cubicBezTo>
                      <a:cubicBezTo>
                        <a:pt x="44" y="47"/>
                        <a:pt x="49" y="45"/>
                        <a:pt x="51" y="41"/>
                      </a:cubicBezTo>
                      <a:cubicBezTo>
                        <a:pt x="56" y="35"/>
                        <a:pt x="55" y="26"/>
                        <a:pt x="49" y="21"/>
                      </a:cubicBezTo>
                      <a:cubicBezTo>
                        <a:pt x="41" y="14"/>
                        <a:pt x="32" y="9"/>
                        <a:pt x="22" y="4"/>
                      </a:cubicBezTo>
                      <a:cubicBezTo>
                        <a:pt x="15" y="0"/>
                        <a:pt x="7" y="3"/>
                        <a:pt x="3" y="11"/>
                      </a:cubicBezTo>
                      <a:cubicBezTo>
                        <a:pt x="0" y="18"/>
                        <a:pt x="3" y="26"/>
                        <a:pt x="10" y="30"/>
                      </a:cubicBezTo>
                      <a:close/>
                    </a:path>
                  </a:pathLst>
                </a:custGeom>
                <a:solidFill>
                  <a:srgbClr val="4D4D4F"/>
                </a:solidFill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2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/>
                    <a:cs typeface=""/>
                  </a:endParaRPr>
                </a:p>
              </p:txBody>
            </p:sp>
            <p:sp>
              <p:nvSpPr>
                <p:cNvPr id="738" name="Freeform 19"/>
                <p:cNvSpPr>
                  <a:spLocks/>
                </p:cNvSpPr>
                <p:nvPr/>
              </p:nvSpPr>
              <p:spPr bwMode="auto">
                <a:xfrm>
                  <a:off x="4476751" y="2039938"/>
                  <a:ext cx="39688" cy="52388"/>
                </a:xfrm>
                <a:custGeom>
                  <a:avLst/>
                  <a:gdLst>
                    <a:gd name="T0" fmla="*/ 12 w 45"/>
                    <a:gd name="T1" fmla="*/ 56 h 57"/>
                    <a:gd name="T2" fmla="*/ 16 w 45"/>
                    <a:gd name="T3" fmla="*/ 57 h 57"/>
                    <a:gd name="T4" fmla="*/ 30 w 45"/>
                    <a:gd name="T5" fmla="*/ 47 h 57"/>
                    <a:gd name="T6" fmla="*/ 41 w 45"/>
                    <a:gd name="T7" fmla="*/ 24 h 57"/>
                    <a:gd name="T8" fmla="*/ 36 w 45"/>
                    <a:gd name="T9" fmla="*/ 4 h 57"/>
                    <a:gd name="T10" fmla="*/ 16 w 45"/>
                    <a:gd name="T11" fmla="*/ 9 h 57"/>
                    <a:gd name="T12" fmla="*/ 3 w 45"/>
                    <a:gd name="T13" fmla="*/ 38 h 57"/>
                    <a:gd name="T14" fmla="*/ 12 w 45"/>
                    <a:gd name="T15" fmla="*/ 56 h 5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45" h="57">
                      <a:moveTo>
                        <a:pt x="12" y="56"/>
                      </a:moveTo>
                      <a:cubicBezTo>
                        <a:pt x="13" y="57"/>
                        <a:pt x="15" y="57"/>
                        <a:pt x="16" y="57"/>
                      </a:cubicBezTo>
                      <a:cubicBezTo>
                        <a:pt x="22" y="57"/>
                        <a:pt x="28" y="53"/>
                        <a:pt x="30" y="47"/>
                      </a:cubicBezTo>
                      <a:cubicBezTo>
                        <a:pt x="33" y="39"/>
                        <a:pt x="36" y="32"/>
                        <a:pt x="41" y="24"/>
                      </a:cubicBezTo>
                      <a:cubicBezTo>
                        <a:pt x="45" y="17"/>
                        <a:pt x="43" y="9"/>
                        <a:pt x="36" y="4"/>
                      </a:cubicBezTo>
                      <a:cubicBezTo>
                        <a:pt x="29" y="0"/>
                        <a:pt x="21" y="2"/>
                        <a:pt x="16" y="9"/>
                      </a:cubicBezTo>
                      <a:cubicBezTo>
                        <a:pt x="11" y="18"/>
                        <a:pt x="6" y="28"/>
                        <a:pt x="3" y="38"/>
                      </a:cubicBezTo>
                      <a:cubicBezTo>
                        <a:pt x="0" y="45"/>
                        <a:pt x="4" y="54"/>
                        <a:pt x="12" y="56"/>
                      </a:cubicBezTo>
                      <a:close/>
                    </a:path>
                  </a:pathLst>
                </a:custGeom>
                <a:solidFill>
                  <a:srgbClr val="4D4D4F"/>
                </a:solidFill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2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/>
                    <a:cs typeface=""/>
                  </a:endParaRPr>
                </a:p>
              </p:txBody>
            </p:sp>
            <p:sp>
              <p:nvSpPr>
                <p:cNvPr id="739" name="Freeform 20"/>
                <p:cNvSpPr>
                  <a:spLocks/>
                </p:cNvSpPr>
                <p:nvPr/>
              </p:nvSpPr>
              <p:spPr bwMode="auto">
                <a:xfrm>
                  <a:off x="4522788" y="1992313"/>
                  <a:ext cx="52388" cy="39688"/>
                </a:xfrm>
                <a:custGeom>
                  <a:avLst/>
                  <a:gdLst>
                    <a:gd name="T0" fmla="*/ 55 w 58"/>
                    <a:gd name="T1" fmla="*/ 11 h 43"/>
                    <a:gd name="T2" fmla="*/ 37 w 58"/>
                    <a:gd name="T3" fmla="*/ 2 h 43"/>
                    <a:gd name="T4" fmla="*/ 9 w 58"/>
                    <a:gd name="T5" fmla="*/ 17 h 43"/>
                    <a:gd name="T6" fmla="*/ 4 w 58"/>
                    <a:gd name="T7" fmla="*/ 37 h 43"/>
                    <a:gd name="T8" fmla="*/ 16 w 58"/>
                    <a:gd name="T9" fmla="*/ 43 h 43"/>
                    <a:gd name="T10" fmla="*/ 24 w 58"/>
                    <a:gd name="T11" fmla="*/ 41 h 43"/>
                    <a:gd name="T12" fmla="*/ 47 w 58"/>
                    <a:gd name="T13" fmla="*/ 29 h 43"/>
                    <a:gd name="T14" fmla="*/ 55 w 58"/>
                    <a:gd name="T15" fmla="*/ 11 h 4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58" h="43">
                      <a:moveTo>
                        <a:pt x="55" y="11"/>
                      </a:moveTo>
                      <a:cubicBezTo>
                        <a:pt x="53" y="3"/>
                        <a:pt x="44" y="0"/>
                        <a:pt x="37" y="2"/>
                      </a:cubicBezTo>
                      <a:cubicBezTo>
                        <a:pt x="27" y="6"/>
                        <a:pt x="17" y="11"/>
                        <a:pt x="9" y="17"/>
                      </a:cubicBezTo>
                      <a:cubicBezTo>
                        <a:pt x="2" y="21"/>
                        <a:pt x="0" y="30"/>
                        <a:pt x="4" y="37"/>
                      </a:cubicBezTo>
                      <a:cubicBezTo>
                        <a:pt x="7" y="41"/>
                        <a:pt x="12" y="43"/>
                        <a:pt x="16" y="43"/>
                      </a:cubicBezTo>
                      <a:cubicBezTo>
                        <a:pt x="19" y="43"/>
                        <a:pt x="22" y="43"/>
                        <a:pt x="24" y="41"/>
                      </a:cubicBezTo>
                      <a:cubicBezTo>
                        <a:pt x="31" y="36"/>
                        <a:pt x="39" y="32"/>
                        <a:pt x="47" y="29"/>
                      </a:cubicBezTo>
                      <a:cubicBezTo>
                        <a:pt x="54" y="27"/>
                        <a:pt x="58" y="18"/>
                        <a:pt x="55" y="11"/>
                      </a:cubicBezTo>
                      <a:close/>
                    </a:path>
                  </a:pathLst>
                </a:custGeom>
                <a:solidFill>
                  <a:srgbClr val="4D4D4F"/>
                </a:solidFill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2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/>
                    <a:cs typeface=""/>
                  </a:endParaRPr>
                </a:p>
              </p:txBody>
            </p:sp>
            <p:sp>
              <p:nvSpPr>
                <p:cNvPr id="740" name="Freeform 21"/>
                <p:cNvSpPr>
                  <a:spLocks/>
                </p:cNvSpPr>
                <p:nvPr/>
              </p:nvSpPr>
              <p:spPr bwMode="auto">
                <a:xfrm>
                  <a:off x="4959351" y="2051050"/>
                  <a:ext cx="36513" cy="52388"/>
                </a:xfrm>
                <a:custGeom>
                  <a:avLst/>
                  <a:gdLst>
                    <a:gd name="T0" fmla="*/ 13 w 42"/>
                    <a:gd name="T1" fmla="*/ 47 h 58"/>
                    <a:gd name="T2" fmla="*/ 27 w 42"/>
                    <a:gd name="T3" fmla="*/ 58 h 58"/>
                    <a:gd name="T4" fmla="*/ 30 w 42"/>
                    <a:gd name="T5" fmla="*/ 57 h 58"/>
                    <a:gd name="T6" fmla="*/ 41 w 42"/>
                    <a:gd name="T7" fmla="*/ 40 h 58"/>
                    <a:gd name="T8" fmla="*/ 30 w 42"/>
                    <a:gd name="T9" fmla="*/ 10 h 58"/>
                    <a:gd name="T10" fmla="*/ 11 w 42"/>
                    <a:gd name="T11" fmla="*/ 4 h 58"/>
                    <a:gd name="T12" fmla="*/ 4 w 42"/>
                    <a:gd name="T13" fmla="*/ 23 h 58"/>
                    <a:gd name="T14" fmla="*/ 13 w 42"/>
                    <a:gd name="T15" fmla="*/ 47 h 5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42" h="58">
                      <a:moveTo>
                        <a:pt x="13" y="47"/>
                      </a:moveTo>
                      <a:cubicBezTo>
                        <a:pt x="14" y="53"/>
                        <a:pt x="20" y="58"/>
                        <a:pt x="27" y="58"/>
                      </a:cubicBezTo>
                      <a:cubicBezTo>
                        <a:pt x="28" y="58"/>
                        <a:pt x="29" y="58"/>
                        <a:pt x="30" y="57"/>
                      </a:cubicBezTo>
                      <a:cubicBezTo>
                        <a:pt x="38" y="56"/>
                        <a:pt x="42" y="48"/>
                        <a:pt x="41" y="40"/>
                      </a:cubicBezTo>
                      <a:cubicBezTo>
                        <a:pt x="38" y="30"/>
                        <a:pt x="35" y="20"/>
                        <a:pt x="30" y="10"/>
                      </a:cubicBezTo>
                      <a:cubicBezTo>
                        <a:pt x="26" y="3"/>
                        <a:pt x="18" y="0"/>
                        <a:pt x="11" y="4"/>
                      </a:cubicBezTo>
                      <a:cubicBezTo>
                        <a:pt x="3" y="7"/>
                        <a:pt x="0" y="16"/>
                        <a:pt x="4" y="23"/>
                      </a:cubicBezTo>
                      <a:cubicBezTo>
                        <a:pt x="8" y="31"/>
                        <a:pt x="11" y="39"/>
                        <a:pt x="13" y="47"/>
                      </a:cubicBezTo>
                      <a:close/>
                    </a:path>
                  </a:pathLst>
                </a:custGeom>
                <a:solidFill>
                  <a:srgbClr val="4D4D4F"/>
                </a:solidFill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2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/>
                    <a:cs typeface=""/>
                  </a:endParaRPr>
                </a:p>
              </p:txBody>
            </p:sp>
            <p:sp>
              <p:nvSpPr>
                <p:cNvPr id="741" name="Freeform 22"/>
                <p:cNvSpPr>
                  <a:spLocks/>
                </p:cNvSpPr>
                <p:nvPr/>
              </p:nvSpPr>
              <p:spPr bwMode="auto">
                <a:xfrm>
                  <a:off x="4598988" y="1985963"/>
                  <a:ext cx="52388" cy="26988"/>
                </a:xfrm>
                <a:custGeom>
                  <a:avLst/>
                  <a:gdLst>
                    <a:gd name="T0" fmla="*/ 14 w 58"/>
                    <a:gd name="T1" fmla="*/ 29 h 29"/>
                    <a:gd name="T2" fmla="*/ 43 w 58"/>
                    <a:gd name="T3" fmla="*/ 29 h 29"/>
                    <a:gd name="T4" fmla="*/ 58 w 58"/>
                    <a:gd name="T5" fmla="*/ 15 h 29"/>
                    <a:gd name="T6" fmla="*/ 43 w 58"/>
                    <a:gd name="T7" fmla="*/ 0 h 29"/>
                    <a:gd name="T8" fmla="*/ 14 w 58"/>
                    <a:gd name="T9" fmla="*/ 0 h 29"/>
                    <a:gd name="T10" fmla="*/ 0 w 58"/>
                    <a:gd name="T11" fmla="*/ 15 h 29"/>
                    <a:gd name="T12" fmla="*/ 14 w 58"/>
                    <a:gd name="T13" fmla="*/ 29 h 2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58" h="29">
                      <a:moveTo>
                        <a:pt x="14" y="29"/>
                      </a:moveTo>
                      <a:cubicBezTo>
                        <a:pt x="43" y="29"/>
                        <a:pt x="43" y="29"/>
                        <a:pt x="43" y="29"/>
                      </a:cubicBezTo>
                      <a:cubicBezTo>
                        <a:pt x="51" y="29"/>
                        <a:pt x="58" y="23"/>
                        <a:pt x="58" y="15"/>
                      </a:cubicBezTo>
                      <a:cubicBezTo>
                        <a:pt x="58" y="7"/>
                        <a:pt x="51" y="0"/>
                        <a:pt x="43" y="0"/>
                      </a:cubicBezTo>
                      <a:cubicBezTo>
                        <a:pt x="14" y="0"/>
                        <a:pt x="14" y="0"/>
                        <a:pt x="14" y="0"/>
                      </a:cubicBezTo>
                      <a:cubicBezTo>
                        <a:pt x="6" y="0"/>
                        <a:pt x="0" y="7"/>
                        <a:pt x="0" y="15"/>
                      </a:cubicBezTo>
                      <a:cubicBezTo>
                        <a:pt x="0" y="23"/>
                        <a:pt x="6" y="29"/>
                        <a:pt x="14" y="29"/>
                      </a:cubicBezTo>
                      <a:close/>
                    </a:path>
                  </a:pathLst>
                </a:custGeom>
                <a:solidFill>
                  <a:srgbClr val="4D4D4F"/>
                </a:solidFill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2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/>
                    <a:cs typeface=""/>
                  </a:endParaRPr>
                </a:p>
              </p:txBody>
            </p:sp>
            <p:sp>
              <p:nvSpPr>
                <p:cNvPr id="742" name="Freeform 23"/>
                <p:cNvSpPr>
                  <a:spLocks/>
                </p:cNvSpPr>
                <p:nvPr/>
              </p:nvSpPr>
              <p:spPr bwMode="auto">
                <a:xfrm>
                  <a:off x="4676776" y="1985963"/>
                  <a:ext cx="50800" cy="26988"/>
                </a:xfrm>
                <a:custGeom>
                  <a:avLst/>
                  <a:gdLst>
                    <a:gd name="T0" fmla="*/ 15 w 58"/>
                    <a:gd name="T1" fmla="*/ 29 h 29"/>
                    <a:gd name="T2" fmla="*/ 43 w 58"/>
                    <a:gd name="T3" fmla="*/ 29 h 29"/>
                    <a:gd name="T4" fmla="*/ 58 w 58"/>
                    <a:gd name="T5" fmla="*/ 15 h 29"/>
                    <a:gd name="T6" fmla="*/ 43 w 58"/>
                    <a:gd name="T7" fmla="*/ 0 h 29"/>
                    <a:gd name="T8" fmla="*/ 15 w 58"/>
                    <a:gd name="T9" fmla="*/ 0 h 29"/>
                    <a:gd name="T10" fmla="*/ 0 w 58"/>
                    <a:gd name="T11" fmla="*/ 15 h 29"/>
                    <a:gd name="T12" fmla="*/ 15 w 58"/>
                    <a:gd name="T13" fmla="*/ 29 h 2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58" h="29">
                      <a:moveTo>
                        <a:pt x="15" y="29"/>
                      </a:moveTo>
                      <a:cubicBezTo>
                        <a:pt x="43" y="29"/>
                        <a:pt x="43" y="29"/>
                        <a:pt x="43" y="29"/>
                      </a:cubicBezTo>
                      <a:cubicBezTo>
                        <a:pt x="51" y="29"/>
                        <a:pt x="58" y="23"/>
                        <a:pt x="58" y="15"/>
                      </a:cubicBezTo>
                      <a:cubicBezTo>
                        <a:pt x="58" y="7"/>
                        <a:pt x="51" y="0"/>
                        <a:pt x="43" y="0"/>
                      </a:cubicBezTo>
                      <a:cubicBezTo>
                        <a:pt x="15" y="0"/>
                        <a:pt x="15" y="0"/>
                        <a:pt x="15" y="0"/>
                      </a:cubicBezTo>
                      <a:cubicBezTo>
                        <a:pt x="7" y="0"/>
                        <a:pt x="0" y="7"/>
                        <a:pt x="0" y="15"/>
                      </a:cubicBezTo>
                      <a:cubicBezTo>
                        <a:pt x="0" y="23"/>
                        <a:pt x="7" y="29"/>
                        <a:pt x="15" y="29"/>
                      </a:cubicBezTo>
                      <a:close/>
                    </a:path>
                  </a:pathLst>
                </a:custGeom>
                <a:solidFill>
                  <a:srgbClr val="4D4D4F"/>
                </a:solidFill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2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/>
                    <a:cs typeface=""/>
                  </a:endParaRPr>
                </a:p>
              </p:txBody>
            </p:sp>
            <p:sp>
              <p:nvSpPr>
                <p:cNvPr id="743" name="Freeform 24"/>
                <p:cNvSpPr>
                  <a:spLocks/>
                </p:cNvSpPr>
                <p:nvPr/>
              </p:nvSpPr>
              <p:spPr bwMode="auto">
                <a:xfrm>
                  <a:off x="4752976" y="1985963"/>
                  <a:ext cx="52388" cy="26988"/>
                </a:xfrm>
                <a:custGeom>
                  <a:avLst/>
                  <a:gdLst>
                    <a:gd name="T0" fmla="*/ 15 w 58"/>
                    <a:gd name="T1" fmla="*/ 29 h 29"/>
                    <a:gd name="T2" fmla="*/ 43 w 58"/>
                    <a:gd name="T3" fmla="*/ 29 h 29"/>
                    <a:gd name="T4" fmla="*/ 58 w 58"/>
                    <a:gd name="T5" fmla="*/ 15 h 29"/>
                    <a:gd name="T6" fmla="*/ 43 w 58"/>
                    <a:gd name="T7" fmla="*/ 0 h 29"/>
                    <a:gd name="T8" fmla="*/ 15 w 58"/>
                    <a:gd name="T9" fmla="*/ 0 h 29"/>
                    <a:gd name="T10" fmla="*/ 0 w 58"/>
                    <a:gd name="T11" fmla="*/ 15 h 29"/>
                    <a:gd name="T12" fmla="*/ 15 w 58"/>
                    <a:gd name="T13" fmla="*/ 29 h 2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58" h="29">
                      <a:moveTo>
                        <a:pt x="15" y="29"/>
                      </a:moveTo>
                      <a:cubicBezTo>
                        <a:pt x="43" y="29"/>
                        <a:pt x="43" y="29"/>
                        <a:pt x="43" y="29"/>
                      </a:cubicBezTo>
                      <a:cubicBezTo>
                        <a:pt x="51" y="29"/>
                        <a:pt x="58" y="23"/>
                        <a:pt x="58" y="15"/>
                      </a:cubicBezTo>
                      <a:cubicBezTo>
                        <a:pt x="58" y="7"/>
                        <a:pt x="51" y="0"/>
                        <a:pt x="43" y="0"/>
                      </a:cubicBezTo>
                      <a:cubicBezTo>
                        <a:pt x="15" y="0"/>
                        <a:pt x="15" y="0"/>
                        <a:pt x="15" y="0"/>
                      </a:cubicBezTo>
                      <a:cubicBezTo>
                        <a:pt x="7" y="0"/>
                        <a:pt x="0" y="7"/>
                        <a:pt x="0" y="15"/>
                      </a:cubicBezTo>
                      <a:cubicBezTo>
                        <a:pt x="0" y="23"/>
                        <a:pt x="7" y="29"/>
                        <a:pt x="15" y="29"/>
                      </a:cubicBezTo>
                      <a:close/>
                    </a:path>
                  </a:pathLst>
                </a:custGeom>
                <a:solidFill>
                  <a:srgbClr val="4D4D4F"/>
                </a:solidFill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2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/>
                    <a:cs typeface=""/>
                  </a:endParaRPr>
                </a:p>
              </p:txBody>
            </p:sp>
            <p:sp>
              <p:nvSpPr>
                <p:cNvPr id="744" name="Freeform 25"/>
                <p:cNvSpPr>
                  <a:spLocks/>
                </p:cNvSpPr>
                <p:nvPr/>
              </p:nvSpPr>
              <p:spPr bwMode="auto">
                <a:xfrm>
                  <a:off x="4471988" y="2349500"/>
                  <a:ext cx="26988" cy="52388"/>
                </a:xfrm>
                <a:custGeom>
                  <a:avLst/>
                  <a:gdLst>
                    <a:gd name="T0" fmla="*/ 30 w 31"/>
                    <a:gd name="T1" fmla="*/ 42 h 58"/>
                    <a:gd name="T2" fmla="*/ 29 w 31"/>
                    <a:gd name="T3" fmla="*/ 28 h 58"/>
                    <a:gd name="T4" fmla="*/ 29 w 31"/>
                    <a:gd name="T5" fmla="*/ 15 h 58"/>
                    <a:gd name="T6" fmla="*/ 14 w 31"/>
                    <a:gd name="T7" fmla="*/ 0 h 58"/>
                    <a:gd name="T8" fmla="*/ 0 w 31"/>
                    <a:gd name="T9" fmla="*/ 15 h 58"/>
                    <a:gd name="T10" fmla="*/ 0 w 31"/>
                    <a:gd name="T11" fmla="*/ 28 h 58"/>
                    <a:gd name="T12" fmla="*/ 1 w 31"/>
                    <a:gd name="T13" fmla="*/ 45 h 58"/>
                    <a:gd name="T14" fmla="*/ 15 w 31"/>
                    <a:gd name="T15" fmla="*/ 58 h 58"/>
                    <a:gd name="T16" fmla="*/ 17 w 31"/>
                    <a:gd name="T17" fmla="*/ 58 h 58"/>
                    <a:gd name="T18" fmla="*/ 30 w 31"/>
                    <a:gd name="T19" fmla="*/ 42 h 5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31" h="58">
                      <a:moveTo>
                        <a:pt x="30" y="42"/>
                      </a:moveTo>
                      <a:cubicBezTo>
                        <a:pt x="29" y="37"/>
                        <a:pt x="29" y="33"/>
                        <a:pt x="29" y="28"/>
                      </a:cubicBezTo>
                      <a:cubicBezTo>
                        <a:pt x="29" y="15"/>
                        <a:pt x="29" y="15"/>
                        <a:pt x="29" y="15"/>
                      </a:cubicBezTo>
                      <a:cubicBezTo>
                        <a:pt x="29" y="7"/>
                        <a:pt x="22" y="0"/>
                        <a:pt x="14" y="0"/>
                      </a:cubicBezTo>
                      <a:cubicBezTo>
                        <a:pt x="7" y="0"/>
                        <a:pt x="0" y="7"/>
                        <a:pt x="0" y="15"/>
                      </a:cubicBezTo>
                      <a:cubicBezTo>
                        <a:pt x="0" y="28"/>
                        <a:pt x="0" y="28"/>
                        <a:pt x="0" y="28"/>
                      </a:cubicBezTo>
                      <a:cubicBezTo>
                        <a:pt x="0" y="34"/>
                        <a:pt x="0" y="39"/>
                        <a:pt x="1" y="45"/>
                      </a:cubicBezTo>
                      <a:cubicBezTo>
                        <a:pt x="2" y="52"/>
                        <a:pt x="8" y="58"/>
                        <a:pt x="15" y="58"/>
                      </a:cubicBezTo>
                      <a:cubicBezTo>
                        <a:pt x="16" y="58"/>
                        <a:pt x="17" y="58"/>
                        <a:pt x="17" y="58"/>
                      </a:cubicBezTo>
                      <a:cubicBezTo>
                        <a:pt x="25" y="57"/>
                        <a:pt x="31" y="50"/>
                        <a:pt x="30" y="42"/>
                      </a:cubicBezTo>
                      <a:close/>
                    </a:path>
                  </a:pathLst>
                </a:custGeom>
                <a:solidFill>
                  <a:srgbClr val="4D4D4F"/>
                </a:solidFill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2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/>
                    <a:cs typeface=""/>
                  </a:endParaRPr>
                </a:p>
              </p:txBody>
            </p:sp>
            <p:sp>
              <p:nvSpPr>
                <p:cNvPr id="745" name="Freeform 26"/>
                <p:cNvSpPr>
                  <a:spLocks/>
                </p:cNvSpPr>
                <p:nvPr/>
              </p:nvSpPr>
              <p:spPr bwMode="auto">
                <a:xfrm>
                  <a:off x="4973638" y="2282825"/>
                  <a:ext cx="25400" cy="52388"/>
                </a:xfrm>
                <a:custGeom>
                  <a:avLst/>
                  <a:gdLst>
                    <a:gd name="T0" fmla="*/ 14 w 29"/>
                    <a:gd name="T1" fmla="*/ 0 h 58"/>
                    <a:gd name="T2" fmla="*/ 0 w 29"/>
                    <a:gd name="T3" fmla="*/ 15 h 58"/>
                    <a:gd name="T4" fmla="*/ 0 w 29"/>
                    <a:gd name="T5" fmla="*/ 44 h 58"/>
                    <a:gd name="T6" fmla="*/ 14 w 29"/>
                    <a:gd name="T7" fmla="*/ 58 h 58"/>
                    <a:gd name="T8" fmla="*/ 29 w 29"/>
                    <a:gd name="T9" fmla="*/ 44 h 58"/>
                    <a:gd name="T10" fmla="*/ 29 w 29"/>
                    <a:gd name="T11" fmla="*/ 15 h 58"/>
                    <a:gd name="T12" fmla="*/ 14 w 29"/>
                    <a:gd name="T13" fmla="*/ 0 h 5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9" h="58">
                      <a:moveTo>
                        <a:pt x="14" y="0"/>
                      </a:moveTo>
                      <a:cubicBezTo>
                        <a:pt x="6" y="0"/>
                        <a:pt x="0" y="7"/>
                        <a:pt x="0" y="15"/>
                      </a:cubicBezTo>
                      <a:cubicBezTo>
                        <a:pt x="0" y="44"/>
                        <a:pt x="0" y="44"/>
                        <a:pt x="0" y="44"/>
                      </a:cubicBezTo>
                      <a:cubicBezTo>
                        <a:pt x="0" y="52"/>
                        <a:pt x="6" y="58"/>
                        <a:pt x="14" y="58"/>
                      </a:cubicBezTo>
                      <a:cubicBezTo>
                        <a:pt x="22" y="58"/>
                        <a:pt x="29" y="52"/>
                        <a:pt x="29" y="44"/>
                      </a:cubicBezTo>
                      <a:cubicBezTo>
                        <a:pt x="29" y="15"/>
                        <a:pt x="29" y="15"/>
                        <a:pt x="29" y="15"/>
                      </a:cubicBezTo>
                      <a:cubicBezTo>
                        <a:pt x="29" y="7"/>
                        <a:pt x="22" y="0"/>
                        <a:pt x="14" y="0"/>
                      </a:cubicBezTo>
                      <a:close/>
                    </a:path>
                  </a:pathLst>
                </a:custGeom>
                <a:solidFill>
                  <a:srgbClr val="4D4D4F"/>
                </a:solidFill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2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/>
                    <a:cs typeface=""/>
                  </a:endParaRPr>
                </a:p>
              </p:txBody>
            </p:sp>
            <p:sp>
              <p:nvSpPr>
                <p:cNvPr id="746" name="Freeform 28"/>
                <p:cNvSpPr>
                  <a:spLocks/>
                </p:cNvSpPr>
                <p:nvPr/>
              </p:nvSpPr>
              <p:spPr bwMode="auto">
                <a:xfrm>
                  <a:off x="4927601" y="2432050"/>
                  <a:ext cx="47625" cy="46038"/>
                </a:xfrm>
                <a:custGeom>
                  <a:avLst/>
                  <a:gdLst>
                    <a:gd name="T0" fmla="*/ 25 w 53"/>
                    <a:gd name="T1" fmla="*/ 7 h 51"/>
                    <a:gd name="T2" fmla="*/ 7 w 53"/>
                    <a:gd name="T3" fmla="*/ 25 h 51"/>
                    <a:gd name="T4" fmla="*/ 5 w 53"/>
                    <a:gd name="T5" fmla="*/ 45 h 51"/>
                    <a:gd name="T6" fmla="*/ 16 w 53"/>
                    <a:gd name="T7" fmla="*/ 51 h 51"/>
                    <a:gd name="T8" fmla="*/ 25 w 53"/>
                    <a:gd name="T9" fmla="*/ 47 h 51"/>
                    <a:gd name="T10" fmla="*/ 48 w 53"/>
                    <a:gd name="T11" fmla="*/ 25 h 51"/>
                    <a:gd name="T12" fmla="*/ 45 w 53"/>
                    <a:gd name="T13" fmla="*/ 5 h 51"/>
                    <a:gd name="T14" fmla="*/ 25 w 53"/>
                    <a:gd name="T15" fmla="*/ 7 h 5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53" h="51">
                      <a:moveTo>
                        <a:pt x="25" y="7"/>
                      </a:moveTo>
                      <a:cubicBezTo>
                        <a:pt x="20" y="14"/>
                        <a:pt x="14" y="20"/>
                        <a:pt x="7" y="25"/>
                      </a:cubicBezTo>
                      <a:cubicBezTo>
                        <a:pt x="1" y="30"/>
                        <a:pt x="0" y="39"/>
                        <a:pt x="5" y="45"/>
                      </a:cubicBezTo>
                      <a:cubicBezTo>
                        <a:pt x="8" y="49"/>
                        <a:pt x="12" y="51"/>
                        <a:pt x="16" y="51"/>
                      </a:cubicBezTo>
                      <a:cubicBezTo>
                        <a:pt x="20" y="51"/>
                        <a:pt x="23" y="50"/>
                        <a:pt x="25" y="47"/>
                      </a:cubicBezTo>
                      <a:cubicBezTo>
                        <a:pt x="34" y="41"/>
                        <a:pt x="41" y="33"/>
                        <a:pt x="48" y="25"/>
                      </a:cubicBezTo>
                      <a:cubicBezTo>
                        <a:pt x="53" y="19"/>
                        <a:pt x="52" y="9"/>
                        <a:pt x="45" y="5"/>
                      </a:cubicBezTo>
                      <a:cubicBezTo>
                        <a:pt x="39" y="0"/>
                        <a:pt x="30" y="1"/>
                        <a:pt x="25" y="7"/>
                      </a:cubicBezTo>
                      <a:close/>
                    </a:path>
                  </a:pathLst>
                </a:custGeom>
                <a:solidFill>
                  <a:srgbClr val="4D4D4F"/>
                </a:solidFill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2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/>
                    <a:cs typeface=""/>
                  </a:endParaRPr>
                </a:p>
              </p:txBody>
            </p:sp>
            <p:sp>
              <p:nvSpPr>
                <p:cNvPr id="747" name="Freeform 29"/>
                <p:cNvSpPr>
                  <a:spLocks/>
                </p:cNvSpPr>
                <p:nvPr/>
              </p:nvSpPr>
              <p:spPr bwMode="auto">
                <a:xfrm>
                  <a:off x="4968876" y="2360613"/>
                  <a:ext cx="30163" cy="52388"/>
                </a:xfrm>
                <a:custGeom>
                  <a:avLst/>
                  <a:gdLst>
                    <a:gd name="T0" fmla="*/ 19 w 34"/>
                    <a:gd name="T1" fmla="*/ 0 h 58"/>
                    <a:gd name="T2" fmla="*/ 5 w 34"/>
                    <a:gd name="T3" fmla="*/ 15 h 58"/>
                    <a:gd name="T4" fmla="*/ 2 w 34"/>
                    <a:gd name="T5" fmla="*/ 40 h 58"/>
                    <a:gd name="T6" fmla="*/ 13 w 34"/>
                    <a:gd name="T7" fmla="*/ 58 h 58"/>
                    <a:gd name="T8" fmla="*/ 16 w 34"/>
                    <a:gd name="T9" fmla="*/ 58 h 58"/>
                    <a:gd name="T10" fmla="*/ 30 w 34"/>
                    <a:gd name="T11" fmla="*/ 47 h 58"/>
                    <a:gd name="T12" fmla="*/ 34 w 34"/>
                    <a:gd name="T13" fmla="*/ 15 h 58"/>
                    <a:gd name="T14" fmla="*/ 34 w 34"/>
                    <a:gd name="T15" fmla="*/ 14 h 58"/>
                    <a:gd name="T16" fmla="*/ 19 w 34"/>
                    <a:gd name="T17" fmla="*/ 0 h 5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34" h="58">
                      <a:moveTo>
                        <a:pt x="19" y="0"/>
                      </a:moveTo>
                      <a:cubicBezTo>
                        <a:pt x="11" y="0"/>
                        <a:pt x="5" y="7"/>
                        <a:pt x="5" y="15"/>
                      </a:cubicBezTo>
                      <a:cubicBezTo>
                        <a:pt x="5" y="24"/>
                        <a:pt x="4" y="32"/>
                        <a:pt x="2" y="40"/>
                      </a:cubicBezTo>
                      <a:cubicBezTo>
                        <a:pt x="0" y="48"/>
                        <a:pt x="5" y="56"/>
                        <a:pt x="13" y="58"/>
                      </a:cubicBezTo>
                      <a:cubicBezTo>
                        <a:pt x="14" y="58"/>
                        <a:pt x="15" y="58"/>
                        <a:pt x="16" y="58"/>
                      </a:cubicBezTo>
                      <a:cubicBezTo>
                        <a:pt x="23" y="58"/>
                        <a:pt x="29" y="53"/>
                        <a:pt x="30" y="47"/>
                      </a:cubicBezTo>
                      <a:cubicBezTo>
                        <a:pt x="32" y="36"/>
                        <a:pt x="34" y="26"/>
                        <a:pt x="34" y="15"/>
                      </a:cubicBezTo>
                      <a:cubicBezTo>
                        <a:pt x="34" y="14"/>
                        <a:pt x="34" y="14"/>
                        <a:pt x="34" y="14"/>
                      </a:cubicBezTo>
                      <a:cubicBezTo>
                        <a:pt x="34" y="6"/>
                        <a:pt x="27" y="0"/>
                        <a:pt x="19" y="0"/>
                      </a:cubicBezTo>
                      <a:close/>
                    </a:path>
                  </a:pathLst>
                </a:custGeom>
                <a:solidFill>
                  <a:srgbClr val="4D4D4F"/>
                </a:solidFill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2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/>
                    <a:cs typeface=""/>
                  </a:endParaRPr>
                </a:p>
              </p:txBody>
            </p:sp>
            <p:sp>
              <p:nvSpPr>
                <p:cNvPr id="748" name="Freeform 30"/>
                <p:cNvSpPr>
                  <a:spLocks/>
                </p:cNvSpPr>
                <p:nvPr/>
              </p:nvSpPr>
              <p:spPr bwMode="auto">
                <a:xfrm>
                  <a:off x="4973638" y="2205038"/>
                  <a:ext cx="25400" cy="52388"/>
                </a:xfrm>
                <a:custGeom>
                  <a:avLst/>
                  <a:gdLst>
                    <a:gd name="T0" fmla="*/ 14 w 29"/>
                    <a:gd name="T1" fmla="*/ 0 h 58"/>
                    <a:gd name="T2" fmla="*/ 0 w 29"/>
                    <a:gd name="T3" fmla="*/ 15 h 58"/>
                    <a:gd name="T4" fmla="*/ 0 w 29"/>
                    <a:gd name="T5" fmla="*/ 43 h 58"/>
                    <a:gd name="T6" fmla="*/ 14 w 29"/>
                    <a:gd name="T7" fmla="*/ 58 h 58"/>
                    <a:gd name="T8" fmla="*/ 29 w 29"/>
                    <a:gd name="T9" fmla="*/ 43 h 58"/>
                    <a:gd name="T10" fmla="*/ 29 w 29"/>
                    <a:gd name="T11" fmla="*/ 15 h 58"/>
                    <a:gd name="T12" fmla="*/ 14 w 29"/>
                    <a:gd name="T13" fmla="*/ 0 h 5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9" h="58">
                      <a:moveTo>
                        <a:pt x="14" y="0"/>
                      </a:moveTo>
                      <a:cubicBezTo>
                        <a:pt x="6" y="0"/>
                        <a:pt x="0" y="7"/>
                        <a:pt x="0" y="15"/>
                      </a:cubicBezTo>
                      <a:cubicBezTo>
                        <a:pt x="0" y="43"/>
                        <a:pt x="0" y="43"/>
                        <a:pt x="0" y="43"/>
                      </a:cubicBezTo>
                      <a:cubicBezTo>
                        <a:pt x="0" y="51"/>
                        <a:pt x="6" y="58"/>
                        <a:pt x="14" y="58"/>
                      </a:cubicBezTo>
                      <a:cubicBezTo>
                        <a:pt x="22" y="58"/>
                        <a:pt x="29" y="51"/>
                        <a:pt x="29" y="43"/>
                      </a:cubicBezTo>
                      <a:cubicBezTo>
                        <a:pt x="29" y="15"/>
                        <a:pt x="29" y="15"/>
                        <a:pt x="29" y="15"/>
                      </a:cubicBezTo>
                      <a:cubicBezTo>
                        <a:pt x="29" y="7"/>
                        <a:pt x="22" y="0"/>
                        <a:pt x="14" y="0"/>
                      </a:cubicBezTo>
                      <a:close/>
                    </a:path>
                  </a:pathLst>
                </a:custGeom>
                <a:solidFill>
                  <a:srgbClr val="4D4D4F"/>
                </a:solidFill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2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/>
                    <a:cs typeface=""/>
                  </a:endParaRPr>
                </a:p>
              </p:txBody>
            </p:sp>
            <p:sp>
              <p:nvSpPr>
                <p:cNvPr id="749" name="Freeform 31"/>
                <p:cNvSpPr>
                  <a:spLocks/>
                </p:cNvSpPr>
                <p:nvPr/>
              </p:nvSpPr>
              <p:spPr bwMode="auto">
                <a:xfrm>
                  <a:off x="4973638" y="2127250"/>
                  <a:ext cx="25400" cy="52388"/>
                </a:xfrm>
                <a:custGeom>
                  <a:avLst/>
                  <a:gdLst>
                    <a:gd name="T0" fmla="*/ 14 w 29"/>
                    <a:gd name="T1" fmla="*/ 0 h 58"/>
                    <a:gd name="T2" fmla="*/ 0 w 29"/>
                    <a:gd name="T3" fmla="*/ 15 h 58"/>
                    <a:gd name="T4" fmla="*/ 0 w 29"/>
                    <a:gd name="T5" fmla="*/ 43 h 58"/>
                    <a:gd name="T6" fmla="*/ 14 w 29"/>
                    <a:gd name="T7" fmla="*/ 58 h 58"/>
                    <a:gd name="T8" fmla="*/ 29 w 29"/>
                    <a:gd name="T9" fmla="*/ 43 h 58"/>
                    <a:gd name="T10" fmla="*/ 29 w 29"/>
                    <a:gd name="T11" fmla="*/ 15 h 58"/>
                    <a:gd name="T12" fmla="*/ 14 w 29"/>
                    <a:gd name="T13" fmla="*/ 0 h 5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9" h="58">
                      <a:moveTo>
                        <a:pt x="14" y="0"/>
                      </a:moveTo>
                      <a:cubicBezTo>
                        <a:pt x="6" y="0"/>
                        <a:pt x="0" y="7"/>
                        <a:pt x="0" y="15"/>
                      </a:cubicBezTo>
                      <a:cubicBezTo>
                        <a:pt x="0" y="43"/>
                        <a:pt x="0" y="43"/>
                        <a:pt x="0" y="43"/>
                      </a:cubicBezTo>
                      <a:cubicBezTo>
                        <a:pt x="0" y="51"/>
                        <a:pt x="6" y="58"/>
                        <a:pt x="14" y="58"/>
                      </a:cubicBezTo>
                      <a:cubicBezTo>
                        <a:pt x="22" y="58"/>
                        <a:pt x="29" y="51"/>
                        <a:pt x="29" y="43"/>
                      </a:cubicBezTo>
                      <a:cubicBezTo>
                        <a:pt x="29" y="15"/>
                        <a:pt x="29" y="15"/>
                        <a:pt x="29" y="15"/>
                      </a:cubicBezTo>
                      <a:cubicBezTo>
                        <a:pt x="29" y="7"/>
                        <a:pt x="22" y="0"/>
                        <a:pt x="14" y="0"/>
                      </a:cubicBezTo>
                      <a:close/>
                    </a:path>
                  </a:pathLst>
                </a:custGeom>
                <a:solidFill>
                  <a:srgbClr val="4D4D4F"/>
                </a:solidFill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2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/>
                    <a:cs typeface=""/>
                  </a:endParaRPr>
                </a:p>
              </p:txBody>
            </p:sp>
            <p:sp>
              <p:nvSpPr>
                <p:cNvPr id="750" name="Freeform 32"/>
                <p:cNvSpPr>
                  <a:spLocks/>
                </p:cNvSpPr>
                <p:nvPr/>
              </p:nvSpPr>
              <p:spPr bwMode="auto">
                <a:xfrm>
                  <a:off x="4546601" y="2470150"/>
                  <a:ext cx="53975" cy="33338"/>
                </a:xfrm>
                <a:custGeom>
                  <a:avLst/>
                  <a:gdLst>
                    <a:gd name="T0" fmla="*/ 46 w 60"/>
                    <a:gd name="T1" fmla="*/ 8 h 37"/>
                    <a:gd name="T2" fmla="*/ 21 w 60"/>
                    <a:gd name="T3" fmla="*/ 2 h 37"/>
                    <a:gd name="T4" fmla="*/ 3 w 60"/>
                    <a:gd name="T5" fmla="*/ 11 h 37"/>
                    <a:gd name="T6" fmla="*/ 12 w 60"/>
                    <a:gd name="T7" fmla="*/ 30 h 37"/>
                    <a:gd name="T8" fmla="*/ 43 w 60"/>
                    <a:gd name="T9" fmla="*/ 37 h 37"/>
                    <a:gd name="T10" fmla="*/ 44 w 60"/>
                    <a:gd name="T11" fmla="*/ 37 h 37"/>
                    <a:gd name="T12" fmla="*/ 59 w 60"/>
                    <a:gd name="T13" fmla="*/ 24 h 37"/>
                    <a:gd name="T14" fmla="*/ 46 w 60"/>
                    <a:gd name="T15" fmla="*/ 8 h 3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60" h="37">
                      <a:moveTo>
                        <a:pt x="46" y="8"/>
                      </a:moveTo>
                      <a:cubicBezTo>
                        <a:pt x="38" y="7"/>
                        <a:pt x="29" y="5"/>
                        <a:pt x="21" y="2"/>
                      </a:cubicBezTo>
                      <a:cubicBezTo>
                        <a:pt x="14" y="0"/>
                        <a:pt x="6" y="4"/>
                        <a:pt x="3" y="11"/>
                      </a:cubicBezTo>
                      <a:cubicBezTo>
                        <a:pt x="0" y="19"/>
                        <a:pt x="4" y="27"/>
                        <a:pt x="12" y="30"/>
                      </a:cubicBezTo>
                      <a:cubicBezTo>
                        <a:pt x="22" y="33"/>
                        <a:pt x="32" y="36"/>
                        <a:pt x="43" y="37"/>
                      </a:cubicBezTo>
                      <a:cubicBezTo>
                        <a:pt x="43" y="37"/>
                        <a:pt x="44" y="37"/>
                        <a:pt x="44" y="37"/>
                      </a:cubicBezTo>
                      <a:cubicBezTo>
                        <a:pt x="51" y="37"/>
                        <a:pt x="58" y="32"/>
                        <a:pt x="59" y="24"/>
                      </a:cubicBezTo>
                      <a:cubicBezTo>
                        <a:pt x="60" y="16"/>
                        <a:pt x="54" y="9"/>
                        <a:pt x="46" y="8"/>
                      </a:cubicBezTo>
                      <a:close/>
                    </a:path>
                  </a:pathLst>
                </a:custGeom>
                <a:solidFill>
                  <a:srgbClr val="4D4D4F"/>
                </a:solidFill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2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/>
                    <a:cs typeface=""/>
                  </a:endParaRPr>
                </a:p>
              </p:txBody>
            </p:sp>
            <p:sp>
              <p:nvSpPr>
                <p:cNvPr id="751" name="Freeform 33"/>
                <p:cNvSpPr>
                  <a:spLocks/>
                </p:cNvSpPr>
                <p:nvPr/>
              </p:nvSpPr>
              <p:spPr bwMode="auto">
                <a:xfrm>
                  <a:off x="4781551" y="2478088"/>
                  <a:ext cx="50800" cy="25400"/>
                </a:xfrm>
                <a:custGeom>
                  <a:avLst/>
                  <a:gdLst>
                    <a:gd name="T0" fmla="*/ 43 w 57"/>
                    <a:gd name="T1" fmla="*/ 0 h 29"/>
                    <a:gd name="T2" fmla="*/ 14 w 57"/>
                    <a:gd name="T3" fmla="*/ 0 h 29"/>
                    <a:gd name="T4" fmla="*/ 0 w 57"/>
                    <a:gd name="T5" fmla="*/ 15 h 29"/>
                    <a:gd name="T6" fmla="*/ 14 w 57"/>
                    <a:gd name="T7" fmla="*/ 29 h 29"/>
                    <a:gd name="T8" fmla="*/ 43 w 57"/>
                    <a:gd name="T9" fmla="*/ 29 h 29"/>
                    <a:gd name="T10" fmla="*/ 57 w 57"/>
                    <a:gd name="T11" fmla="*/ 15 h 29"/>
                    <a:gd name="T12" fmla="*/ 43 w 57"/>
                    <a:gd name="T13" fmla="*/ 0 h 2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57" h="29">
                      <a:moveTo>
                        <a:pt x="43" y="0"/>
                      </a:moveTo>
                      <a:cubicBezTo>
                        <a:pt x="14" y="0"/>
                        <a:pt x="14" y="0"/>
                        <a:pt x="14" y="0"/>
                      </a:cubicBezTo>
                      <a:cubicBezTo>
                        <a:pt x="6" y="0"/>
                        <a:pt x="0" y="7"/>
                        <a:pt x="0" y="15"/>
                      </a:cubicBezTo>
                      <a:cubicBezTo>
                        <a:pt x="0" y="23"/>
                        <a:pt x="6" y="29"/>
                        <a:pt x="14" y="29"/>
                      </a:cubicBezTo>
                      <a:cubicBezTo>
                        <a:pt x="43" y="29"/>
                        <a:pt x="43" y="29"/>
                        <a:pt x="43" y="29"/>
                      </a:cubicBezTo>
                      <a:cubicBezTo>
                        <a:pt x="51" y="29"/>
                        <a:pt x="57" y="23"/>
                        <a:pt x="57" y="15"/>
                      </a:cubicBezTo>
                      <a:cubicBezTo>
                        <a:pt x="57" y="7"/>
                        <a:pt x="51" y="0"/>
                        <a:pt x="43" y="0"/>
                      </a:cubicBezTo>
                      <a:close/>
                    </a:path>
                  </a:pathLst>
                </a:custGeom>
                <a:solidFill>
                  <a:srgbClr val="4D4D4F"/>
                </a:solidFill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2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/>
                    <a:cs typeface=""/>
                  </a:endParaRPr>
                </a:p>
              </p:txBody>
            </p:sp>
            <p:sp>
              <p:nvSpPr>
                <p:cNvPr id="752" name="Freeform 34"/>
                <p:cNvSpPr>
                  <a:spLocks/>
                </p:cNvSpPr>
                <p:nvPr/>
              </p:nvSpPr>
              <p:spPr bwMode="auto">
                <a:xfrm>
                  <a:off x="4703763" y="2478088"/>
                  <a:ext cx="50800" cy="25400"/>
                </a:xfrm>
                <a:custGeom>
                  <a:avLst/>
                  <a:gdLst>
                    <a:gd name="T0" fmla="*/ 44 w 58"/>
                    <a:gd name="T1" fmla="*/ 0 h 29"/>
                    <a:gd name="T2" fmla="*/ 15 w 58"/>
                    <a:gd name="T3" fmla="*/ 0 h 29"/>
                    <a:gd name="T4" fmla="*/ 0 w 58"/>
                    <a:gd name="T5" fmla="*/ 15 h 29"/>
                    <a:gd name="T6" fmla="*/ 15 w 58"/>
                    <a:gd name="T7" fmla="*/ 29 h 29"/>
                    <a:gd name="T8" fmla="*/ 44 w 58"/>
                    <a:gd name="T9" fmla="*/ 29 h 29"/>
                    <a:gd name="T10" fmla="*/ 58 w 58"/>
                    <a:gd name="T11" fmla="*/ 15 h 29"/>
                    <a:gd name="T12" fmla="*/ 44 w 58"/>
                    <a:gd name="T13" fmla="*/ 0 h 2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58" h="29">
                      <a:moveTo>
                        <a:pt x="44" y="0"/>
                      </a:moveTo>
                      <a:cubicBezTo>
                        <a:pt x="15" y="0"/>
                        <a:pt x="15" y="0"/>
                        <a:pt x="15" y="0"/>
                      </a:cubicBezTo>
                      <a:cubicBezTo>
                        <a:pt x="7" y="0"/>
                        <a:pt x="0" y="7"/>
                        <a:pt x="0" y="15"/>
                      </a:cubicBezTo>
                      <a:cubicBezTo>
                        <a:pt x="0" y="23"/>
                        <a:pt x="7" y="29"/>
                        <a:pt x="15" y="29"/>
                      </a:cubicBezTo>
                      <a:cubicBezTo>
                        <a:pt x="44" y="29"/>
                        <a:pt x="44" y="29"/>
                        <a:pt x="44" y="29"/>
                      </a:cubicBezTo>
                      <a:cubicBezTo>
                        <a:pt x="51" y="29"/>
                        <a:pt x="58" y="23"/>
                        <a:pt x="58" y="15"/>
                      </a:cubicBezTo>
                      <a:cubicBezTo>
                        <a:pt x="58" y="7"/>
                        <a:pt x="51" y="0"/>
                        <a:pt x="44" y="0"/>
                      </a:cubicBezTo>
                      <a:close/>
                    </a:path>
                  </a:pathLst>
                </a:custGeom>
                <a:solidFill>
                  <a:srgbClr val="4D4D4F"/>
                </a:solidFill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2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/>
                    <a:cs typeface=""/>
                  </a:endParaRPr>
                </a:p>
              </p:txBody>
            </p:sp>
            <p:sp>
              <p:nvSpPr>
                <p:cNvPr id="753" name="Freeform 35"/>
                <p:cNvSpPr>
                  <a:spLocks/>
                </p:cNvSpPr>
                <p:nvPr/>
              </p:nvSpPr>
              <p:spPr bwMode="auto">
                <a:xfrm>
                  <a:off x="4625976" y="2478088"/>
                  <a:ext cx="52388" cy="25400"/>
                </a:xfrm>
                <a:custGeom>
                  <a:avLst/>
                  <a:gdLst>
                    <a:gd name="T0" fmla="*/ 43 w 58"/>
                    <a:gd name="T1" fmla="*/ 0 h 29"/>
                    <a:gd name="T2" fmla="*/ 15 w 58"/>
                    <a:gd name="T3" fmla="*/ 0 h 29"/>
                    <a:gd name="T4" fmla="*/ 0 w 58"/>
                    <a:gd name="T5" fmla="*/ 15 h 29"/>
                    <a:gd name="T6" fmla="*/ 15 w 58"/>
                    <a:gd name="T7" fmla="*/ 29 h 29"/>
                    <a:gd name="T8" fmla="*/ 43 w 58"/>
                    <a:gd name="T9" fmla="*/ 29 h 29"/>
                    <a:gd name="T10" fmla="*/ 58 w 58"/>
                    <a:gd name="T11" fmla="*/ 15 h 29"/>
                    <a:gd name="T12" fmla="*/ 43 w 58"/>
                    <a:gd name="T13" fmla="*/ 0 h 2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58" h="29">
                      <a:moveTo>
                        <a:pt x="43" y="0"/>
                      </a:moveTo>
                      <a:cubicBezTo>
                        <a:pt x="15" y="0"/>
                        <a:pt x="15" y="0"/>
                        <a:pt x="15" y="0"/>
                      </a:cubicBezTo>
                      <a:cubicBezTo>
                        <a:pt x="7" y="0"/>
                        <a:pt x="0" y="7"/>
                        <a:pt x="0" y="15"/>
                      </a:cubicBezTo>
                      <a:cubicBezTo>
                        <a:pt x="0" y="23"/>
                        <a:pt x="7" y="29"/>
                        <a:pt x="15" y="29"/>
                      </a:cubicBezTo>
                      <a:cubicBezTo>
                        <a:pt x="43" y="29"/>
                        <a:pt x="43" y="29"/>
                        <a:pt x="43" y="29"/>
                      </a:cubicBezTo>
                      <a:cubicBezTo>
                        <a:pt x="51" y="29"/>
                        <a:pt x="58" y="23"/>
                        <a:pt x="58" y="15"/>
                      </a:cubicBezTo>
                      <a:cubicBezTo>
                        <a:pt x="58" y="7"/>
                        <a:pt x="51" y="0"/>
                        <a:pt x="43" y="0"/>
                      </a:cubicBezTo>
                      <a:close/>
                    </a:path>
                  </a:pathLst>
                </a:custGeom>
                <a:solidFill>
                  <a:srgbClr val="4D4D4F"/>
                </a:solidFill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2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/>
                    <a:cs typeface=""/>
                  </a:endParaRPr>
                </a:p>
              </p:txBody>
            </p:sp>
            <p:sp>
              <p:nvSpPr>
                <p:cNvPr id="754" name="Freeform 38"/>
                <p:cNvSpPr>
                  <a:spLocks/>
                </p:cNvSpPr>
                <p:nvPr/>
              </p:nvSpPr>
              <p:spPr bwMode="auto">
                <a:xfrm>
                  <a:off x="4859338" y="2473325"/>
                  <a:ext cx="52388" cy="30163"/>
                </a:xfrm>
                <a:custGeom>
                  <a:avLst/>
                  <a:gdLst>
                    <a:gd name="T0" fmla="*/ 39 w 58"/>
                    <a:gd name="T1" fmla="*/ 2 h 34"/>
                    <a:gd name="T2" fmla="*/ 14 w 58"/>
                    <a:gd name="T3" fmla="*/ 5 h 34"/>
                    <a:gd name="T4" fmla="*/ 0 w 58"/>
                    <a:gd name="T5" fmla="*/ 20 h 34"/>
                    <a:gd name="T6" fmla="*/ 14 w 58"/>
                    <a:gd name="T7" fmla="*/ 34 h 34"/>
                    <a:gd name="T8" fmla="*/ 14 w 58"/>
                    <a:gd name="T9" fmla="*/ 34 h 34"/>
                    <a:gd name="T10" fmla="*/ 46 w 58"/>
                    <a:gd name="T11" fmla="*/ 30 h 34"/>
                    <a:gd name="T12" fmla="*/ 56 w 58"/>
                    <a:gd name="T13" fmla="*/ 12 h 34"/>
                    <a:gd name="T14" fmla="*/ 39 w 58"/>
                    <a:gd name="T15" fmla="*/ 2 h 3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58" h="34">
                      <a:moveTo>
                        <a:pt x="39" y="2"/>
                      </a:moveTo>
                      <a:cubicBezTo>
                        <a:pt x="31" y="4"/>
                        <a:pt x="22" y="5"/>
                        <a:pt x="14" y="5"/>
                      </a:cubicBezTo>
                      <a:cubicBezTo>
                        <a:pt x="6" y="5"/>
                        <a:pt x="0" y="12"/>
                        <a:pt x="0" y="20"/>
                      </a:cubicBezTo>
                      <a:cubicBezTo>
                        <a:pt x="0" y="28"/>
                        <a:pt x="6" y="34"/>
                        <a:pt x="14" y="34"/>
                      </a:cubicBezTo>
                      <a:cubicBezTo>
                        <a:pt x="14" y="34"/>
                        <a:pt x="14" y="34"/>
                        <a:pt x="14" y="34"/>
                      </a:cubicBezTo>
                      <a:cubicBezTo>
                        <a:pt x="25" y="34"/>
                        <a:pt x="36" y="32"/>
                        <a:pt x="46" y="30"/>
                      </a:cubicBezTo>
                      <a:cubicBezTo>
                        <a:pt x="54" y="28"/>
                        <a:pt x="58" y="20"/>
                        <a:pt x="56" y="12"/>
                      </a:cubicBezTo>
                      <a:cubicBezTo>
                        <a:pt x="55" y="5"/>
                        <a:pt x="47" y="0"/>
                        <a:pt x="39" y="2"/>
                      </a:cubicBezTo>
                      <a:close/>
                    </a:path>
                  </a:pathLst>
                </a:custGeom>
                <a:solidFill>
                  <a:srgbClr val="4D4D4F"/>
                </a:solidFill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2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/>
                    <a:cs typeface=""/>
                  </a:endParaRPr>
                </a:p>
              </p:txBody>
            </p:sp>
          </p:grpSp>
          <p:sp>
            <p:nvSpPr>
              <p:cNvPr id="730" name="Rounded Rectangle 729"/>
              <p:cNvSpPr/>
              <p:nvPr/>
            </p:nvSpPr>
            <p:spPr>
              <a:xfrm>
                <a:off x="5359901" y="2386601"/>
                <a:ext cx="308105" cy="310923"/>
              </a:xfrm>
              <a:prstGeom prst="roundRect">
                <a:avLst/>
              </a:prstGeom>
              <a:solidFill>
                <a:srgbClr val="F79646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"/>
                  <a:cs typeface=""/>
                </a:endParaRPr>
              </a:p>
            </p:txBody>
          </p:sp>
          <p:sp>
            <p:nvSpPr>
              <p:cNvPr id="731" name="Freeform 12"/>
              <p:cNvSpPr>
                <a:spLocks noEditPoints="1"/>
              </p:cNvSpPr>
              <p:nvPr/>
            </p:nvSpPr>
            <p:spPr bwMode="auto">
              <a:xfrm>
                <a:off x="5406483" y="2446478"/>
                <a:ext cx="214941" cy="191168"/>
              </a:xfrm>
              <a:custGeom>
                <a:avLst/>
                <a:gdLst>
                  <a:gd name="T0" fmla="*/ 419 w 494"/>
                  <a:gd name="T1" fmla="*/ 299 h 448"/>
                  <a:gd name="T2" fmla="*/ 403 w 494"/>
                  <a:gd name="T3" fmla="*/ 301 h 448"/>
                  <a:gd name="T4" fmla="*/ 302 w 494"/>
                  <a:gd name="T5" fmla="*/ 126 h 448"/>
                  <a:gd name="T6" fmla="*/ 322 w 494"/>
                  <a:gd name="T7" fmla="*/ 75 h 448"/>
                  <a:gd name="T8" fmla="*/ 247 w 494"/>
                  <a:gd name="T9" fmla="*/ 0 h 448"/>
                  <a:gd name="T10" fmla="*/ 173 w 494"/>
                  <a:gd name="T11" fmla="*/ 75 h 448"/>
                  <a:gd name="T12" fmla="*/ 193 w 494"/>
                  <a:gd name="T13" fmla="*/ 126 h 448"/>
                  <a:gd name="T14" fmla="*/ 91 w 494"/>
                  <a:gd name="T15" fmla="*/ 301 h 448"/>
                  <a:gd name="T16" fmla="*/ 75 w 494"/>
                  <a:gd name="T17" fmla="*/ 299 h 448"/>
                  <a:gd name="T18" fmla="*/ 0 w 494"/>
                  <a:gd name="T19" fmla="*/ 373 h 448"/>
                  <a:gd name="T20" fmla="*/ 75 w 494"/>
                  <a:gd name="T21" fmla="*/ 448 h 448"/>
                  <a:gd name="T22" fmla="*/ 146 w 494"/>
                  <a:gd name="T23" fmla="*/ 395 h 448"/>
                  <a:gd name="T24" fmla="*/ 349 w 494"/>
                  <a:gd name="T25" fmla="*/ 395 h 448"/>
                  <a:gd name="T26" fmla="*/ 419 w 494"/>
                  <a:gd name="T27" fmla="*/ 448 h 448"/>
                  <a:gd name="T28" fmla="*/ 494 w 494"/>
                  <a:gd name="T29" fmla="*/ 373 h 448"/>
                  <a:gd name="T30" fmla="*/ 419 w 494"/>
                  <a:gd name="T31" fmla="*/ 299 h 448"/>
                  <a:gd name="T32" fmla="*/ 349 w 494"/>
                  <a:gd name="T33" fmla="*/ 351 h 448"/>
                  <a:gd name="T34" fmla="*/ 146 w 494"/>
                  <a:gd name="T35" fmla="*/ 351 h 448"/>
                  <a:gd name="T36" fmla="*/ 130 w 494"/>
                  <a:gd name="T37" fmla="*/ 323 h 448"/>
                  <a:gd name="T38" fmla="*/ 231 w 494"/>
                  <a:gd name="T39" fmla="*/ 148 h 448"/>
                  <a:gd name="T40" fmla="*/ 247 w 494"/>
                  <a:gd name="T41" fmla="*/ 150 h 448"/>
                  <a:gd name="T42" fmla="*/ 264 w 494"/>
                  <a:gd name="T43" fmla="*/ 148 h 448"/>
                  <a:gd name="T44" fmla="*/ 365 w 494"/>
                  <a:gd name="T45" fmla="*/ 323 h 448"/>
                  <a:gd name="T46" fmla="*/ 349 w 494"/>
                  <a:gd name="T47" fmla="*/ 351 h 4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494" h="448">
                    <a:moveTo>
                      <a:pt x="419" y="299"/>
                    </a:moveTo>
                    <a:cubicBezTo>
                      <a:pt x="414" y="299"/>
                      <a:pt x="408" y="300"/>
                      <a:pt x="403" y="301"/>
                    </a:cubicBezTo>
                    <a:cubicBezTo>
                      <a:pt x="302" y="126"/>
                      <a:pt x="302" y="126"/>
                      <a:pt x="302" y="126"/>
                    </a:cubicBezTo>
                    <a:cubicBezTo>
                      <a:pt x="314" y="112"/>
                      <a:pt x="322" y="95"/>
                      <a:pt x="322" y="75"/>
                    </a:cubicBezTo>
                    <a:cubicBezTo>
                      <a:pt x="322" y="34"/>
                      <a:pt x="288" y="0"/>
                      <a:pt x="247" y="0"/>
                    </a:cubicBezTo>
                    <a:cubicBezTo>
                      <a:pt x="206" y="0"/>
                      <a:pt x="173" y="34"/>
                      <a:pt x="173" y="75"/>
                    </a:cubicBezTo>
                    <a:cubicBezTo>
                      <a:pt x="173" y="95"/>
                      <a:pt x="180" y="112"/>
                      <a:pt x="193" y="126"/>
                    </a:cubicBezTo>
                    <a:cubicBezTo>
                      <a:pt x="91" y="301"/>
                      <a:pt x="91" y="301"/>
                      <a:pt x="91" y="301"/>
                    </a:cubicBezTo>
                    <a:cubicBezTo>
                      <a:pt x="86" y="300"/>
                      <a:pt x="81" y="299"/>
                      <a:pt x="75" y="299"/>
                    </a:cubicBezTo>
                    <a:cubicBezTo>
                      <a:pt x="34" y="299"/>
                      <a:pt x="0" y="332"/>
                      <a:pt x="0" y="373"/>
                    </a:cubicBezTo>
                    <a:cubicBezTo>
                      <a:pt x="0" y="415"/>
                      <a:pt x="34" y="448"/>
                      <a:pt x="75" y="448"/>
                    </a:cubicBezTo>
                    <a:cubicBezTo>
                      <a:pt x="108" y="448"/>
                      <a:pt x="136" y="426"/>
                      <a:pt x="146" y="395"/>
                    </a:cubicBezTo>
                    <a:cubicBezTo>
                      <a:pt x="349" y="395"/>
                      <a:pt x="349" y="395"/>
                      <a:pt x="349" y="395"/>
                    </a:cubicBezTo>
                    <a:cubicBezTo>
                      <a:pt x="358" y="426"/>
                      <a:pt x="386" y="448"/>
                      <a:pt x="419" y="448"/>
                    </a:cubicBezTo>
                    <a:cubicBezTo>
                      <a:pt x="461" y="448"/>
                      <a:pt x="494" y="415"/>
                      <a:pt x="494" y="373"/>
                    </a:cubicBezTo>
                    <a:cubicBezTo>
                      <a:pt x="494" y="332"/>
                      <a:pt x="461" y="299"/>
                      <a:pt x="419" y="299"/>
                    </a:cubicBezTo>
                    <a:close/>
                    <a:moveTo>
                      <a:pt x="349" y="351"/>
                    </a:moveTo>
                    <a:cubicBezTo>
                      <a:pt x="146" y="351"/>
                      <a:pt x="146" y="351"/>
                      <a:pt x="146" y="351"/>
                    </a:cubicBezTo>
                    <a:cubicBezTo>
                      <a:pt x="142" y="341"/>
                      <a:pt x="137" y="331"/>
                      <a:pt x="130" y="323"/>
                    </a:cubicBezTo>
                    <a:cubicBezTo>
                      <a:pt x="231" y="148"/>
                      <a:pt x="231" y="148"/>
                      <a:pt x="231" y="148"/>
                    </a:cubicBezTo>
                    <a:cubicBezTo>
                      <a:pt x="236" y="149"/>
                      <a:pt x="242" y="150"/>
                      <a:pt x="247" y="150"/>
                    </a:cubicBezTo>
                    <a:cubicBezTo>
                      <a:pt x="253" y="150"/>
                      <a:pt x="258" y="149"/>
                      <a:pt x="264" y="148"/>
                    </a:cubicBezTo>
                    <a:cubicBezTo>
                      <a:pt x="365" y="323"/>
                      <a:pt x="365" y="323"/>
                      <a:pt x="365" y="323"/>
                    </a:cubicBezTo>
                    <a:cubicBezTo>
                      <a:pt x="358" y="331"/>
                      <a:pt x="352" y="341"/>
                      <a:pt x="349" y="351"/>
                    </a:cubicBezTo>
                    <a:close/>
                  </a:path>
                </a:pathLst>
              </a:custGeom>
              <a:solidFill>
                <a:sysClr val="window" lastClr="FFFFFF"/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cs typeface=""/>
                </a:endParaRPr>
              </a:p>
            </p:txBody>
          </p:sp>
        </p:grpSp>
        <p:grpSp>
          <p:nvGrpSpPr>
            <p:cNvPr id="701" name="Group 700"/>
            <p:cNvGrpSpPr/>
            <p:nvPr/>
          </p:nvGrpSpPr>
          <p:grpSpPr>
            <a:xfrm>
              <a:off x="4389802" y="3307804"/>
              <a:ext cx="323368" cy="283709"/>
              <a:chOff x="5310724" y="2352924"/>
              <a:chExt cx="398754" cy="374816"/>
            </a:xfrm>
          </p:grpSpPr>
          <p:grpSp>
            <p:nvGrpSpPr>
              <p:cNvPr id="703" name="Group 702"/>
              <p:cNvGrpSpPr/>
              <p:nvPr/>
            </p:nvGrpSpPr>
            <p:grpSpPr>
              <a:xfrm rot="5400000">
                <a:off x="5322693" y="2340955"/>
                <a:ext cx="374816" cy="398754"/>
                <a:chOff x="4471988" y="1985963"/>
                <a:chExt cx="527051" cy="517525"/>
              </a:xfrm>
            </p:grpSpPr>
            <p:sp>
              <p:nvSpPr>
                <p:cNvPr id="706" name="Freeform 705"/>
                <p:cNvSpPr>
                  <a:spLocks/>
                </p:cNvSpPr>
                <p:nvPr/>
              </p:nvSpPr>
              <p:spPr bwMode="auto">
                <a:xfrm>
                  <a:off x="4471988" y="2117725"/>
                  <a:ext cx="25400" cy="50800"/>
                </a:xfrm>
                <a:custGeom>
                  <a:avLst/>
                  <a:gdLst>
                    <a:gd name="T0" fmla="*/ 14 w 29"/>
                    <a:gd name="T1" fmla="*/ 57 h 57"/>
                    <a:gd name="T2" fmla="*/ 29 w 29"/>
                    <a:gd name="T3" fmla="*/ 43 h 57"/>
                    <a:gd name="T4" fmla="*/ 29 w 29"/>
                    <a:gd name="T5" fmla="*/ 14 h 57"/>
                    <a:gd name="T6" fmla="*/ 14 w 29"/>
                    <a:gd name="T7" fmla="*/ 0 h 57"/>
                    <a:gd name="T8" fmla="*/ 0 w 29"/>
                    <a:gd name="T9" fmla="*/ 14 h 57"/>
                    <a:gd name="T10" fmla="*/ 0 w 29"/>
                    <a:gd name="T11" fmla="*/ 43 h 57"/>
                    <a:gd name="T12" fmla="*/ 14 w 29"/>
                    <a:gd name="T13" fmla="*/ 57 h 5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9" h="57">
                      <a:moveTo>
                        <a:pt x="14" y="57"/>
                      </a:moveTo>
                      <a:cubicBezTo>
                        <a:pt x="22" y="57"/>
                        <a:pt x="29" y="51"/>
                        <a:pt x="29" y="43"/>
                      </a:cubicBezTo>
                      <a:cubicBezTo>
                        <a:pt x="29" y="14"/>
                        <a:pt x="29" y="14"/>
                        <a:pt x="29" y="14"/>
                      </a:cubicBezTo>
                      <a:cubicBezTo>
                        <a:pt x="29" y="6"/>
                        <a:pt x="22" y="0"/>
                        <a:pt x="14" y="0"/>
                      </a:cubicBezTo>
                      <a:cubicBezTo>
                        <a:pt x="7" y="0"/>
                        <a:pt x="0" y="6"/>
                        <a:pt x="0" y="14"/>
                      </a:cubicBezTo>
                      <a:cubicBezTo>
                        <a:pt x="0" y="43"/>
                        <a:pt x="0" y="43"/>
                        <a:pt x="0" y="43"/>
                      </a:cubicBezTo>
                      <a:cubicBezTo>
                        <a:pt x="0" y="51"/>
                        <a:pt x="7" y="57"/>
                        <a:pt x="14" y="57"/>
                      </a:cubicBezTo>
                      <a:close/>
                    </a:path>
                  </a:pathLst>
                </a:custGeom>
                <a:solidFill>
                  <a:srgbClr val="4D4D4F"/>
                </a:solidFill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2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/>
                    <a:cs typeface=""/>
                  </a:endParaRPr>
                </a:p>
              </p:txBody>
            </p:sp>
            <p:sp>
              <p:nvSpPr>
                <p:cNvPr id="707" name="Freeform 706"/>
                <p:cNvSpPr>
                  <a:spLocks/>
                </p:cNvSpPr>
                <p:nvPr/>
              </p:nvSpPr>
              <p:spPr bwMode="auto">
                <a:xfrm>
                  <a:off x="4471988" y="2271713"/>
                  <a:ext cx="25400" cy="52388"/>
                </a:xfrm>
                <a:custGeom>
                  <a:avLst/>
                  <a:gdLst>
                    <a:gd name="T0" fmla="*/ 14 w 29"/>
                    <a:gd name="T1" fmla="*/ 58 h 58"/>
                    <a:gd name="T2" fmla="*/ 29 w 29"/>
                    <a:gd name="T3" fmla="*/ 43 h 58"/>
                    <a:gd name="T4" fmla="*/ 29 w 29"/>
                    <a:gd name="T5" fmla="*/ 15 h 58"/>
                    <a:gd name="T6" fmla="*/ 14 w 29"/>
                    <a:gd name="T7" fmla="*/ 0 h 58"/>
                    <a:gd name="T8" fmla="*/ 0 w 29"/>
                    <a:gd name="T9" fmla="*/ 15 h 58"/>
                    <a:gd name="T10" fmla="*/ 0 w 29"/>
                    <a:gd name="T11" fmla="*/ 43 h 58"/>
                    <a:gd name="T12" fmla="*/ 14 w 29"/>
                    <a:gd name="T13" fmla="*/ 58 h 5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9" h="58">
                      <a:moveTo>
                        <a:pt x="14" y="58"/>
                      </a:moveTo>
                      <a:cubicBezTo>
                        <a:pt x="22" y="58"/>
                        <a:pt x="29" y="51"/>
                        <a:pt x="29" y="43"/>
                      </a:cubicBezTo>
                      <a:cubicBezTo>
                        <a:pt x="29" y="15"/>
                        <a:pt x="29" y="15"/>
                        <a:pt x="29" y="15"/>
                      </a:cubicBezTo>
                      <a:cubicBezTo>
                        <a:pt x="29" y="7"/>
                        <a:pt x="22" y="0"/>
                        <a:pt x="14" y="0"/>
                      </a:cubicBezTo>
                      <a:cubicBezTo>
                        <a:pt x="7" y="0"/>
                        <a:pt x="0" y="7"/>
                        <a:pt x="0" y="15"/>
                      </a:cubicBezTo>
                      <a:cubicBezTo>
                        <a:pt x="0" y="43"/>
                        <a:pt x="0" y="43"/>
                        <a:pt x="0" y="43"/>
                      </a:cubicBezTo>
                      <a:cubicBezTo>
                        <a:pt x="0" y="51"/>
                        <a:pt x="7" y="58"/>
                        <a:pt x="14" y="58"/>
                      </a:cubicBezTo>
                      <a:close/>
                    </a:path>
                  </a:pathLst>
                </a:custGeom>
                <a:solidFill>
                  <a:srgbClr val="4D4D4F"/>
                </a:solidFill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2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/>
                    <a:cs typeface=""/>
                  </a:endParaRPr>
                </a:p>
              </p:txBody>
            </p:sp>
            <p:sp>
              <p:nvSpPr>
                <p:cNvPr id="708" name="Freeform 707"/>
                <p:cNvSpPr>
                  <a:spLocks/>
                </p:cNvSpPr>
                <p:nvPr/>
              </p:nvSpPr>
              <p:spPr bwMode="auto">
                <a:xfrm>
                  <a:off x="4487863" y="2422525"/>
                  <a:ext cx="44450" cy="47625"/>
                </a:xfrm>
                <a:custGeom>
                  <a:avLst/>
                  <a:gdLst>
                    <a:gd name="T0" fmla="*/ 29 w 50"/>
                    <a:gd name="T1" fmla="*/ 8 h 53"/>
                    <a:gd name="T2" fmla="*/ 9 w 50"/>
                    <a:gd name="T3" fmla="*/ 4 h 53"/>
                    <a:gd name="T4" fmla="*/ 4 w 50"/>
                    <a:gd name="T5" fmla="*/ 24 h 53"/>
                    <a:gd name="T6" fmla="*/ 24 w 50"/>
                    <a:gd name="T7" fmla="*/ 49 h 53"/>
                    <a:gd name="T8" fmla="*/ 34 w 50"/>
                    <a:gd name="T9" fmla="*/ 53 h 53"/>
                    <a:gd name="T10" fmla="*/ 45 w 50"/>
                    <a:gd name="T11" fmla="*/ 49 h 53"/>
                    <a:gd name="T12" fmla="*/ 45 w 50"/>
                    <a:gd name="T13" fmla="*/ 28 h 53"/>
                    <a:gd name="T14" fmla="*/ 29 w 50"/>
                    <a:gd name="T15" fmla="*/ 8 h 5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50" h="53">
                      <a:moveTo>
                        <a:pt x="29" y="8"/>
                      </a:moveTo>
                      <a:cubicBezTo>
                        <a:pt x="24" y="2"/>
                        <a:pt x="15" y="0"/>
                        <a:pt x="9" y="4"/>
                      </a:cubicBezTo>
                      <a:cubicBezTo>
                        <a:pt x="2" y="8"/>
                        <a:pt x="0" y="17"/>
                        <a:pt x="4" y="24"/>
                      </a:cubicBezTo>
                      <a:cubicBezTo>
                        <a:pt x="10" y="33"/>
                        <a:pt x="17" y="41"/>
                        <a:pt x="24" y="49"/>
                      </a:cubicBezTo>
                      <a:cubicBezTo>
                        <a:pt x="27" y="51"/>
                        <a:pt x="31" y="53"/>
                        <a:pt x="34" y="53"/>
                      </a:cubicBezTo>
                      <a:cubicBezTo>
                        <a:pt x="38" y="53"/>
                        <a:pt x="42" y="51"/>
                        <a:pt x="45" y="49"/>
                      </a:cubicBezTo>
                      <a:cubicBezTo>
                        <a:pt x="50" y="43"/>
                        <a:pt x="50" y="34"/>
                        <a:pt x="45" y="28"/>
                      </a:cubicBezTo>
                      <a:cubicBezTo>
                        <a:pt x="39" y="22"/>
                        <a:pt x="33" y="15"/>
                        <a:pt x="29" y="8"/>
                      </a:cubicBezTo>
                      <a:close/>
                    </a:path>
                  </a:pathLst>
                </a:custGeom>
                <a:solidFill>
                  <a:srgbClr val="4D4D4F"/>
                </a:solidFill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2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/>
                    <a:cs typeface=""/>
                  </a:endParaRPr>
                </a:p>
              </p:txBody>
            </p:sp>
            <p:sp>
              <p:nvSpPr>
                <p:cNvPr id="709" name="Freeform 708"/>
                <p:cNvSpPr>
                  <a:spLocks/>
                </p:cNvSpPr>
                <p:nvPr/>
              </p:nvSpPr>
              <p:spPr bwMode="auto">
                <a:xfrm>
                  <a:off x="4471988" y="2193925"/>
                  <a:ext cx="25400" cy="52388"/>
                </a:xfrm>
                <a:custGeom>
                  <a:avLst/>
                  <a:gdLst>
                    <a:gd name="T0" fmla="*/ 14 w 29"/>
                    <a:gd name="T1" fmla="*/ 58 h 58"/>
                    <a:gd name="T2" fmla="*/ 29 w 29"/>
                    <a:gd name="T3" fmla="*/ 43 h 58"/>
                    <a:gd name="T4" fmla="*/ 29 w 29"/>
                    <a:gd name="T5" fmla="*/ 14 h 58"/>
                    <a:gd name="T6" fmla="*/ 14 w 29"/>
                    <a:gd name="T7" fmla="*/ 0 h 58"/>
                    <a:gd name="T8" fmla="*/ 0 w 29"/>
                    <a:gd name="T9" fmla="*/ 14 h 58"/>
                    <a:gd name="T10" fmla="*/ 0 w 29"/>
                    <a:gd name="T11" fmla="*/ 43 h 58"/>
                    <a:gd name="T12" fmla="*/ 14 w 29"/>
                    <a:gd name="T13" fmla="*/ 58 h 5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9" h="58">
                      <a:moveTo>
                        <a:pt x="14" y="58"/>
                      </a:moveTo>
                      <a:cubicBezTo>
                        <a:pt x="22" y="58"/>
                        <a:pt x="29" y="51"/>
                        <a:pt x="29" y="43"/>
                      </a:cubicBezTo>
                      <a:cubicBezTo>
                        <a:pt x="29" y="14"/>
                        <a:pt x="29" y="14"/>
                        <a:pt x="29" y="14"/>
                      </a:cubicBezTo>
                      <a:cubicBezTo>
                        <a:pt x="29" y="6"/>
                        <a:pt x="22" y="0"/>
                        <a:pt x="14" y="0"/>
                      </a:cubicBezTo>
                      <a:cubicBezTo>
                        <a:pt x="7" y="0"/>
                        <a:pt x="0" y="6"/>
                        <a:pt x="0" y="14"/>
                      </a:cubicBezTo>
                      <a:cubicBezTo>
                        <a:pt x="0" y="43"/>
                        <a:pt x="0" y="43"/>
                        <a:pt x="0" y="43"/>
                      </a:cubicBezTo>
                      <a:cubicBezTo>
                        <a:pt x="0" y="51"/>
                        <a:pt x="7" y="58"/>
                        <a:pt x="14" y="58"/>
                      </a:cubicBezTo>
                      <a:close/>
                    </a:path>
                  </a:pathLst>
                </a:custGeom>
                <a:solidFill>
                  <a:srgbClr val="4D4D4F"/>
                </a:solidFill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2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/>
                    <a:cs typeface=""/>
                  </a:endParaRPr>
                </a:p>
              </p:txBody>
            </p:sp>
            <p:sp>
              <p:nvSpPr>
                <p:cNvPr id="710" name="Freeform 709"/>
                <p:cNvSpPr>
                  <a:spLocks/>
                </p:cNvSpPr>
                <p:nvPr/>
              </p:nvSpPr>
              <p:spPr bwMode="auto">
                <a:xfrm>
                  <a:off x="4830763" y="1985963"/>
                  <a:ext cx="50800" cy="26988"/>
                </a:xfrm>
                <a:custGeom>
                  <a:avLst/>
                  <a:gdLst>
                    <a:gd name="T0" fmla="*/ 15 w 57"/>
                    <a:gd name="T1" fmla="*/ 29 h 29"/>
                    <a:gd name="T2" fmla="*/ 44 w 57"/>
                    <a:gd name="T3" fmla="*/ 29 h 29"/>
                    <a:gd name="T4" fmla="*/ 57 w 57"/>
                    <a:gd name="T5" fmla="*/ 15 h 29"/>
                    <a:gd name="T6" fmla="*/ 43 w 57"/>
                    <a:gd name="T7" fmla="*/ 0 h 29"/>
                    <a:gd name="T8" fmla="*/ 15 w 57"/>
                    <a:gd name="T9" fmla="*/ 0 h 29"/>
                    <a:gd name="T10" fmla="*/ 0 w 57"/>
                    <a:gd name="T11" fmla="*/ 15 h 29"/>
                    <a:gd name="T12" fmla="*/ 15 w 57"/>
                    <a:gd name="T13" fmla="*/ 29 h 2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57" h="29">
                      <a:moveTo>
                        <a:pt x="15" y="29"/>
                      </a:moveTo>
                      <a:cubicBezTo>
                        <a:pt x="44" y="29"/>
                        <a:pt x="44" y="29"/>
                        <a:pt x="44" y="29"/>
                      </a:cubicBezTo>
                      <a:cubicBezTo>
                        <a:pt x="51" y="29"/>
                        <a:pt x="57" y="23"/>
                        <a:pt x="57" y="15"/>
                      </a:cubicBezTo>
                      <a:cubicBezTo>
                        <a:pt x="57" y="7"/>
                        <a:pt x="50" y="0"/>
                        <a:pt x="43" y="0"/>
                      </a:cubicBezTo>
                      <a:cubicBezTo>
                        <a:pt x="15" y="0"/>
                        <a:pt x="15" y="0"/>
                        <a:pt x="15" y="0"/>
                      </a:cubicBezTo>
                      <a:cubicBezTo>
                        <a:pt x="7" y="0"/>
                        <a:pt x="0" y="7"/>
                        <a:pt x="0" y="15"/>
                      </a:cubicBezTo>
                      <a:cubicBezTo>
                        <a:pt x="0" y="23"/>
                        <a:pt x="7" y="29"/>
                        <a:pt x="15" y="29"/>
                      </a:cubicBezTo>
                      <a:close/>
                    </a:path>
                  </a:pathLst>
                </a:custGeom>
                <a:solidFill>
                  <a:srgbClr val="4D4D4F"/>
                </a:solidFill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2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/>
                    <a:cs typeface=""/>
                  </a:endParaRPr>
                </a:p>
              </p:txBody>
            </p:sp>
            <p:sp>
              <p:nvSpPr>
                <p:cNvPr id="711" name="Freeform 710"/>
                <p:cNvSpPr>
                  <a:spLocks/>
                </p:cNvSpPr>
                <p:nvPr/>
              </p:nvSpPr>
              <p:spPr bwMode="auto">
                <a:xfrm>
                  <a:off x="4905376" y="1997075"/>
                  <a:ext cx="50800" cy="41275"/>
                </a:xfrm>
                <a:custGeom>
                  <a:avLst/>
                  <a:gdLst>
                    <a:gd name="T0" fmla="*/ 10 w 56"/>
                    <a:gd name="T1" fmla="*/ 30 h 47"/>
                    <a:gd name="T2" fmla="*/ 31 w 56"/>
                    <a:gd name="T3" fmla="*/ 43 h 47"/>
                    <a:gd name="T4" fmla="*/ 40 w 56"/>
                    <a:gd name="T5" fmla="*/ 47 h 47"/>
                    <a:gd name="T6" fmla="*/ 51 w 56"/>
                    <a:gd name="T7" fmla="*/ 41 h 47"/>
                    <a:gd name="T8" fmla="*/ 49 w 56"/>
                    <a:gd name="T9" fmla="*/ 21 h 47"/>
                    <a:gd name="T10" fmla="*/ 22 w 56"/>
                    <a:gd name="T11" fmla="*/ 4 h 47"/>
                    <a:gd name="T12" fmla="*/ 3 w 56"/>
                    <a:gd name="T13" fmla="*/ 11 h 47"/>
                    <a:gd name="T14" fmla="*/ 10 w 56"/>
                    <a:gd name="T15" fmla="*/ 30 h 4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56" h="47">
                      <a:moveTo>
                        <a:pt x="10" y="30"/>
                      </a:moveTo>
                      <a:cubicBezTo>
                        <a:pt x="17" y="33"/>
                        <a:pt x="25" y="38"/>
                        <a:pt x="31" y="43"/>
                      </a:cubicBezTo>
                      <a:cubicBezTo>
                        <a:pt x="34" y="46"/>
                        <a:pt x="37" y="47"/>
                        <a:pt x="40" y="47"/>
                      </a:cubicBezTo>
                      <a:cubicBezTo>
                        <a:pt x="44" y="47"/>
                        <a:pt x="49" y="45"/>
                        <a:pt x="51" y="41"/>
                      </a:cubicBezTo>
                      <a:cubicBezTo>
                        <a:pt x="56" y="35"/>
                        <a:pt x="55" y="26"/>
                        <a:pt x="49" y="21"/>
                      </a:cubicBezTo>
                      <a:cubicBezTo>
                        <a:pt x="41" y="14"/>
                        <a:pt x="32" y="9"/>
                        <a:pt x="22" y="4"/>
                      </a:cubicBezTo>
                      <a:cubicBezTo>
                        <a:pt x="15" y="0"/>
                        <a:pt x="7" y="3"/>
                        <a:pt x="3" y="11"/>
                      </a:cubicBezTo>
                      <a:cubicBezTo>
                        <a:pt x="0" y="18"/>
                        <a:pt x="3" y="26"/>
                        <a:pt x="10" y="30"/>
                      </a:cubicBezTo>
                      <a:close/>
                    </a:path>
                  </a:pathLst>
                </a:custGeom>
                <a:solidFill>
                  <a:srgbClr val="4D4D4F"/>
                </a:solidFill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2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/>
                    <a:cs typeface=""/>
                  </a:endParaRPr>
                </a:p>
              </p:txBody>
            </p:sp>
            <p:sp>
              <p:nvSpPr>
                <p:cNvPr id="712" name="Freeform 711"/>
                <p:cNvSpPr>
                  <a:spLocks/>
                </p:cNvSpPr>
                <p:nvPr/>
              </p:nvSpPr>
              <p:spPr bwMode="auto">
                <a:xfrm>
                  <a:off x="4476751" y="2039938"/>
                  <a:ext cx="39688" cy="52388"/>
                </a:xfrm>
                <a:custGeom>
                  <a:avLst/>
                  <a:gdLst>
                    <a:gd name="T0" fmla="*/ 12 w 45"/>
                    <a:gd name="T1" fmla="*/ 56 h 57"/>
                    <a:gd name="T2" fmla="*/ 16 w 45"/>
                    <a:gd name="T3" fmla="*/ 57 h 57"/>
                    <a:gd name="T4" fmla="*/ 30 w 45"/>
                    <a:gd name="T5" fmla="*/ 47 h 57"/>
                    <a:gd name="T6" fmla="*/ 41 w 45"/>
                    <a:gd name="T7" fmla="*/ 24 h 57"/>
                    <a:gd name="T8" fmla="*/ 36 w 45"/>
                    <a:gd name="T9" fmla="*/ 4 h 57"/>
                    <a:gd name="T10" fmla="*/ 16 w 45"/>
                    <a:gd name="T11" fmla="*/ 9 h 57"/>
                    <a:gd name="T12" fmla="*/ 3 w 45"/>
                    <a:gd name="T13" fmla="*/ 38 h 57"/>
                    <a:gd name="T14" fmla="*/ 12 w 45"/>
                    <a:gd name="T15" fmla="*/ 56 h 5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45" h="57">
                      <a:moveTo>
                        <a:pt x="12" y="56"/>
                      </a:moveTo>
                      <a:cubicBezTo>
                        <a:pt x="13" y="57"/>
                        <a:pt x="15" y="57"/>
                        <a:pt x="16" y="57"/>
                      </a:cubicBezTo>
                      <a:cubicBezTo>
                        <a:pt x="22" y="57"/>
                        <a:pt x="28" y="53"/>
                        <a:pt x="30" y="47"/>
                      </a:cubicBezTo>
                      <a:cubicBezTo>
                        <a:pt x="33" y="39"/>
                        <a:pt x="36" y="32"/>
                        <a:pt x="41" y="24"/>
                      </a:cubicBezTo>
                      <a:cubicBezTo>
                        <a:pt x="45" y="17"/>
                        <a:pt x="43" y="9"/>
                        <a:pt x="36" y="4"/>
                      </a:cubicBezTo>
                      <a:cubicBezTo>
                        <a:pt x="29" y="0"/>
                        <a:pt x="21" y="2"/>
                        <a:pt x="16" y="9"/>
                      </a:cubicBezTo>
                      <a:cubicBezTo>
                        <a:pt x="11" y="18"/>
                        <a:pt x="6" y="28"/>
                        <a:pt x="3" y="38"/>
                      </a:cubicBezTo>
                      <a:cubicBezTo>
                        <a:pt x="0" y="45"/>
                        <a:pt x="4" y="54"/>
                        <a:pt x="12" y="56"/>
                      </a:cubicBezTo>
                      <a:close/>
                    </a:path>
                  </a:pathLst>
                </a:custGeom>
                <a:solidFill>
                  <a:srgbClr val="4D4D4F"/>
                </a:solidFill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2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/>
                    <a:cs typeface=""/>
                  </a:endParaRPr>
                </a:p>
              </p:txBody>
            </p:sp>
            <p:sp>
              <p:nvSpPr>
                <p:cNvPr id="713" name="Freeform 712"/>
                <p:cNvSpPr>
                  <a:spLocks/>
                </p:cNvSpPr>
                <p:nvPr/>
              </p:nvSpPr>
              <p:spPr bwMode="auto">
                <a:xfrm>
                  <a:off x="4522788" y="1992313"/>
                  <a:ext cx="52388" cy="39688"/>
                </a:xfrm>
                <a:custGeom>
                  <a:avLst/>
                  <a:gdLst>
                    <a:gd name="T0" fmla="*/ 55 w 58"/>
                    <a:gd name="T1" fmla="*/ 11 h 43"/>
                    <a:gd name="T2" fmla="*/ 37 w 58"/>
                    <a:gd name="T3" fmla="*/ 2 h 43"/>
                    <a:gd name="T4" fmla="*/ 9 w 58"/>
                    <a:gd name="T5" fmla="*/ 17 h 43"/>
                    <a:gd name="T6" fmla="*/ 4 w 58"/>
                    <a:gd name="T7" fmla="*/ 37 h 43"/>
                    <a:gd name="T8" fmla="*/ 16 w 58"/>
                    <a:gd name="T9" fmla="*/ 43 h 43"/>
                    <a:gd name="T10" fmla="*/ 24 w 58"/>
                    <a:gd name="T11" fmla="*/ 41 h 43"/>
                    <a:gd name="T12" fmla="*/ 47 w 58"/>
                    <a:gd name="T13" fmla="*/ 29 h 43"/>
                    <a:gd name="T14" fmla="*/ 55 w 58"/>
                    <a:gd name="T15" fmla="*/ 11 h 4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58" h="43">
                      <a:moveTo>
                        <a:pt x="55" y="11"/>
                      </a:moveTo>
                      <a:cubicBezTo>
                        <a:pt x="53" y="3"/>
                        <a:pt x="44" y="0"/>
                        <a:pt x="37" y="2"/>
                      </a:cubicBezTo>
                      <a:cubicBezTo>
                        <a:pt x="27" y="6"/>
                        <a:pt x="17" y="11"/>
                        <a:pt x="9" y="17"/>
                      </a:cubicBezTo>
                      <a:cubicBezTo>
                        <a:pt x="2" y="21"/>
                        <a:pt x="0" y="30"/>
                        <a:pt x="4" y="37"/>
                      </a:cubicBezTo>
                      <a:cubicBezTo>
                        <a:pt x="7" y="41"/>
                        <a:pt x="12" y="43"/>
                        <a:pt x="16" y="43"/>
                      </a:cubicBezTo>
                      <a:cubicBezTo>
                        <a:pt x="19" y="43"/>
                        <a:pt x="22" y="43"/>
                        <a:pt x="24" y="41"/>
                      </a:cubicBezTo>
                      <a:cubicBezTo>
                        <a:pt x="31" y="36"/>
                        <a:pt x="39" y="32"/>
                        <a:pt x="47" y="29"/>
                      </a:cubicBezTo>
                      <a:cubicBezTo>
                        <a:pt x="54" y="27"/>
                        <a:pt x="58" y="18"/>
                        <a:pt x="55" y="11"/>
                      </a:cubicBezTo>
                      <a:close/>
                    </a:path>
                  </a:pathLst>
                </a:custGeom>
                <a:solidFill>
                  <a:srgbClr val="4D4D4F"/>
                </a:solidFill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2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/>
                    <a:cs typeface=""/>
                  </a:endParaRPr>
                </a:p>
              </p:txBody>
            </p:sp>
            <p:sp>
              <p:nvSpPr>
                <p:cNvPr id="714" name="Freeform 713"/>
                <p:cNvSpPr>
                  <a:spLocks/>
                </p:cNvSpPr>
                <p:nvPr/>
              </p:nvSpPr>
              <p:spPr bwMode="auto">
                <a:xfrm>
                  <a:off x="4959351" y="2051050"/>
                  <a:ext cx="36513" cy="52388"/>
                </a:xfrm>
                <a:custGeom>
                  <a:avLst/>
                  <a:gdLst>
                    <a:gd name="T0" fmla="*/ 13 w 42"/>
                    <a:gd name="T1" fmla="*/ 47 h 58"/>
                    <a:gd name="T2" fmla="*/ 27 w 42"/>
                    <a:gd name="T3" fmla="*/ 58 h 58"/>
                    <a:gd name="T4" fmla="*/ 30 w 42"/>
                    <a:gd name="T5" fmla="*/ 57 h 58"/>
                    <a:gd name="T6" fmla="*/ 41 w 42"/>
                    <a:gd name="T7" fmla="*/ 40 h 58"/>
                    <a:gd name="T8" fmla="*/ 30 w 42"/>
                    <a:gd name="T9" fmla="*/ 10 h 58"/>
                    <a:gd name="T10" fmla="*/ 11 w 42"/>
                    <a:gd name="T11" fmla="*/ 4 h 58"/>
                    <a:gd name="T12" fmla="*/ 4 w 42"/>
                    <a:gd name="T13" fmla="*/ 23 h 58"/>
                    <a:gd name="T14" fmla="*/ 13 w 42"/>
                    <a:gd name="T15" fmla="*/ 47 h 5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42" h="58">
                      <a:moveTo>
                        <a:pt x="13" y="47"/>
                      </a:moveTo>
                      <a:cubicBezTo>
                        <a:pt x="14" y="53"/>
                        <a:pt x="20" y="58"/>
                        <a:pt x="27" y="58"/>
                      </a:cubicBezTo>
                      <a:cubicBezTo>
                        <a:pt x="28" y="58"/>
                        <a:pt x="29" y="58"/>
                        <a:pt x="30" y="57"/>
                      </a:cubicBezTo>
                      <a:cubicBezTo>
                        <a:pt x="38" y="56"/>
                        <a:pt x="42" y="48"/>
                        <a:pt x="41" y="40"/>
                      </a:cubicBezTo>
                      <a:cubicBezTo>
                        <a:pt x="38" y="30"/>
                        <a:pt x="35" y="20"/>
                        <a:pt x="30" y="10"/>
                      </a:cubicBezTo>
                      <a:cubicBezTo>
                        <a:pt x="26" y="3"/>
                        <a:pt x="18" y="0"/>
                        <a:pt x="11" y="4"/>
                      </a:cubicBezTo>
                      <a:cubicBezTo>
                        <a:pt x="3" y="7"/>
                        <a:pt x="0" y="16"/>
                        <a:pt x="4" y="23"/>
                      </a:cubicBezTo>
                      <a:cubicBezTo>
                        <a:pt x="8" y="31"/>
                        <a:pt x="11" y="39"/>
                        <a:pt x="13" y="47"/>
                      </a:cubicBezTo>
                      <a:close/>
                    </a:path>
                  </a:pathLst>
                </a:custGeom>
                <a:solidFill>
                  <a:srgbClr val="4D4D4F"/>
                </a:solidFill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2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/>
                    <a:cs typeface=""/>
                  </a:endParaRPr>
                </a:p>
              </p:txBody>
            </p:sp>
            <p:sp>
              <p:nvSpPr>
                <p:cNvPr id="715" name="Freeform 714"/>
                <p:cNvSpPr>
                  <a:spLocks/>
                </p:cNvSpPr>
                <p:nvPr/>
              </p:nvSpPr>
              <p:spPr bwMode="auto">
                <a:xfrm>
                  <a:off x="4598988" y="1985963"/>
                  <a:ext cx="52388" cy="26988"/>
                </a:xfrm>
                <a:custGeom>
                  <a:avLst/>
                  <a:gdLst>
                    <a:gd name="T0" fmla="*/ 14 w 58"/>
                    <a:gd name="T1" fmla="*/ 29 h 29"/>
                    <a:gd name="T2" fmla="*/ 43 w 58"/>
                    <a:gd name="T3" fmla="*/ 29 h 29"/>
                    <a:gd name="T4" fmla="*/ 58 w 58"/>
                    <a:gd name="T5" fmla="*/ 15 h 29"/>
                    <a:gd name="T6" fmla="*/ 43 w 58"/>
                    <a:gd name="T7" fmla="*/ 0 h 29"/>
                    <a:gd name="T8" fmla="*/ 14 w 58"/>
                    <a:gd name="T9" fmla="*/ 0 h 29"/>
                    <a:gd name="T10" fmla="*/ 0 w 58"/>
                    <a:gd name="T11" fmla="*/ 15 h 29"/>
                    <a:gd name="T12" fmla="*/ 14 w 58"/>
                    <a:gd name="T13" fmla="*/ 29 h 2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58" h="29">
                      <a:moveTo>
                        <a:pt x="14" y="29"/>
                      </a:moveTo>
                      <a:cubicBezTo>
                        <a:pt x="43" y="29"/>
                        <a:pt x="43" y="29"/>
                        <a:pt x="43" y="29"/>
                      </a:cubicBezTo>
                      <a:cubicBezTo>
                        <a:pt x="51" y="29"/>
                        <a:pt x="58" y="23"/>
                        <a:pt x="58" y="15"/>
                      </a:cubicBezTo>
                      <a:cubicBezTo>
                        <a:pt x="58" y="7"/>
                        <a:pt x="51" y="0"/>
                        <a:pt x="43" y="0"/>
                      </a:cubicBezTo>
                      <a:cubicBezTo>
                        <a:pt x="14" y="0"/>
                        <a:pt x="14" y="0"/>
                        <a:pt x="14" y="0"/>
                      </a:cubicBezTo>
                      <a:cubicBezTo>
                        <a:pt x="6" y="0"/>
                        <a:pt x="0" y="7"/>
                        <a:pt x="0" y="15"/>
                      </a:cubicBezTo>
                      <a:cubicBezTo>
                        <a:pt x="0" y="23"/>
                        <a:pt x="6" y="29"/>
                        <a:pt x="14" y="29"/>
                      </a:cubicBezTo>
                      <a:close/>
                    </a:path>
                  </a:pathLst>
                </a:custGeom>
                <a:solidFill>
                  <a:srgbClr val="4D4D4F"/>
                </a:solidFill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2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/>
                    <a:cs typeface=""/>
                  </a:endParaRPr>
                </a:p>
              </p:txBody>
            </p:sp>
            <p:sp>
              <p:nvSpPr>
                <p:cNvPr id="716" name="Freeform 715"/>
                <p:cNvSpPr>
                  <a:spLocks/>
                </p:cNvSpPr>
                <p:nvPr/>
              </p:nvSpPr>
              <p:spPr bwMode="auto">
                <a:xfrm>
                  <a:off x="4676776" y="1985963"/>
                  <a:ext cx="50800" cy="26988"/>
                </a:xfrm>
                <a:custGeom>
                  <a:avLst/>
                  <a:gdLst>
                    <a:gd name="T0" fmla="*/ 15 w 58"/>
                    <a:gd name="T1" fmla="*/ 29 h 29"/>
                    <a:gd name="T2" fmla="*/ 43 w 58"/>
                    <a:gd name="T3" fmla="*/ 29 h 29"/>
                    <a:gd name="T4" fmla="*/ 58 w 58"/>
                    <a:gd name="T5" fmla="*/ 15 h 29"/>
                    <a:gd name="T6" fmla="*/ 43 w 58"/>
                    <a:gd name="T7" fmla="*/ 0 h 29"/>
                    <a:gd name="T8" fmla="*/ 15 w 58"/>
                    <a:gd name="T9" fmla="*/ 0 h 29"/>
                    <a:gd name="T10" fmla="*/ 0 w 58"/>
                    <a:gd name="T11" fmla="*/ 15 h 29"/>
                    <a:gd name="T12" fmla="*/ 15 w 58"/>
                    <a:gd name="T13" fmla="*/ 29 h 2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58" h="29">
                      <a:moveTo>
                        <a:pt x="15" y="29"/>
                      </a:moveTo>
                      <a:cubicBezTo>
                        <a:pt x="43" y="29"/>
                        <a:pt x="43" y="29"/>
                        <a:pt x="43" y="29"/>
                      </a:cubicBezTo>
                      <a:cubicBezTo>
                        <a:pt x="51" y="29"/>
                        <a:pt x="58" y="23"/>
                        <a:pt x="58" y="15"/>
                      </a:cubicBezTo>
                      <a:cubicBezTo>
                        <a:pt x="58" y="7"/>
                        <a:pt x="51" y="0"/>
                        <a:pt x="43" y="0"/>
                      </a:cubicBezTo>
                      <a:cubicBezTo>
                        <a:pt x="15" y="0"/>
                        <a:pt x="15" y="0"/>
                        <a:pt x="15" y="0"/>
                      </a:cubicBezTo>
                      <a:cubicBezTo>
                        <a:pt x="7" y="0"/>
                        <a:pt x="0" y="7"/>
                        <a:pt x="0" y="15"/>
                      </a:cubicBezTo>
                      <a:cubicBezTo>
                        <a:pt x="0" y="23"/>
                        <a:pt x="7" y="29"/>
                        <a:pt x="15" y="29"/>
                      </a:cubicBezTo>
                      <a:close/>
                    </a:path>
                  </a:pathLst>
                </a:custGeom>
                <a:solidFill>
                  <a:srgbClr val="4D4D4F"/>
                </a:solidFill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2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/>
                    <a:cs typeface=""/>
                  </a:endParaRPr>
                </a:p>
              </p:txBody>
            </p:sp>
            <p:sp>
              <p:nvSpPr>
                <p:cNvPr id="717" name="Freeform 716"/>
                <p:cNvSpPr>
                  <a:spLocks/>
                </p:cNvSpPr>
                <p:nvPr/>
              </p:nvSpPr>
              <p:spPr bwMode="auto">
                <a:xfrm>
                  <a:off x="4752976" y="1985963"/>
                  <a:ext cx="52388" cy="26988"/>
                </a:xfrm>
                <a:custGeom>
                  <a:avLst/>
                  <a:gdLst>
                    <a:gd name="T0" fmla="*/ 15 w 58"/>
                    <a:gd name="T1" fmla="*/ 29 h 29"/>
                    <a:gd name="T2" fmla="*/ 43 w 58"/>
                    <a:gd name="T3" fmla="*/ 29 h 29"/>
                    <a:gd name="T4" fmla="*/ 58 w 58"/>
                    <a:gd name="T5" fmla="*/ 15 h 29"/>
                    <a:gd name="T6" fmla="*/ 43 w 58"/>
                    <a:gd name="T7" fmla="*/ 0 h 29"/>
                    <a:gd name="T8" fmla="*/ 15 w 58"/>
                    <a:gd name="T9" fmla="*/ 0 h 29"/>
                    <a:gd name="T10" fmla="*/ 0 w 58"/>
                    <a:gd name="T11" fmla="*/ 15 h 29"/>
                    <a:gd name="T12" fmla="*/ 15 w 58"/>
                    <a:gd name="T13" fmla="*/ 29 h 2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58" h="29">
                      <a:moveTo>
                        <a:pt x="15" y="29"/>
                      </a:moveTo>
                      <a:cubicBezTo>
                        <a:pt x="43" y="29"/>
                        <a:pt x="43" y="29"/>
                        <a:pt x="43" y="29"/>
                      </a:cubicBezTo>
                      <a:cubicBezTo>
                        <a:pt x="51" y="29"/>
                        <a:pt x="58" y="23"/>
                        <a:pt x="58" y="15"/>
                      </a:cubicBezTo>
                      <a:cubicBezTo>
                        <a:pt x="58" y="7"/>
                        <a:pt x="51" y="0"/>
                        <a:pt x="43" y="0"/>
                      </a:cubicBezTo>
                      <a:cubicBezTo>
                        <a:pt x="15" y="0"/>
                        <a:pt x="15" y="0"/>
                        <a:pt x="15" y="0"/>
                      </a:cubicBezTo>
                      <a:cubicBezTo>
                        <a:pt x="7" y="0"/>
                        <a:pt x="0" y="7"/>
                        <a:pt x="0" y="15"/>
                      </a:cubicBezTo>
                      <a:cubicBezTo>
                        <a:pt x="0" y="23"/>
                        <a:pt x="7" y="29"/>
                        <a:pt x="15" y="29"/>
                      </a:cubicBezTo>
                      <a:close/>
                    </a:path>
                  </a:pathLst>
                </a:custGeom>
                <a:solidFill>
                  <a:srgbClr val="4D4D4F"/>
                </a:solidFill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2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/>
                    <a:cs typeface=""/>
                  </a:endParaRPr>
                </a:p>
              </p:txBody>
            </p:sp>
            <p:sp>
              <p:nvSpPr>
                <p:cNvPr id="718" name="Freeform 717"/>
                <p:cNvSpPr>
                  <a:spLocks/>
                </p:cNvSpPr>
                <p:nvPr/>
              </p:nvSpPr>
              <p:spPr bwMode="auto">
                <a:xfrm>
                  <a:off x="4471988" y="2349500"/>
                  <a:ext cx="26988" cy="52388"/>
                </a:xfrm>
                <a:custGeom>
                  <a:avLst/>
                  <a:gdLst>
                    <a:gd name="T0" fmla="*/ 30 w 31"/>
                    <a:gd name="T1" fmla="*/ 42 h 58"/>
                    <a:gd name="T2" fmla="*/ 29 w 31"/>
                    <a:gd name="T3" fmla="*/ 28 h 58"/>
                    <a:gd name="T4" fmla="*/ 29 w 31"/>
                    <a:gd name="T5" fmla="*/ 15 h 58"/>
                    <a:gd name="T6" fmla="*/ 14 w 31"/>
                    <a:gd name="T7" fmla="*/ 0 h 58"/>
                    <a:gd name="T8" fmla="*/ 0 w 31"/>
                    <a:gd name="T9" fmla="*/ 15 h 58"/>
                    <a:gd name="T10" fmla="*/ 0 w 31"/>
                    <a:gd name="T11" fmla="*/ 28 h 58"/>
                    <a:gd name="T12" fmla="*/ 1 w 31"/>
                    <a:gd name="T13" fmla="*/ 45 h 58"/>
                    <a:gd name="T14" fmla="*/ 15 w 31"/>
                    <a:gd name="T15" fmla="*/ 58 h 58"/>
                    <a:gd name="T16" fmla="*/ 17 w 31"/>
                    <a:gd name="T17" fmla="*/ 58 h 58"/>
                    <a:gd name="T18" fmla="*/ 30 w 31"/>
                    <a:gd name="T19" fmla="*/ 42 h 5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31" h="58">
                      <a:moveTo>
                        <a:pt x="30" y="42"/>
                      </a:moveTo>
                      <a:cubicBezTo>
                        <a:pt x="29" y="37"/>
                        <a:pt x="29" y="33"/>
                        <a:pt x="29" y="28"/>
                      </a:cubicBezTo>
                      <a:cubicBezTo>
                        <a:pt x="29" y="15"/>
                        <a:pt x="29" y="15"/>
                        <a:pt x="29" y="15"/>
                      </a:cubicBezTo>
                      <a:cubicBezTo>
                        <a:pt x="29" y="7"/>
                        <a:pt x="22" y="0"/>
                        <a:pt x="14" y="0"/>
                      </a:cubicBezTo>
                      <a:cubicBezTo>
                        <a:pt x="7" y="0"/>
                        <a:pt x="0" y="7"/>
                        <a:pt x="0" y="15"/>
                      </a:cubicBezTo>
                      <a:cubicBezTo>
                        <a:pt x="0" y="28"/>
                        <a:pt x="0" y="28"/>
                        <a:pt x="0" y="28"/>
                      </a:cubicBezTo>
                      <a:cubicBezTo>
                        <a:pt x="0" y="34"/>
                        <a:pt x="0" y="39"/>
                        <a:pt x="1" y="45"/>
                      </a:cubicBezTo>
                      <a:cubicBezTo>
                        <a:pt x="2" y="52"/>
                        <a:pt x="8" y="58"/>
                        <a:pt x="15" y="58"/>
                      </a:cubicBezTo>
                      <a:cubicBezTo>
                        <a:pt x="16" y="58"/>
                        <a:pt x="17" y="58"/>
                        <a:pt x="17" y="58"/>
                      </a:cubicBezTo>
                      <a:cubicBezTo>
                        <a:pt x="25" y="57"/>
                        <a:pt x="31" y="50"/>
                        <a:pt x="30" y="42"/>
                      </a:cubicBezTo>
                      <a:close/>
                    </a:path>
                  </a:pathLst>
                </a:custGeom>
                <a:solidFill>
                  <a:srgbClr val="4D4D4F"/>
                </a:solidFill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2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/>
                    <a:cs typeface=""/>
                  </a:endParaRPr>
                </a:p>
              </p:txBody>
            </p:sp>
            <p:sp>
              <p:nvSpPr>
                <p:cNvPr id="719" name="Freeform 718"/>
                <p:cNvSpPr>
                  <a:spLocks/>
                </p:cNvSpPr>
                <p:nvPr/>
              </p:nvSpPr>
              <p:spPr bwMode="auto">
                <a:xfrm>
                  <a:off x="4973638" y="2282825"/>
                  <a:ext cx="25400" cy="52388"/>
                </a:xfrm>
                <a:custGeom>
                  <a:avLst/>
                  <a:gdLst>
                    <a:gd name="T0" fmla="*/ 14 w 29"/>
                    <a:gd name="T1" fmla="*/ 0 h 58"/>
                    <a:gd name="T2" fmla="*/ 0 w 29"/>
                    <a:gd name="T3" fmla="*/ 15 h 58"/>
                    <a:gd name="T4" fmla="*/ 0 w 29"/>
                    <a:gd name="T5" fmla="*/ 44 h 58"/>
                    <a:gd name="T6" fmla="*/ 14 w 29"/>
                    <a:gd name="T7" fmla="*/ 58 h 58"/>
                    <a:gd name="T8" fmla="*/ 29 w 29"/>
                    <a:gd name="T9" fmla="*/ 44 h 58"/>
                    <a:gd name="T10" fmla="*/ 29 w 29"/>
                    <a:gd name="T11" fmla="*/ 15 h 58"/>
                    <a:gd name="T12" fmla="*/ 14 w 29"/>
                    <a:gd name="T13" fmla="*/ 0 h 5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9" h="58">
                      <a:moveTo>
                        <a:pt x="14" y="0"/>
                      </a:moveTo>
                      <a:cubicBezTo>
                        <a:pt x="6" y="0"/>
                        <a:pt x="0" y="7"/>
                        <a:pt x="0" y="15"/>
                      </a:cubicBezTo>
                      <a:cubicBezTo>
                        <a:pt x="0" y="44"/>
                        <a:pt x="0" y="44"/>
                        <a:pt x="0" y="44"/>
                      </a:cubicBezTo>
                      <a:cubicBezTo>
                        <a:pt x="0" y="52"/>
                        <a:pt x="6" y="58"/>
                        <a:pt x="14" y="58"/>
                      </a:cubicBezTo>
                      <a:cubicBezTo>
                        <a:pt x="22" y="58"/>
                        <a:pt x="29" y="52"/>
                        <a:pt x="29" y="44"/>
                      </a:cubicBezTo>
                      <a:cubicBezTo>
                        <a:pt x="29" y="15"/>
                        <a:pt x="29" y="15"/>
                        <a:pt x="29" y="15"/>
                      </a:cubicBezTo>
                      <a:cubicBezTo>
                        <a:pt x="29" y="7"/>
                        <a:pt x="22" y="0"/>
                        <a:pt x="14" y="0"/>
                      </a:cubicBezTo>
                      <a:close/>
                    </a:path>
                  </a:pathLst>
                </a:custGeom>
                <a:solidFill>
                  <a:srgbClr val="4D4D4F"/>
                </a:solidFill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2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/>
                    <a:cs typeface=""/>
                  </a:endParaRPr>
                </a:p>
              </p:txBody>
            </p:sp>
            <p:sp>
              <p:nvSpPr>
                <p:cNvPr id="720" name="Freeform 28"/>
                <p:cNvSpPr>
                  <a:spLocks/>
                </p:cNvSpPr>
                <p:nvPr/>
              </p:nvSpPr>
              <p:spPr bwMode="auto">
                <a:xfrm>
                  <a:off x="4927601" y="2432050"/>
                  <a:ext cx="47625" cy="46038"/>
                </a:xfrm>
                <a:custGeom>
                  <a:avLst/>
                  <a:gdLst>
                    <a:gd name="T0" fmla="*/ 25 w 53"/>
                    <a:gd name="T1" fmla="*/ 7 h 51"/>
                    <a:gd name="T2" fmla="*/ 7 w 53"/>
                    <a:gd name="T3" fmla="*/ 25 h 51"/>
                    <a:gd name="T4" fmla="*/ 5 w 53"/>
                    <a:gd name="T5" fmla="*/ 45 h 51"/>
                    <a:gd name="T6" fmla="*/ 16 w 53"/>
                    <a:gd name="T7" fmla="*/ 51 h 51"/>
                    <a:gd name="T8" fmla="*/ 25 w 53"/>
                    <a:gd name="T9" fmla="*/ 47 h 51"/>
                    <a:gd name="T10" fmla="*/ 48 w 53"/>
                    <a:gd name="T11" fmla="*/ 25 h 51"/>
                    <a:gd name="T12" fmla="*/ 45 w 53"/>
                    <a:gd name="T13" fmla="*/ 5 h 51"/>
                    <a:gd name="T14" fmla="*/ 25 w 53"/>
                    <a:gd name="T15" fmla="*/ 7 h 5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53" h="51">
                      <a:moveTo>
                        <a:pt x="25" y="7"/>
                      </a:moveTo>
                      <a:cubicBezTo>
                        <a:pt x="20" y="14"/>
                        <a:pt x="14" y="20"/>
                        <a:pt x="7" y="25"/>
                      </a:cubicBezTo>
                      <a:cubicBezTo>
                        <a:pt x="1" y="30"/>
                        <a:pt x="0" y="39"/>
                        <a:pt x="5" y="45"/>
                      </a:cubicBezTo>
                      <a:cubicBezTo>
                        <a:pt x="8" y="49"/>
                        <a:pt x="12" y="51"/>
                        <a:pt x="16" y="51"/>
                      </a:cubicBezTo>
                      <a:cubicBezTo>
                        <a:pt x="20" y="51"/>
                        <a:pt x="23" y="50"/>
                        <a:pt x="25" y="47"/>
                      </a:cubicBezTo>
                      <a:cubicBezTo>
                        <a:pt x="34" y="41"/>
                        <a:pt x="41" y="33"/>
                        <a:pt x="48" y="25"/>
                      </a:cubicBezTo>
                      <a:cubicBezTo>
                        <a:pt x="53" y="19"/>
                        <a:pt x="52" y="9"/>
                        <a:pt x="45" y="5"/>
                      </a:cubicBezTo>
                      <a:cubicBezTo>
                        <a:pt x="39" y="0"/>
                        <a:pt x="30" y="1"/>
                        <a:pt x="25" y="7"/>
                      </a:cubicBezTo>
                      <a:close/>
                    </a:path>
                  </a:pathLst>
                </a:custGeom>
                <a:solidFill>
                  <a:srgbClr val="4D4D4F"/>
                </a:solidFill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2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/>
                    <a:cs typeface=""/>
                  </a:endParaRPr>
                </a:p>
              </p:txBody>
            </p:sp>
            <p:sp>
              <p:nvSpPr>
                <p:cNvPr id="721" name="Freeform 29"/>
                <p:cNvSpPr>
                  <a:spLocks/>
                </p:cNvSpPr>
                <p:nvPr/>
              </p:nvSpPr>
              <p:spPr bwMode="auto">
                <a:xfrm>
                  <a:off x="4968876" y="2360613"/>
                  <a:ext cx="30163" cy="52388"/>
                </a:xfrm>
                <a:custGeom>
                  <a:avLst/>
                  <a:gdLst>
                    <a:gd name="T0" fmla="*/ 19 w 34"/>
                    <a:gd name="T1" fmla="*/ 0 h 58"/>
                    <a:gd name="T2" fmla="*/ 5 w 34"/>
                    <a:gd name="T3" fmla="*/ 15 h 58"/>
                    <a:gd name="T4" fmla="*/ 2 w 34"/>
                    <a:gd name="T5" fmla="*/ 40 h 58"/>
                    <a:gd name="T6" fmla="*/ 13 w 34"/>
                    <a:gd name="T7" fmla="*/ 58 h 58"/>
                    <a:gd name="T8" fmla="*/ 16 w 34"/>
                    <a:gd name="T9" fmla="*/ 58 h 58"/>
                    <a:gd name="T10" fmla="*/ 30 w 34"/>
                    <a:gd name="T11" fmla="*/ 47 h 58"/>
                    <a:gd name="T12" fmla="*/ 34 w 34"/>
                    <a:gd name="T13" fmla="*/ 15 h 58"/>
                    <a:gd name="T14" fmla="*/ 34 w 34"/>
                    <a:gd name="T15" fmla="*/ 14 h 58"/>
                    <a:gd name="T16" fmla="*/ 19 w 34"/>
                    <a:gd name="T17" fmla="*/ 0 h 5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34" h="58">
                      <a:moveTo>
                        <a:pt x="19" y="0"/>
                      </a:moveTo>
                      <a:cubicBezTo>
                        <a:pt x="11" y="0"/>
                        <a:pt x="5" y="7"/>
                        <a:pt x="5" y="15"/>
                      </a:cubicBezTo>
                      <a:cubicBezTo>
                        <a:pt x="5" y="24"/>
                        <a:pt x="4" y="32"/>
                        <a:pt x="2" y="40"/>
                      </a:cubicBezTo>
                      <a:cubicBezTo>
                        <a:pt x="0" y="48"/>
                        <a:pt x="5" y="56"/>
                        <a:pt x="13" y="58"/>
                      </a:cubicBezTo>
                      <a:cubicBezTo>
                        <a:pt x="14" y="58"/>
                        <a:pt x="15" y="58"/>
                        <a:pt x="16" y="58"/>
                      </a:cubicBezTo>
                      <a:cubicBezTo>
                        <a:pt x="23" y="58"/>
                        <a:pt x="29" y="53"/>
                        <a:pt x="30" y="47"/>
                      </a:cubicBezTo>
                      <a:cubicBezTo>
                        <a:pt x="32" y="36"/>
                        <a:pt x="34" y="26"/>
                        <a:pt x="34" y="15"/>
                      </a:cubicBezTo>
                      <a:cubicBezTo>
                        <a:pt x="34" y="14"/>
                        <a:pt x="34" y="14"/>
                        <a:pt x="34" y="14"/>
                      </a:cubicBezTo>
                      <a:cubicBezTo>
                        <a:pt x="34" y="6"/>
                        <a:pt x="27" y="0"/>
                        <a:pt x="19" y="0"/>
                      </a:cubicBezTo>
                      <a:close/>
                    </a:path>
                  </a:pathLst>
                </a:custGeom>
                <a:solidFill>
                  <a:srgbClr val="4D4D4F"/>
                </a:solidFill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2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/>
                    <a:cs typeface=""/>
                  </a:endParaRPr>
                </a:p>
              </p:txBody>
            </p:sp>
            <p:sp>
              <p:nvSpPr>
                <p:cNvPr id="722" name="Freeform 30"/>
                <p:cNvSpPr>
                  <a:spLocks/>
                </p:cNvSpPr>
                <p:nvPr/>
              </p:nvSpPr>
              <p:spPr bwMode="auto">
                <a:xfrm>
                  <a:off x="4973638" y="2205038"/>
                  <a:ext cx="25400" cy="52388"/>
                </a:xfrm>
                <a:custGeom>
                  <a:avLst/>
                  <a:gdLst>
                    <a:gd name="T0" fmla="*/ 14 w 29"/>
                    <a:gd name="T1" fmla="*/ 0 h 58"/>
                    <a:gd name="T2" fmla="*/ 0 w 29"/>
                    <a:gd name="T3" fmla="*/ 15 h 58"/>
                    <a:gd name="T4" fmla="*/ 0 w 29"/>
                    <a:gd name="T5" fmla="*/ 43 h 58"/>
                    <a:gd name="T6" fmla="*/ 14 w 29"/>
                    <a:gd name="T7" fmla="*/ 58 h 58"/>
                    <a:gd name="T8" fmla="*/ 29 w 29"/>
                    <a:gd name="T9" fmla="*/ 43 h 58"/>
                    <a:gd name="T10" fmla="*/ 29 w 29"/>
                    <a:gd name="T11" fmla="*/ 15 h 58"/>
                    <a:gd name="T12" fmla="*/ 14 w 29"/>
                    <a:gd name="T13" fmla="*/ 0 h 5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9" h="58">
                      <a:moveTo>
                        <a:pt x="14" y="0"/>
                      </a:moveTo>
                      <a:cubicBezTo>
                        <a:pt x="6" y="0"/>
                        <a:pt x="0" y="7"/>
                        <a:pt x="0" y="15"/>
                      </a:cubicBezTo>
                      <a:cubicBezTo>
                        <a:pt x="0" y="43"/>
                        <a:pt x="0" y="43"/>
                        <a:pt x="0" y="43"/>
                      </a:cubicBezTo>
                      <a:cubicBezTo>
                        <a:pt x="0" y="51"/>
                        <a:pt x="6" y="58"/>
                        <a:pt x="14" y="58"/>
                      </a:cubicBezTo>
                      <a:cubicBezTo>
                        <a:pt x="22" y="58"/>
                        <a:pt x="29" y="51"/>
                        <a:pt x="29" y="43"/>
                      </a:cubicBezTo>
                      <a:cubicBezTo>
                        <a:pt x="29" y="15"/>
                        <a:pt x="29" y="15"/>
                        <a:pt x="29" y="15"/>
                      </a:cubicBezTo>
                      <a:cubicBezTo>
                        <a:pt x="29" y="7"/>
                        <a:pt x="22" y="0"/>
                        <a:pt x="14" y="0"/>
                      </a:cubicBezTo>
                      <a:close/>
                    </a:path>
                  </a:pathLst>
                </a:custGeom>
                <a:solidFill>
                  <a:srgbClr val="4D4D4F"/>
                </a:solidFill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2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/>
                    <a:cs typeface=""/>
                  </a:endParaRPr>
                </a:p>
              </p:txBody>
            </p:sp>
            <p:sp>
              <p:nvSpPr>
                <p:cNvPr id="723" name="Freeform 31"/>
                <p:cNvSpPr>
                  <a:spLocks/>
                </p:cNvSpPr>
                <p:nvPr/>
              </p:nvSpPr>
              <p:spPr bwMode="auto">
                <a:xfrm>
                  <a:off x="4973638" y="2127250"/>
                  <a:ext cx="25400" cy="52388"/>
                </a:xfrm>
                <a:custGeom>
                  <a:avLst/>
                  <a:gdLst>
                    <a:gd name="T0" fmla="*/ 14 w 29"/>
                    <a:gd name="T1" fmla="*/ 0 h 58"/>
                    <a:gd name="T2" fmla="*/ 0 w 29"/>
                    <a:gd name="T3" fmla="*/ 15 h 58"/>
                    <a:gd name="T4" fmla="*/ 0 w 29"/>
                    <a:gd name="T5" fmla="*/ 43 h 58"/>
                    <a:gd name="T6" fmla="*/ 14 w 29"/>
                    <a:gd name="T7" fmla="*/ 58 h 58"/>
                    <a:gd name="T8" fmla="*/ 29 w 29"/>
                    <a:gd name="T9" fmla="*/ 43 h 58"/>
                    <a:gd name="T10" fmla="*/ 29 w 29"/>
                    <a:gd name="T11" fmla="*/ 15 h 58"/>
                    <a:gd name="T12" fmla="*/ 14 w 29"/>
                    <a:gd name="T13" fmla="*/ 0 h 5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9" h="58">
                      <a:moveTo>
                        <a:pt x="14" y="0"/>
                      </a:moveTo>
                      <a:cubicBezTo>
                        <a:pt x="6" y="0"/>
                        <a:pt x="0" y="7"/>
                        <a:pt x="0" y="15"/>
                      </a:cubicBezTo>
                      <a:cubicBezTo>
                        <a:pt x="0" y="43"/>
                        <a:pt x="0" y="43"/>
                        <a:pt x="0" y="43"/>
                      </a:cubicBezTo>
                      <a:cubicBezTo>
                        <a:pt x="0" y="51"/>
                        <a:pt x="6" y="58"/>
                        <a:pt x="14" y="58"/>
                      </a:cubicBezTo>
                      <a:cubicBezTo>
                        <a:pt x="22" y="58"/>
                        <a:pt x="29" y="51"/>
                        <a:pt x="29" y="43"/>
                      </a:cubicBezTo>
                      <a:cubicBezTo>
                        <a:pt x="29" y="15"/>
                        <a:pt x="29" y="15"/>
                        <a:pt x="29" y="15"/>
                      </a:cubicBezTo>
                      <a:cubicBezTo>
                        <a:pt x="29" y="7"/>
                        <a:pt x="22" y="0"/>
                        <a:pt x="14" y="0"/>
                      </a:cubicBezTo>
                      <a:close/>
                    </a:path>
                  </a:pathLst>
                </a:custGeom>
                <a:solidFill>
                  <a:srgbClr val="4D4D4F"/>
                </a:solidFill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2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/>
                    <a:cs typeface=""/>
                  </a:endParaRPr>
                </a:p>
              </p:txBody>
            </p:sp>
            <p:sp>
              <p:nvSpPr>
                <p:cNvPr id="724" name="Freeform 32"/>
                <p:cNvSpPr>
                  <a:spLocks/>
                </p:cNvSpPr>
                <p:nvPr/>
              </p:nvSpPr>
              <p:spPr bwMode="auto">
                <a:xfrm>
                  <a:off x="4546601" y="2470150"/>
                  <a:ext cx="53975" cy="33338"/>
                </a:xfrm>
                <a:custGeom>
                  <a:avLst/>
                  <a:gdLst>
                    <a:gd name="T0" fmla="*/ 46 w 60"/>
                    <a:gd name="T1" fmla="*/ 8 h 37"/>
                    <a:gd name="T2" fmla="*/ 21 w 60"/>
                    <a:gd name="T3" fmla="*/ 2 h 37"/>
                    <a:gd name="T4" fmla="*/ 3 w 60"/>
                    <a:gd name="T5" fmla="*/ 11 h 37"/>
                    <a:gd name="T6" fmla="*/ 12 w 60"/>
                    <a:gd name="T7" fmla="*/ 30 h 37"/>
                    <a:gd name="T8" fmla="*/ 43 w 60"/>
                    <a:gd name="T9" fmla="*/ 37 h 37"/>
                    <a:gd name="T10" fmla="*/ 44 w 60"/>
                    <a:gd name="T11" fmla="*/ 37 h 37"/>
                    <a:gd name="T12" fmla="*/ 59 w 60"/>
                    <a:gd name="T13" fmla="*/ 24 h 37"/>
                    <a:gd name="T14" fmla="*/ 46 w 60"/>
                    <a:gd name="T15" fmla="*/ 8 h 3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60" h="37">
                      <a:moveTo>
                        <a:pt x="46" y="8"/>
                      </a:moveTo>
                      <a:cubicBezTo>
                        <a:pt x="38" y="7"/>
                        <a:pt x="29" y="5"/>
                        <a:pt x="21" y="2"/>
                      </a:cubicBezTo>
                      <a:cubicBezTo>
                        <a:pt x="14" y="0"/>
                        <a:pt x="6" y="4"/>
                        <a:pt x="3" y="11"/>
                      </a:cubicBezTo>
                      <a:cubicBezTo>
                        <a:pt x="0" y="19"/>
                        <a:pt x="4" y="27"/>
                        <a:pt x="12" y="30"/>
                      </a:cubicBezTo>
                      <a:cubicBezTo>
                        <a:pt x="22" y="33"/>
                        <a:pt x="32" y="36"/>
                        <a:pt x="43" y="37"/>
                      </a:cubicBezTo>
                      <a:cubicBezTo>
                        <a:pt x="43" y="37"/>
                        <a:pt x="44" y="37"/>
                        <a:pt x="44" y="37"/>
                      </a:cubicBezTo>
                      <a:cubicBezTo>
                        <a:pt x="51" y="37"/>
                        <a:pt x="58" y="32"/>
                        <a:pt x="59" y="24"/>
                      </a:cubicBezTo>
                      <a:cubicBezTo>
                        <a:pt x="60" y="16"/>
                        <a:pt x="54" y="9"/>
                        <a:pt x="46" y="8"/>
                      </a:cubicBezTo>
                      <a:close/>
                    </a:path>
                  </a:pathLst>
                </a:custGeom>
                <a:solidFill>
                  <a:srgbClr val="4D4D4F"/>
                </a:solidFill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2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/>
                    <a:cs typeface=""/>
                  </a:endParaRPr>
                </a:p>
              </p:txBody>
            </p:sp>
            <p:sp>
              <p:nvSpPr>
                <p:cNvPr id="725" name="Freeform 33"/>
                <p:cNvSpPr>
                  <a:spLocks/>
                </p:cNvSpPr>
                <p:nvPr/>
              </p:nvSpPr>
              <p:spPr bwMode="auto">
                <a:xfrm>
                  <a:off x="4781551" y="2478088"/>
                  <a:ext cx="50800" cy="25400"/>
                </a:xfrm>
                <a:custGeom>
                  <a:avLst/>
                  <a:gdLst>
                    <a:gd name="T0" fmla="*/ 43 w 57"/>
                    <a:gd name="T1" fmla="*/ 0 h 29"/>
                    <a:gd name="T2" fmla="*/ 14 w 57"/>
                    <a:gd name="T3" fmla="*/ 0 h 29"/>
                    <a:gd name="T4" fmla="*/ 0 w 57"/>
                    <a:gd name="T5" fmla="*/ 15 h 29"/>
                    <a:gd name="T6" fmla="*/ 14 w 57"/>
                    <a:gd name="T7" fmla="*/ 29 h 29"/>
                    <a:gd name="T8" fmla="*/ 43 w 57"/>
                    <a:gd name="T9" fmla="*/ 29 h 29"/>
                    <a:gd name="T10" fmla="*/ 57 w 57"/>
                    <a:gd name="T11" fmla="*/ 15 h 29"/>
                    <a:gd name="T12" fmla="*/ 43 w 57"/>
                    <a:gd name="T13" fmla="*/ 0 h 2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57" h="29">
                      <a:moveTo>
                        <a:pt x="43" y="0"/>
                      </a:moveTo>
                      <a:cubicBezTo>
                        <a:pt x="14" y="0"/>
                        <a:pt x="14" y="0"/>
                        <a:pt x="14" y="0"/>
                      </a:cubicBezTo>
                      <a:cubicBezTo>
                        <a:pt x="6" y="0"/>
                        <a:pt x="0" y="7"/>
                        <a:pt x="0" y="15"/>
                      </a:cubicBezTo>
                      <a:cubicBezTo>
                        <a:pt x="0" y="23"/>
                        <a:pt x="6" y="29"/>
                        <a:pt x="14" y="29"/>
                      </a:cubicBezTo>
                      <a:cubicBezTo>
                        <a:pt x="43" y="29"/>
                        <a:pt x="43" y="29"/>
                        <a:pt x="43" y="29"/>
                      </a:cubicBezTo>
                      <a:cubicBezTo>
                        <a:pt x="51" y="29"/>
                        <a:pt x="57" y="23"/>
                        <a:pt x="57" y="15"/>
                      </a:cubicBezTo>
                      <a:cubicBezTo>
                        <a:pt x="57" y="7"/>
                        <a:pt x="51" y="0"/>
                        <a:pt x="43" y="0"/>
                      </a:cubicBezTo>
                      <a:close/>
                    </a:path>
                  </a:pathLst>
                </a:custGeom>
                <a:solidFill>
                  <a:srgbClr val="4D4D4F"/>
                </a:solidFill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2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/>
                    <a:cs typeface=""/>
                  </a:endParaRPr>
                </a:p>
              </p:txBody>
            </p:sp>
            <p:sp>
              <p:nvSpPr>
                <p:cNvPr id="726" name="Freeform 34"/>
                <p:cNvSpPr>
                  <a:spLocks/>
                </p:cNvSpPr>
                <p:nvPr/>
              </p:nvSpPr>
              <p:spPr bwMode="auto">
                <a:xfrm>
                  <a:off x="4703763" y="2478088"/>
                  <a:ext cx="50800" cy="25400"/>
                </a:xfrm>
                <a:custGeom>
                  <a:avLst/>
                  <a:gdLst>
                    <a:gd name="T0" fmla="*/ 44 w 58"/>
                    <a:gd name="T1" fmla="*/ 0 h 29"/>
                    <a:gd name="T2" fmla="*/ 15 w 58"/>
                    <a:gd name="T3" fmla="*/ 0 h 29"/>
                    <a:gd name="T4" fmla="*/ 0 w 58"/>
                    <a:gd name="T5" fmla="*/ 15 h 29"/>
                    <a:gd name="T6" fmla="*/ 15 w 58"/>
                    <a:gd name="T7" fmla="*/ 29 h 29"/>
                    <a:gd name="T8" fmla="*/ 44 w 58"/>
                    <a:gd name="T9" fmla="*/ 29 h 29"/>
                    <a:gd name="T10" fmla="*/ 58 w 58"/>
                    <a:gd name="T11" fmla="*/ 15 h 29"/>
                    <a:gd name="T12" fmla="*/ 44 w 58"/>
                    <a:gd name="T13" fmla="*/ 0 h 2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58" h="29">
                      <a:moveTo>
                        <a:pt x="44" y="0"/>
                      </a:moveTo>
                      <a:cubicBezTo>
                        <a:pt x="15" y="0"/>
                        <a:pt x="15" y="0"/>
                        <a:pt x="15" y="0"/>
                      </a:cubicBezTo>
                      <a:cubicBezTo>
                        <a:pt x="7" y="0"/>
                        <a:pt x="0" y="7"/>
                        <a:pt x="0" y="15"/>
                      </a:cubicBezTo>
                      <a:cubicBezTo>
                        <a:pt x="0" y="23"/>
                        <a:pt x="7" y="29"/>
                        <a:pt x="15" y="29"/>
                      </a:cubicBezTo>
                      <a:cubicBezTo>
                        <a:pt x="44" y="29"/>
                        <a:pt x="44" y="29"/>
                        <a:pt x="44" y="29"/>
                      </a:cubicBezTo>
                      <a:cubicBezTo>
                        <a:pt x="51" y="29"/>
                        <a:pt x="58" y="23"/>
                        <a:pt x="58" y="15"/>
                      </a:cubicBezTo>
                      <a:cubicBezTo>
                        <a:pt x="58" y="7"/>
                        <a:pt x="51" y="0"/>
                        <a:pt x="44" y="0"/>
                      </a:cubicBezTo>
                      <a:close/>
                    </a:path>
                  </a:pathLst>
                </a:custGeom>
                <a:solidFill>
                  <a:srgbClr val="4D4D4F"/>
                </a:solidFill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2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/>
                    <a:cs typeface=""/>
                  </a:endParaRPr>
                </a:p>
              </p:txBody>
            </p:sp>
            <p:sp>
              <p:nvSpPr>
                <p:cNvPr id="727" name="Freeform 35"/>
                <p:cNvSpPr>
                  <a:spLocks/>
                </p:cNvSpPr>
                <p:nvPr/>
              </p:nvSpPr>
              <p:spPr bwMode="auto">
                <a:xfrm>
                  <a:off x="4625976" y="2478088"/>
                  <a:ext cx="52388" cy="25400"/>
                </a:xfrm>
                <a:custGeom>
                  <a:avLst/>
                  <a:gdLst>
                    <a:gd name="T0" fmla="*/ 43 w 58"/>
                    <a:gd name="T1" fmla="*/ 0 h 29"/>
                    <a:gd name="T2" fmla="*/ 15 w 58"/>
                    <a:gd name="T3" fmla="*/ 0 h 29"/>
                    <a:gd name="T4" fmla="*/ 0 w 58"/>
                    <a:gd name="T5" fmla="*/ 15 h 29"/>
                    <a:gd name="T6" fmla="*/ 15 w 58"/>
                    <a:gd name="T7" fmla="*/ 29 h 29"/>
                    <a:gd name="T8" fmla="*/ 43 w 58"/>
                    <a:gd name="T9" fmla="*/ 29 h 29"/>
                    <a:gd name="T10" fmla="*/ 58 w 58"/>
                    <a:gd name="T11" fmla="*/ 15 h 29"/>
                    <a:gd name="T12" fmla="*/ 43 w 58"/>
                    <a:gd name="T13" fmla="*/ 0 h 2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58" h="29">
                      <a:moveTo>
                        <a:pt x="43" y="0"/>
                      </a:moveTo>
                      <a:cubicBezTo>
                        <a:pt x="15" y="0"/>
                        <a:pt x="15" y="0"/>
                        <a:pt x="15" y="0"/>
                      </a:cubicBezTo>
                      <a:cubicBezTo>
                        <a:pt x="7" y="0"/>
                        <a:pt x="0" y="7"/>
                        <a:pt x="0" y="15"/>
                      </a:cubicBezTo>
                      <a:cubicBezTo>
                        <a:pt x="0" y="23"/>
                        <a:pt x="7" y="29"/>
                        <a:pt x="15" y="29"/>
                      </a:cubicBezTo>
                      <a:cubicBezTo>
                        <a:pt x="43" y="29"/>
                        <a:pt x="43" y="29"/>
                        <a:pt x="43" y="29"/>
                      </a:cubicBezTo>
                      <a:cubicBezTo>
                        <a:pt x="51" y="29"/>
                        <a:pt x="58" y="23"/>
                        <a:pt x="58" y="15"/>
                      </a:cubicBezTo>
                      <a:cubicBezTo>
                        <a:pt x="58" y="7"/>
                        <a:pt x="51" y="0"/>
                        <a:pt x="43" y="0"/>
                      </a:cubicBezTo>
                      <a:close/>
                    </a:path>
                  </a:pathLst>
                </a:custGeom>
                <a:solidFill>
                  <a:srgbClr val="4D4D4F"/>
                </a:solidFill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2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/>
                    <a:cs typeface=""/>
                  </a:endParaRPr>
                </a:p>
              </p:txBody>
            </p:sp>
            <p:sp>
              <p:nvSpPr>
                <p:cNvPr id="728" name="Freeform 38"/>
                <p:cNvSpPr>
                  <a:spLocks/>
                </p:cNvSpPr>
                <p:nvPr/>
              </p:nvSpPr>
              <p:spPr bwMode="auto">
                <a:xfrm>
                  <a:off x="4859338" y="2473325"/>
                  <a:ext cx="52388" cy="30163"/>
                </a:xfrm>
                <a:custGeom>
                  <a:avLst/>
                  <a:gdLst>
                    <a:gd name="T0" fmla="*/ 39 w 58"/>
                    <a:gd name="T1" fmla="*/ 2 h 34"/>
                    <a:gd name="T2" fmla="*/ 14 w 58"/>
                    <a:gd name="T3" fmla="*/ 5 h 34"/>
                    <a:gd name="T4" fmla="*/ 0 w 58"/>
                    <a:gd name="T5" fmla="*/ 20 h 34"/>
                    <a:gd name="T6" fmla="*/ 14 w 58"/>
                    <a:gd name="T7" fmla="*/ 34 h 34"/>
                    <a:gd name="T8" fmla="*/ 14 w 58"/>
                    <a:gd name="T9" fmla="*/ 34 h 34"/>
                    <a:gd name="T10" fmla="*/ 46 w 58"/>
                    <a:gd name="T11" fmla="*/ 30 h 34"/>
                    <a:gd name="T12" fmla="*/ 56 w 58"/>
                    <a:gd name="T13" fmla="*/ 12 h 34"/>
                    <a:gd name="T14" fmla="*/ 39 w 58"/>
                    <a:gd name="T15" fmla="*/ 2 h 3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58" h="34">
                      <a:moveTo>
                        <a:pt x="39" y="2"/>
                      </a:moveTo>
                      <a:cubicBezTo>
                        <a:pt x="31" y="4"/>
                        <a:pt x="22" y="5"/>
                        <a:pt x="14" y="5"/>
                      </a:cubicBezTo>
                      <a:cubicBezTo>
                        <a:pt x="6" y="5"/>
                        <a:pt x="0" y="12"/>
                        <a:pt x="0" y="20"/>
                      </a:cubicBezTo>
                      <a:cubicBezTo>
                        <a:pt x="0" y="28"/>
                        <a:pt x="6" y="34"/>
                        <a:pt x="14" y="34"/>
                      </a:cubicBezTo>
                      <a:cubicBezTo>
                        <a:pt x="14" y="34"/>
                        <a:pt x="14" y="34"/>
                        <a:pt x="14" y="34"/>
                      </a:cubicBezTo>
                      <a:cubicBezTo>
                        <a:pt x="25" y="34"/>
                        <a:pt x="36" y="32"/>
                        <a:pt x="46" y="30"/>
                      </a:cubicBezTo>
                      <a:cubicBezTo>
                        <a:pt x="54" y="28"/>
                        <a:pt x="58" y="20"/>
                        <a:pt x="56" y="12"/>
                      </a:cubicBezTo>
                      <a:cubicBezTo>
                        <a:pt x="55" y="5"/>
                        <a:pt x="47" y="0"/>
                        <a:pt x="39" y="2"/>
                      </a:cubicBezTo>
                      <a:close/>
                    </a:path>
                  </a:pathLst>
                </a:custGeom>
                <a:solidFill>
                  <a:srgbClr val="4D4D4F"/>
                </a:solidFill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2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/>
                    <a:cs typeface=""/>
                  </a:endParaRPr>
                </a:p>
              </p:txBody>
            </p:sp>
          </p:grpSp>
          <p:sp>
            <p:nvSpPr>
              <p:cNvPr id="704" name="Rounded Rectangle 703"/>
              <p:cNvSpPr/>
              <p:nvPr/>
            </p:nvSpPr>
            <p:spPr>
              <a:xfrm>
                <a:off x="5359901" y="2386601"/>
                <a:ext cx="308105" cy="310923"/>
              </a:xfrm>
              <a:prstGeom prst="roundRect">
                <a:avLst/>
              </a:prstGeom>
              <a:solidFill>
                <a:srgbClr val="F79646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"/>
                  <a:cs typeface=""/>
                </a:endParaRPr>
              </a:p>
            </p:txBody>
          </p:sp>
          <p:sp>
            <p:nvSpPr>
              <p:cNvPr id="705" name="Freeform 704"/>
              <p:cNvSpPr>
                <a:spLocks noEditPoints="1"/>
              </p:cNvSpPr>
              <p:nvPr/>
            </p:nvSpPr>
            <p:spPr bwMode="auto">
              <a:xfrm>
                <a:off x="5406483" y="2446478"/>
                <a:ext cx="214941" cy="191168"/>
              </a:xfrm>
              <a:custGeom>
                <a:avLst/>
                <a:gdLst>
                  <a:gd name="T0" fmla="*/ 419 w 494"/>
                  <a:gd name="T1" fmla="*/ 299 h 448"/>
                  <a:gd name="T2" fmla="*/ 403 w 494"/>
                  <a:gd name="T3" fmla="*/ 301 h 448"/>
                  <a:gd name="T4" fmla="*/ 302 w 494"/>
                  <a:gd name="T5" fmla="*/ 126 h 448"/>
                  <a:gd name="T6" fmla="*/ 322 w 494"/>
                  <a:gd name="T7" fmla="*/ 75 h 448"/>
                  <a:gd name="T8" fmla="*/ 247 w 494"/>
                  <a:gd name="T9" fmla="*/ 0 h 448"/>
                  <a:gd name="T10" fmla="*/ 173 w 494"/>
                  <a:gd name="T11" fmla="*/ 75 h 448"/>
                  <a:gd name="T12" fmla="*/ 193 w 494"/>
                  <a:gd name="T13" fmla="*/ 126 h 448"/>
                  <a:gd name="T14" fmla="*/ 91 w 494"/>
                  <a:gd name="T15" fmla="*/ 301 h 448"/>
                  <a:gd name="T16" fmla="*/ 75 w 494"/>
                  <a:gd name="T17" fmla="*/ 299 h 448"/>
                  <a:gd name="T18" fmla="*/ 0 w 494"/>
                  <a:gd name="T19" fmla="*/ 373 h 448"/>
                  <a:gd name="T20" fmla="*/ 75 w 494"/>
                  <a:gd name="T21" fmla="*/ 448 h 448"/>
                  <a:gd name="T22" fmla="*/ 146 w 494"/>
                  <a:gd name="T23" fmla="*/ 395 h 448"/>
                  <a:gd name="T24" fmla="*/ 349 w 494"/>
                  <a:gd name="T25" fmla="*/ 395 h 448"/>
                  <a:gd name="T26" fmla="*/ 419 w 494"/>
                  <a:gd name="T27" fmla="*/ 448 h 448"/>
                  <a:gd name="T28" fmla="*/ 494 w 494"/>
                  <a:gd name="T29" fmla="*/ 373 h 448"/>
                  <a:gd name="T30" fmla="*/ 419 w 494"/>
                  <a:gd name="T31" fmla="*/ 299 h 448"/>
                  <a:gd name="T32" fmla="*/ 349 w 494"/>
                  <a:gd name="T33" fmla="*/ 351 h 448"/>
                  <a:gd name="T34" fmla="*/ 146 w 494"/>
                  <a:gd name="T35" fmla="*/ 351 h 448"/>
                  <a:gd name="T36" fmla="*/ 130 w 494"/>
                  <a:gd name="T37" fmla="*/ 323 h 448"/>
                  <a:gd name="T38" fmla="*/ 231 w 494"/>
                  <a:gd name="T39" fmla="*/ 148 h 448"/>
                  <a:gd name="T40" fmla="*/ 247 w 494"/>
                  <a:gd name="T41" fmla="*/ 150 h 448"/>
                  <a:gd name="T42" fmla="*/ 264 w 494"/>
                  <a:gd name="T43" fmla="*/ 148 h 448"/>
                  <a:gd name="T44" fmla="*/ 365 w 494"/>
                  <a:gd name="T45" fmla="*/ 323 h 448"/>
                  <a:gd name="T46" fmla="*/ 349 w 494"/>
                  <a:gd name="T47" fmla="*/ 351 h 4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494" h="448">
                    <a:moveTo>
                      <a:pt x="419" y="299"/>
                    </a:moveTo>
                    <a:cubicBezTo>
                      <a:pt x="414" y="299"/>
                      <a:pt x="408" y="300"/>
                      <a:pt x="403" y="301"/>
                    </a:cubicBezTo>
                    <a:cubicBezTo>
                      <a:pt x="302" y="126"/>
                      <a:pt x="302" y="126"/>
                      <a:pt x="302" y="126"/>
                    </a:cubicBezTo>
                    <a:cubicBezTo>
                      <a:pt x="314" y="112"/>
                      <a:pt x="322" y="95"/>
                      <a:pt x="322" y="75"/>
                    </a:cubicBezTo>
                    <a:cubicBezTo>
                      <a:pt x="322" y="34"/>
                      <a:pt x="288" y="0"/>
                      <a:pt x="247" y="0"/>
                    </a:cubicBezTo>
                    <a:cubicBezTo>
                      <a:pt x="206" y="0"/>
                      <a:pt x="173" y="34"/>
                      <a:pt x="173" y="75"/>
                    </a:cubicBezTo>
                    <a:cubicBezTo>
                      <a:pt x="173" y="95"/>
                      <a:pt x="180" y="112"/>
                      <a:pt x="193" y="126"/>
                    </a:cubicBezTo>
                    <a:cubicBezTo>
                      <a:pt x="91" y="301"/>
                      <a:pt x="91" y="301"/>
                      <a:pt x="91" y="301"/>
                    </a:cubicBezTo>
                    <a:cubicBezTo>
                      <a:pt x="86" y="300"/>
                      <a:pt x="81" y="299"/>
                      <a:pt x="75" y="299"/>
                    </a:cubicBezTo>
                    <a:cubicBezTo>
                      <a:pt x="34" y="299"/>
                      <a:pt x="0" y="332"/>
                      <a:pt x="0" y="373"/>
                    </a:cubicBezTo>
                    <a:cubicBezTo>
                      <a:pt x="0" y="415"/>
                      <a:pt x="34" y="448"/>
                      <a:pt x="75" y="448"/>
                    </a:cubicBezTo>
                    <a:cubicBezTo>
                      <a:pt x="108" y="448"/>
                      <a:pt x="136" y="426"/>
                      <a:pt x="146" y="395"/>
                    </a:cubicBezTo>
                    <a:cubicBezTo>
                      <a:pt x="349" y="395"/>
                      <a:pt x="349" y="395"/>
                      <a:pt x="349" y="395"/>
                    </a:cubicBezTo>
                    <a:cubicBezTo>
                      <a:pt x="358" y="426"/>
                      <a:pt x="386" y="448"/>
                      <a:pt x="419" y="448"/>
                    </a:cubicBezTo>
                    <a:cubicBezTo>
                      <a:pt x="461" y="448"/>
                      <a:pt x="494" y="415"/>
                      <a:pt x="494" y="373"/>
                    </a:cubicBezTo>
                    <a:cubicBezTo>
                      <a:pt x="494" y="332"/>
                      <a:pt x="461" y="299"/>
                      <a:pt x="419" y="299"/>
                    </a:cubicBezTo>
                    <a:close/>
                    <a:moveTo>
                      <a:pt x="349" y="351"/>
                    </a:moveTo>
                    <a:cubicBezTo>
                      <a:pt x="146" y="351"/>
                      <a:pt x="146" y="351"/>
                      <a:pt x="146" y="351"/>
                    </a:cubicBezTo>
                    <a:cubicBezTo>
                      <a:pt x="142" y="341"/>
                      <a:pt x="137" y="331"/>
                      <a:pt x="130" y="323"/>
                    </a:cubicBezTo>
                    <a:cubicBezTo>
                      <a:pt x="231" y="148"/>
                      <a:pt x="231" y="148"/>
                      <a:pt x="231" y="148"/>
                    </a:cubicBezTo>
                    <a:cubicBezTo>
                      <a:pt x="236" y="149"/>
                      <a:pt x="242" y="150"/>
                      <a:pt x="247" y="150"/>
                    </a:cubicBezTo>
                    <a:cubicBezTo>
                      <a:pt x="253" y="150"/>
                      <a:pt x="258" y="149"/>
                      <a:pt x="264" y="148"/>
                    </a:cubicBezTo>
                    <a:cubicBezTo>
                      <a:pt x="365" y="323"/>
                      <a:pt x="365" y="323"/>
                      <a:pt x="365" y="323"/>
                    </a:cubicBezTo>
                    <a:cubicBezTo>
                      <a:pt x="358" y="331"/>
                      <a:pt x="352" y="341"/>
                      <a:pt x="349" y="351"/>
                    </a:cubicBezTo>
                    <a:close/>
                  </a:path>
                </a:pathLst>
              </a:custGeom>
              <a:solidFill>
                <a:sysClr val="window" lastClr="FFFFFF"/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cs typeface=""/>
                </a:endParaRPr>
              </a:p>
            </p:txBody>
          </p:sp>
        </p:grpSp>
        <p:sp>
          <p:nvSpPr>
            <p:cNvPr id="702" name="TextBox 701"/>
            <p:cNvSpPr txBox="1"/>
            <p:nvPr/>
          </p:nvSpPr>
          <p:spPr>
            <a:xfrm>
              <a:off x="3512757" y="2773280"/>
              <a:ext cx="1376825" cy="250064"/>
            </a:xfrm>
            <a:prstGeom prst="rect">
              <a:avLst/>
            </a:prstGeom>
            <a:noFill/>
          </p:spPr>
          <p:txBody>
            <a:bodyPr wrap="square" lIns="121917" tIns="60958" rIns="121917" bIns="60958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Franklin Gothic Book"/>
                  <a:cs typeface="Franklin Gothic Book"/>
                </a:rPr>
                <a:t>Visibility Services</a:t>
              </a:r>
            </a:p>
          </p:txBody>
        </p:sp>
      </p:grpSp>
      <p:grpSp>
        <p:nvGrpSpPr>
          <p:cNvPr id="1378" name="Group 1377"/>
          <p:cNvGrpSpPr/>
          <p:nvPr/>
        </p:nvGrpSpPr>
        <p:grpSpPr>
          <a:xfrm>
            <a:off x="5429866" y="3541375"/>
            <a:ext cx="1376825" cy="887923"/>
            <a:chOff x="3560849" y="2605232"/>
            <a:chExt cx="1376825" cy="887923"/>
          </a:xfrm>
        </p:grpSpPr>
        <p:sp>
          <p:nvSpPr>
            <p:cNvPr id="1379" name="Rounded Rectangle 1378"/>
            <p:cNvSpPr/>
            <p:nvPr/>
          </p:nvSpPr>
          <p:spPr bwMode="auto">
            <a:xfrm>
              <a:off x="3682554" y="2615006"/>
              <a:ext cx="1161947" cy="878149"/>
            </a:xfrm>
            <a:prstGeom prst="roundRect">
              <a:avLst>
                <a:gd name="adj" fmla="val 7065"/>
              </a:avLst>
            </a:prstGeom>
            <a:solidFill>
              <a:sysClr val="window" lastClr="FFFFFF"/>
            </a:solidFill>
            <a:ln w="9525" cap="flat" cmpd="sng" algn="ctr">
              <a:solidFill>
                <a:schemeClr val="bg1">
                  <a:lumMod val="50000"/>
                </a:schemeClr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121917" tIns="60958" rIns="121917" bIns="60958" numCol="1" rtlCol="0" anchor="t" anchorCtr="0" compatLnSpc="1">
              <a:prstTxWarp prst="textNoShape">
                <a:avLst/>
              </a:prstTxWarp>
            </a:bodyPr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3200" b="1" kern="0">
                <a:solidFill>
                  <a:sysClr val="windowText" lastClr="000000"/>
                </a:solidFill>
                <a:ea typeface="ＭＳ Ｐゴシック" pitchFamily="-12" charset="-128"/>
                <a:cs typeface="ＭＳ Ｐゴシック" pitchFamily="-12" charset="-128"/>
              </a:endParaRPr>
            </a:p>
          </p:txBody>
        </p:sp>
        <p:grpSp>
          <p:nvGrpSpPr>
            <p:cNvPr id="1380" name="Group 1379"/>
            <p:cNvGrpSpPr/>
            <p:nvPr/>
          </p:nvGrpSpPr>
          <p:grpSpPr>
            <a:xfrm>
              <a:off x="3560849" y="2605232"/>
              <a:ext cx="1376825" cy="829021"/>
              <a:chOff x="4587685" y="3159141"/>
              <a:chExt cx="1376825" cy="829021"/>
            </a:xfrm>
          </p:grpSpPr>
          <p:sp>
            <p:nvSpPr>
              <p:cNvPr id="1381" name="TextBox 1380"/>
              <p:cNvSpPr txBox="1"/>
              <p:nvPr/>
            </p:nvSpPr>
            <p:spPr>
              <a:xfrm>
                <a:off x="4587685" y="3159141"/>
                <a:ext cx="1376825" cy="250064"/>
              </a:xfrm>
              <a:prstGeom prst="rect">
                <a:avLst/>
              </a:prstGeom>
              <a:noFill/>
            </p:spPr>
            <p:txBody>
              <a:bodyPr wrap="square" lIns="121917" tIns="60958" rIns="121917" bIns="60958" rtlCol="0">
                <a:spAutoFit/>
              </a:bodyPr>
              <a:lstStyle/>
              <a:p>
                <a:pPr algn="ctr">
                  <a:lnSpc>
                    <a:spcPct val="90000"/>
                  </a:lnSpc>
                </a:pPr>
                <a:r>
                  <a:rPr lang="en-US" sz="900" b="0" dirty="0" smtClean="0">
                    <a:latin typeface="Franklin Gothic Book"/>
                    <a:cs typeface="Franklin Gothic Book"/>
                  </a:rPr>
                  <a:t>Information Services</a:t>
                </a:r>
                <a:endParaRPr lang="en-US" sz="900" b="0" dirty="0">
                  <a:latin typeface="Franklin Gothic Book"/>
                  <a:cs typeface="Franklin Gothic Book"/>
                </a:endParaRPr>
              </a:p>
            </p:txBody>
          </p:sp>
          <p:grpSp>
            <p:nvGrpSpPr>
              <p:cNvPr id="1382" name="Group 1381"/>
              <p:cNvGrpSpPr/>
              <p:nvPr/>
            </p:nvGrpSpPr>
            <p:grpSpPr>
              <a:xfrm>
                <a:off x="4841618" y="3432652"/>
                <a:ext cx="935142" cy="555510"/>
                <a:chOff x="3436473" y="2986823"/>
                <a:chExt cx="935142" cy="555510"/>
              </a:xfrm>
            </p:grpSpPr>
            <p:grpSp>
              <p:nvGrpSpPr>
                <p:cNvPr id="1383" name="Group 1382"/>
                <p:cNvGrpSpPr/>
                <p:nvPr/>
              </p:nvGrpSpPr>
              <p:grpSpPr>
                <a:xfrm>
                  <a:off x="3446205" y="2986823"/>
                  <a:ext cx="309857" cy="268010"/>
                  <a:chOff x="5310724" y="2352924"/>
                  <a:chExt cx="398754" cy="374816"/>
                </a:xfrm>
              </p:grpSpPr>
              <p:sp>
                <p:nvSpPr>
                  <p:cNvPr id="1524" name="Rounded Rectangle 1523"/>
                  <p:cNvSpPr/>
                  <p:nvPr/>
                </p:nvSpPr>
                <p:spPr>
                  <a:xfrm>
                    <a:off x="5351561" y="2386601"/>
                    <a:ext cx="308105" cy="310923"/>
                  </a:xfrm>
                  <a:prstGeom prst="roundRect">
                    <a:avLst/>
                  </a:prstGeom>
                  <a:solidFill>
                    <a:srgbClr val="948A54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grpSp>
                <p:nvGrpSpPr>
                  <p:cNvPr id="1525" name="Group 1524"/>
                  <p:cNvGrpSpPr/>
                  <p:nvPr/>
                </p:nvGrpSpPr>
                <p:grpSpPr>
                  <a:xfrm>
                    <a:off x="5310724" y="2352924"/>
                    <a:ext cx="398754" cy="374816"/>
                    <a:chOff x="5310724" y="2352924"/>
                    <a:chExt cx="398754" cy="374816"/>
                  </a:xfrm>
                </p:grpSpPr>
                <p:grpSp>
                  <p:nvGrpSpPr>
                    <p:cNvPr id="1526" name="Group 1525"/>
                    <p:cNvGrpSpPr/>
                    <p:nvPr/>
                  </p:nvGrpSpPr>
                  <p:grpSpPr>
                    <a:xfrm rot="5400000">
                      <a:off x="5322693" y="2340955"/>
                      <a:ext cx="374816" cy="398754"/>
                      <a:chOff x="4471988" y="1985963"/>
                      <a:chExt cx="527051" cy="517525"/>
                    </a:xfrm>
                  </p:grpSpPr>
                  <p:sp>
                    <p:nvSpPr>
                      <p:cNvPr id="1528" name="Freeform 13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4471988" y="2117725"/>
                        <a:ext cx="25400" cy="50800"/>
                      </a:xfrm>
                      <a:custGeom>
                        <a:avLst/>
                        <a:gdLst>
                          <a:gd name="T0" fmla="*/ 14 w 29"/>
                          <a:gd name="T1" fmla="*/ 57 h 57"/>
                          <a:gd name="T2" fmla="*/ 29 w 29"/>
                          <a:gd name="T3" fmla="*/ 43 h 57"/>
                          <a:gd name="T4" fmla="*/ 29 w 29"/>
                          <a:gd name="T5" fmla="*/ 14 h 57"/>
                          <a:gd name="T6" fmla="*/ 14 w 29"/>
                          <a:gd name="T7" fmla="*/ 0 h 57"/>
                          <a:gd name="T8" fmla="*/ 0 w 29"/>
                          <a:gd name="T9" fmla="*/ 14 h 57"/>
                          <a:gd name="T10" fmla="*/ 0 w 29"/>
                          <a:gd name="T11" fmla="*/ 43 h 57"/>
                          <a:gd name="T12" fmla="*/ 14 w 29"/>
                          <a:gd name="T13" fmla="*/ 57 h 57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</a:cxnLst>
                        <a:rect l="0" t="0" r="r" b="b"/>
                        <a:pathLst>
                          <a:path w="29" h="57">
                            <a:moveTo>
                              <a:pt x="14" y="57"/>
                            </a:moveTo>
                            <a:cubicBezTo>
                              <a:pt x="22" y="57"/>
                              <a:pt x="29" y="51"/>
                              <a:pt x="29" y="43"/>
                            </a:cubicBezTo>
                            <a:cubicBezTo>
                              <a:pt x="29" y="14"/>
                              <a:pt x="29" y="14"/>
                              <a:pt x="29" y="14"/>
                            </a:cubicBezTo>
                            <a:cubicBezTo>
                              <a:pt x="29" y="6"/>
                              <a:pt x="22" y="0"/>
                              <a:pt x="14" y="0"/>
                            </a:cubicBezTo>
                            <a:cubicBezTo>
                              <a:pt x="7" y="0"/>
                              <a:pt x="0" y="6"/>
                              <a:pt x="0" y="14"/>
                            </a:cubicBezTo>
                            <a:cubicBezTo>
                              <a:pt x="0" y="43"/>
                              <a:pt x="0" y="43"/>
                              <a:pt x="0" y="43"/>
                            </a:cubicBezTo>
                            <a:cubicBezTo>
                              <a:pt x="0" y="51"/>
                              <a:pt x="7" y="57"/>
                              <a:pt x="14" y="57"/>
                            </a:cubicBezTo>
                            <a:close/>
                          </a:path>
                        </a:pathLst>
                      </a:custGeom>
                      <a:solidFill>
                        <a:srgbClr val="4D4D4F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=""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endParaRPr lang="en-US" sz="1200" dirty="0"/>
                      </a:p>
                    </p:txBody>
                  </p:sp>
                  <p:sp>
                    <p:nvSpPr>
                      <p:cNvPr id="1529" name="Freeform 14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4471988" y="2271713"/>
                        <a:ext cx="25400" cy="52388"/>
                      </a:xfrm>
                      <a:custGeom>
                        <a:avLst/>
                        <a:gdLst>
                          <a:gd name="T0" fmla="*/ 14 w 29"/>
                          <a:gd name="T1" fmla="*/ 58 h 58"/>
                          <a:gd name="T2" fmla="*/ 29 w 29"/>
                          <a:gd name="T3" fmla="*/ 43 h 58"/>
                          <a:gd name="T4" fmla="*/ 29 w 29"/>
                          <a:gd name="T5" fmla="*/ 15 h 58"/>
                          <a:gd name="T6" fmla="*/ 14 w 29"/>
                          <a:gd name="T7" fmla="*/ 0 h 58"/>
                          <a:gd name="T8" fmla="*/ 0 w 29"/>
                          <a:gd name="T9" fmla="*/ 15 h 58"/>
                          <a:gd name="T10" fmla="*/ 0 w 29"/>
                          <a:gd name="T11" fmla="*/ 43 h 58"/>
                          <a:gd name="T12" fmla="*/ 14 w 29"/>
                          <a:gd name="T13" fmla="*/ 58 h 58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</a:cxnLst>
                        <a:rect l="0" t="0" r="r" b="b"/>
                        <a:pathLst>
                          <a:path w="29" h="58">
                            <a:moveTo>
                              <a:pt x="14" y="58"/>
                            </a:moveTo>
                            <a:cubicBezTo>
                              <a:pt x="22" y="58"/>
                              <a:pt x="29" y="51"/>
                              <a:pt x="29" y="43"/>
                            </a:cubicBezTo>
                            <a:cubicBezTo>
                              <a:pt x="29" y="15"/>
                              <a:pt x="29" y="15"/>
                              <a:pt x="29" y="15"/>
                            </a:cubicBezTo>
                            <a:cubicBezTo>
                              <a:pt x="29" y="7"/>
                              <a:pt x="22" y="0"/>
                              <a:pt x="14" y="0"/>
                            </a:cubicBezTo>
                            <a:cubicBezTo>
                              <a:pt x="7" y="0"/>
                              <a:pt x="0" y="7"/>
                              <a:pt x="0" y="15"/>
                            </a:cubicBezTo>
                            <a:cubicBezTo>
                              <a:pt x="0" y="43"/>
                              <a:pt x="0" y="43"/>
                              <a:pt x="0" y="43"/>
                            </a:cubicBezTo>
                            <a:cubicBezTo>
                              <a:pt x="0" y="51"/>
                              <a:pt x="7" y="58"/>
                              <a:pt x="14" y="58"/>
                            </a:cubicBezTo>
                            <a:close/>
                          </a:path>
                        </a:pathLst>
                      </a:custGeom>
                      <a:solidFill>
                        <a:srgbClr val="4D4D4F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=""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endParaRPr lang="en-US" sz="1200" dirty="0"/>
                      </a:p>
                    </p:txBody>
                  </p:sp>
                  <p:sp>
                    <p:nvSpPr>
                      <p:cNvPr id="1530" name="Freeform 15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4487863" y="2422525"/>
                        <a:ext cx="44450" cy="47625"/>
                      </a:xfrm>
                      <a:custGeom>
                        <a:avLst/>
                        <a:gdLst>
                          <a:gd name="T0" fmla="*/ 29 w 50"/>
                          <a:gd name="T1" fmla="*/ 8 h 53"/>
                          <a:gd name="T2" fmla="*/ 9 w 50"/>
                          <a:gd name="T3" fmla="*/ 4 h 53"/>
                          <a:gd name="T4" fmla="*/ 4 w 50"/>
                          <a:gd name="T5" fmla="*/ 24 h 53"/>
                          <a:gd name="T6" fmla="*/ 24 w 50"/>
                          <a:gd name="T7" fmla="*/ 49 h 53"/>
                          <a:gd name="T8" fmla="*/ 34 w 50"/>
                          <a:gd name="T9" fmla="*/ 53 h 53"/>
                          <a:gd name="T10" fmla="*/ 45 w 50"/>
                          <a:gd name="T11" fmla="*/ 49 h 53"/>
                          <a:gd name="T12" fmla="*/ 45 w 50"/>
                          <a:gd name="T13" fmla="*/ 28 h 53"/>
                          <a:gd name="T14" fmla="*/ 29 w 50"/>
                          <a:gd name="T15" fmla="*/ 8 h 53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  <a:cxn ang="0">
                            <a:pos x="T14" y="T15"/>
                          </a:cxn>
                        </a:cxnLst>
                        <a:rect l="0" t="0" r="r" b="b"/>
                        <a:pathLst>
                          <a:path w="50" h="53">
                            <a:moveTo>
                              <a:pt x="29" y="8"/>
                            </a:moveTo>
                            <a:cubicBezTo>
                              <a:pt x="24" y="2"/>
                              <a:pt x="15" y="0"/>
                              <a:pt x="9" y="4"/>
                            </a:cubicBezTo>
                            <a:cubicBezTo>
                              <a:pt x="2" y="8"/>
                              <a:pt x="0" y="17"/>
                              <a:pt x="4" y="24"/>
                            </a:cubicBezTo>
                            <a:cubicBezTo>
                              <a:pt x="10" y="33"/>
                              <a:pt x="17" y="41"/>
                              <a:pt x="24" y="49"/>
                            </a:cubicBezTo>
                            <a:cubicBezTo>
                              <a:pt x="27" y="51"/>
                              <a:pt x="31" y="53"/>
                              <a:pt x="34" y="53"/>
                            </a:cubicBezTo>
                            <a:cubicBezTo>
                              <a:pt x="38" y="53"/>
                              <a:pt x="42" y="51"/>
                              <a:pt x="45" y="49"/>
                            </a:cubicBezTo>
                            <a:cubicBezTo>
                              <a:pt x="50" y="43"/>
                              <a:pt x="50" y="34"/>
                              <a:pt x="45" y="28"/>
                            </a:cubicBezTo>
                            <a:cubicBezTo>
                              <a:pt x="39" y="22"/>
                              <a:pt x="33" y="15"/>
                              <a:pt x="29" y="8"/>
                            </a:cubicBezTo>
                            <a:close/>
                          </a:path>
                        </a:pathLst>
                      </a:custGeom>
                      <a:solidFill>
                        <a:srgbClr val="4D4D4F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=""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endParaRPr lang="en-US" sz="1200" dirty="0"/>
                      </a:p>
                    </p:txBody>
                  </p:sp>
                  <p:sp>
                    <p:nvSpPr>
                      <p:cNvPr id="1531" name="Freeform 16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4471988" y="2193925"/>
                        <a:ext cx="25400" cy="52388"/>
                      </a:xfrm>
                      <a:custGeom>
                        <a:avLst/>
                        <a:gdLst>
                          <a:gd name="T0" fmla="*/ 14 w 29"/>
                          <a:gd name="T1" fmla="*/ 58 h 58"/>
                          <a:gd name="T2" fmla="*/ 29 w 29"/>
                          <a:gd name="T3" fmla="*/ 43 h 58"/>
                          <a:gd name="T4" fmla="*/ 29 w 29"/>
                          <a:gd name="T5" fmla="*/ 14 h 58"/>
                          <a:gd name="T6" fmla="*/ 14 w 29"/>
                          <a:gd name="T7" fmla="*/ 0 h 58"/>
                          <a:gd name="T8" fmla="*/ 0 w 29"/>
                          <a:gd name="T9" fmla="*/ 14 h 58"/>
                          <a:gd name="T10" fmla="*/ 0 w 29"/>
                          <a:gd name="T11" fmla="*/ 43 h 58"/>
                          <a:gd name="T12" fmla="*/ 14 w 29"/>
                          <a:gd name="T13" fmla="*/ 58 h 58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</a:cxnLst>
                        <a:rect l="0" t="0" r="r" b="b"/>
                        <a:pathLst>
                          <a:path w="29" h="58">
                            <a:moveTo>
                              <a:pt x="14" y="58"/>
                            </a:moveTo>
                            <a:cubicBezTo>
                              <a:pt x="22" y="58"/>
                              <a:pt x="29" y="51"/>
                              <a:pt x="29" y="43"/>
                            </a:cubicBezTo>
                            <a:cubicBezTo>
                              <a:pt x="29" y="14"/>
                              <a:pt x="29" y="14"/>
                              <a:pt x="29" y="14"/>
                            </a:cubicBezTo>
                            <a:cubicBezTo>
                              <a:pt x="29" y="6"/>
                              <a:pt x="22" y="0"/>
                              <a:pt x="14" y="0"/>
                            </a:cubicBezTo>
                            <a:cubicBezTo>
                              <a:pt x="7" y="0"/>
                              <a:pt x="0" y="6"/>
                              <a:pt x="0" y="14"/>
                            </a:cubicBezTo>
                            <a:cubicBezTo>
                              <a:pt x="0" y="43"/>
                              <a:pt x="0" y="43"/>
                              <a:pt x="0" y="43"/>
                            </a:cubicBezTo>
                            <a:cubicBezTo>
                              <a:pt x="0" y="51"/>
                              <a:pt x="7" y="58"/>
                              <a:pt x="14" y="58"/>
                            </a:cubicBezTo>
                            <a:close/>
                          </a:path>
                        </a:pathLst>
                      </a:custGeom>
                      <a:solidFill>
                        <a:srgbClr val="4D4D4F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=""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endParaRPr lang="en-US" sz="1200" dirty="0"/>
                      </a:p>
                    </p:txBody>
                  </p:sp>
                  <p:sp>
                    <p:nvSpPr>
                      <p:cNvPr id="1532" name="Freeform 17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4830763" y="1985963"/>
                        <a:ext cx="50800" cy="26988"/>
                      </a:xfrm>
                      <a:custGeom>
                        <a:avLst/>
                        <a:gdLst>
                          <a:gd name="T0" fmla="*/ 15 w 57"/>
                          <a:gd name="T1" fmla="*/ 29 h 29"/>
                          <a:gd name="T2" fmla="*/ 44 w 57"/>
                          <a:gd name="T3" fmla="*/ 29 h 29"/>
                          <a:gd name="T4" fmla="*/ 57 w 57"/>
                          <a:gd name="T5" fmla="*/ 15 h 29"/>
                          <a:gd name="T6" fmla="*/ 43 w 57"/>
                          <a:gd name="T7" fmla="*/ 0 h 29"/>
                          <a:gd name="T8" fmla="*/ 15 w 57"/>
                          <a:gd name="T9" fmla="*/ 0 h 29"/>
                          <a:gd name="T10" fmla="*/ 0 w 57"/>
                          <a:gd name="T11" fmla="*/ 15 h 29"/>
                          <a:gd name="T12" fmla="*/ 15 w 57"/>
                          <a:gd name="T13" fmla="*/ 29 h 29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</a:cxnLst>
                        <a:rect l="0" t="0" r="r" b="b"/>
                        <a:pathLst>
                          <a:path w="57" h="29">
                            <a:moveTo>
                              <a:pt x="15" y="29"/>
                            </a:moveTo>
                            <a:cubicBezTo>
                              <a:pt x="44" y="29"/>
                              <a:pt x="44" y="29"/>
                              <a:pt x="44" y="29"/>
                            </a:cubicBezTo>
                            <a:cubicBezTo>
                              <a:pt x="51" y="29"/>
                              <a:pt x="57" y="23"/>
                              <a:pt x="57" y="15"/>
                            </a:cubicBezTo>
                            <a:cubicBezTo>
                              <a:pt x="57" y="7"/>
                              <a:pt x="50" y="0"/>
                              <a:pt x="43" y="0"/>
                            </a:cubicBezTo>
                            <a:cubicBezTo>
                              <a:pt x="15" y="0"/>
                              <a:pt x="15" y="0"/>
                              <a:pt x="15" y="0"/>
                            </a:cubicBezTo>
                            <a:cubicBezTo>
                              <a:pt x="7" y="0"/>
                              <a:pt x="0" y="7"/>
                              <a:pt x="0" y="15"/>
                            </a:cubicBezTo>
                            <a:cubicBezTo>
                              <a:pt x="0" y="23"/>
                              <a:pt x="7" y="29"/>
                              <a:pt x="15" y="29"/>
                            </a:cubicBezTo>
                            <a:close/>
                          </a:path>
                        </a:pathLst>
                      </a:custGeom>
                      <a:solidFill>
                        <a:srgbClr val="4D4D4F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=""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endParaRPr lang="en-US" sz="1200" dirty="0"/>
                      </a:p>
                    </p:txBody>
                  </p:sp>
                  <p:sp>
                    <p:nvSpPr>
                      <p:cNvPr id="1533" name="Freeform 18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4905376" y="1997075"/>
                        <a:ext cx="50800" cy="41275"/>
                      </a:xfrm>
                      <a:custGeom>
                        <a:avLst/>
                        <a:gdLst>
                          <a:gd name="T0" fmla="*/ 10 w 56"/>
                          <a:gd name="T1" fmla="*/ 30 h 47"/>
                          <a:gd name="T2" fmla="*/ 31 w 56"/>
                          <a:gd name="T3" fmla="*/ 43 h 47"/>
                          <a:gd name="T4" fmla="*/ 40 w 56"/>
                          <a:gd name="T5" fmla="*/ 47 h 47"/>
                          <a:gd name="T6" fmla="*/ 51 w 56"/>
                          <a:gd name="T7" fmla="*/ 41 h 47"/>
                          <a:gd name="T8" fmla="*/ 49 w 56"/>
                          <a:gd name="T9" fmla="*/ 21 h 47"/>
                          <a:gd name="T10" fmla="*/ 22 w 56"/>
                          <a:gd name="T11" fmla="*/ 4 h 47"/>
                          <a:gd name="T12" fmla="*/ 3 w 56"/>
                          <a:gd name="T13" fmla="*/ 11 h 47"/>
                          <a:gd name="T14" fmla="*/ 10 w 56"/>
                          <a:gd name="T15" fmla="*/ 30 h 47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  <a:cxn ang="0">
                            <a:pos x="T14" y="T15"/>
                          </a:cxn>
                        </a:cxnLst>
                        <a:rect l="0" t="0" r="r" b="b"/>
                        <a:pathLst>
                          <a:path w="56" h="47">
                            <a:moveTo>
                              <a:pt x="10" y="30"/>
                            </a:moveTo>
                            <a:cubicBezTo>
                              <a:pt x="17" y="33"/>
                              <a:pt x="25" y="38"/>
                              <a:pt x="31" y="43"/>
                            </a:cubicBezTo>
                            <a:cubicBezTo>
                              <a:pt x="34" y="46"/>
                              <a:pt x="37" y="47"/>
                              <a:pt x="40" y="47"/>
                            </a:cubicBezTo>
                            <a:cubicBezTo>
                              <a:pt x="44" y="47"/>
                              <a:pt x="49" y="45"/>
                              <a:pt x="51" y="41"/>
                            </a:cubicBezTo>
                            <a:cubicBezTo>
                              <a:pt x="56" y="35"/>
                              <a:pt x="55" y="26"/>
                              <a:pt x="49" y="21"/>
                            </a:cubicBezTo>
                            <a:cubicBezTo>
                              <a:pt x="41" y="14"/>
                              <a:pt x="32" y="9"/>
                              <a:pt x="22" y="4"/>
                            </a:cubicBezTo>
                            <a:cubicBezTo>
                              <a:pt x="15" y="0"/>
                              <a:pt x="7" y="3"/>
                              <a:pt x="3" y="11"/>
                            </a:cubicBezTo>
                            <a:cubicBezTo>
                              <a:pt x="0" y="18"/>
                              <a:pt x="3" y="26"/>
                              <a:pt x="10" y="30"/>
                            </a:cubicBezTo>
                            <a:close/>
                          </a:path>
                        </a:pathLst>
                      </a:custGeom>
                      <a:solidFill>
                        <a:srgbClr val="4D4D4F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=""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endParaRPr lang="en-US" sz="1200" dirty="0"/>
                      </a:p>
                    </p:txBody>
                  </p:sp>
                  <p:sp>
                    <p:nvSpPr>
                      <p:cNvPr id="1534" name="Freeform 19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4476751" y="2039938"/>
                        <a:ext cx="39688" cy="52388"/>
                      </a:xfrm>
                      <a:custGeom>
                        <a:avLst/>
                        <a:gdLst>
                          <a:gd name="T0" fmla="*/ 12 w 45"/>
                          <a:gd name="T1" fmla="*/ 56 h 57"/>
                          <a:gd name="T2" fmla="*/ 16 w 45"/>
                          <a:gd name="T3" fmla="*/ 57 h 57"/>
                          <a:gd name="T4" fmla="*/ 30 w 45"/>
                          <a:gd name="T5" fmla="*/ 47 h 57"/>
                          <a:gd name="T6" fmla="*/ 41 w 45"/>
                          <a:gd name="T7" fmla="*/ 24 h 57"/>
                          <a:gd name="T8" fmla="*/ 36 w 45"/>
                          <a:gd name="T9" fmla="*/ 4 h 57"/>
                          <a:gd name="T10" fmla="*/ 16 w 45"/>
                          <a:gd name="T11" fmla="*/ 9 h 57"/>
                          <a:gd name="T12" fmla="*/ 3 w 45"/>
                          <a:gd name="T13" fmla="*/ 38 h 57"/>
                          <a:gd name="T14" fmla="*/ 12 w 45"/>
                          <a:gd name="T15" fmla="*/ 56 h 57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  <a:cxn ang="0">
                            <a:pos x="T14" y="T15"/>
                          </a:cxn>
                        </a:cxnLst>
                        <a:rect l="0" t="0" r="r" b="b"/>
                        <a:pathLst>
                          <a:path w="45" h="57">
                            <a:moveTo>
                              <a:pt x="12" y="56"/>
                            </a:moveTo>
                            <a:cubicBezTo>
                              <a:pt x="13" y="57"/>
                              <a:pt x="15" y="57"/>
                              <a:pt x="16" y="57"/>
                            </a:cubicBezTo>
                            <a:cubicBezTo>
                              <a:pt x="22" y="57"/>
                              <a:pt x="28" y="53"/>
                              <a:pt x="30" y="47"/>
                            </a:cubicBezTo>
                            <a:cubicBezTo>
                              <a:pt x="33" y="39"/>
                              <a:pt x="36" y="32"/>
                              <a:pt x="41" y="24"/>
                            </a:cubicBezTo>
                            <a:cubicBezTo>
                              <a:pt x="45" y="17"/>
                              <a:pt x="43" y="9"/>
                              <a:pt x="36" y="4"/>
                            </a:cubicBezTo>
                            <a:cubicBezTo>
                              <a:pt x="29" y="0"/>
                              <a:pt x="21" y="2"/>
                              <a:pt x="16" y="9"/>
                            </a:cubicBezTo>
                            <a:cubicBezTo>
                              <a:pt x="11" y="18"/>
                              <a:pt x="6" y="28"/>
                              <a:pt x="3" y="38"/>
                            </a:cubicBezTo>
                            <a:cubicBezTo>
                              <a:pt x="0" y="45"/>
                              <a:pt x="4" y="54"/>
                              <a:pt x="12" y="56"/>
                            </a:cubicBezTo>
                            <a:close/>
                          </a:path>
                        </a:pathLst>
                      </a:custGeom>
                      <a:solidFill>
                        <a:srgbClr val="4D4D4F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=""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endParaRPr lang="en-US" sz="1200" dirty="0"/>
                      </a:p>
                    </p:txBody>
                  </p:sp>
                  <p:sp>
                    <p:nvSpPr>
                      <p:cNvPr id="1535" name="Freeform 20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4522788" y="1992313"/>
                        <a:ext cx="52388" cy="39688"/>
                      </a:xfrm>
                      <a:custGeom>
                        <a:avLst/>
                        <a:gdLst>
                          <a:gd name="T0" fmla="*/ 55 w 58"/>
                          <a:gd name="T1" fmla="*/ 11 h 43"/>
                          <a:gd name="T2" fmla="*/ 37 w 58"/>
                          <a:gd name="T3" fmla="*/ 2 h 43"/>
                          <a:gd name="T4" fmla="*/ 9 w 58"/>
                          <a:gd name="T5" fmla="*/ 17 h 43"/>
                          <a:gd name="T6" fmla="*/ 4 w 58"/>
                          <a:gd name="T7" fmla="*/ 37 h 43"/>
                          <a:gd name="T8" fmla="*/ 16 w 58"/>
                          <a:gd name="T9" fmla="*/ 43 h 43"/>
                          <a:gd name="T10" fmla="*/ 24 w 58"/>
                          <a:gd name="T11" fmla="*/ 41 h 43"/>
                          <a:gd name="T12" fmla="*/ 47 w 58"/>
                          <a:gd name="T13" fmla="*/ 29 h 43"/>
                          <a:gd name="T14" fmla="*/ 55 w 58"/>
                          <a:gd name="T15" fmla="*/ 11 h 43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  <a:cxn ang="0">
                            <a:pos x="T14" y="T15"/>
                          </a:cxn>
                        </a:cxnLst>
                        <a:rect l="0" t="0" r="r" b="b"/>
                        <a:pathLst>
                          <a:path w="58" h="43">
                            <a:moveTo>
                              <a:pt x="55" y="11"/>
                            </a:moveTo>
                            <a:cubicBezTo>
                              <a:pt x="53" y="3"/>
                              <a:pt x="44" y="0"/>
                              <a:pt x="37" y="2"/>
                            </a:cubicBezTo>
                            <a:cubicBezTo>
                              <a:pt x="27" y="6"/>
                              <a:pt x="17" y="11"/>
                              <a:pt x="9" y="17"/>
                            </a:cubicBezTo>
                            <a:cubicBezTo>
                              <a:pt x="2" y="21"/>
                              <a:pt x="0" y="30"/>
                              <a:pt x="4" y="37"/>
                            </a:cubicBezTo>
                            <a:cubicBezTo>
                              <a:pt x="7" y="41"/>
                              <a:pt x="12" y="43"/>
                              <a:pt x="16" y="43"/>
                            </a:cubicBezTo>
                            <a:cubicBezTo>
                              <a:pt x="19" y="43"/>
                              <a:pt x="22" y="43"/>
                              <a:pt x="24" y="41"/>
                            </a:cubicBezTo>
                            <a:cubicBezTo>
                              <a:pt x="31" y="36"/>
                              <a:pt x="39" y="32"/>
                              <a:pt x="47" y="29"/>
                            </a:cubicBezTo>
                            <a:cubicBezTo>
                              <a:pt x="54" y="27"/>
                              <a:pt x="58" y="18"/>
                              <a:pt x="55" y="11"/>
                            </a:cubicBezTo>
                            <a:close/>
                          </a:path>
                        </a:pathLst>
                      </a:custGeom>
                      <a:solidFill>
                        <a:srgbClr val="4D4D4F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=""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endParaRPr lang="en-US" sz="1200" dirty="0"/>
                      </a:p>
                    </p:txBody>
                  </p:sp>
                  <p:sp>
                    <p:nvSpPr>
                      <p:cNvPr id="1536" name="Freeform 21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4959351" y="2051050"/>
                        <a:ext cx="36513" cy="52388"/>
                      </a:xfrm>
                      <a:custGeom>
                        <a:avLst/>
                        <a:gdLst>
                          <a:gd name="T0" fmla="*/ 13 w 42"/>
                          <a:gd name="T1" fmla="*/ 47 h 58"/>
                          <a:gd name="T2" fmla="*/ 27 w 42"/>
                          <a:gd name="T3" fmla="*/ 58 h 58"/>
                          <a:gd name="T4" fmla="*/ 30 w 42"/>
                          <a:gd name="T5" fmla="*/ 57 h 58"/>
                          <a:gd name="T6" fmla="*/ 41 w 42"/>
                          <a:gd name="T7" fmla="*/ 40 h 58"/>
                          <a:gd name="T8" fmla="*/ 30 w 42"/>
                          <a:gd name="T9" fmla="*/ 10 h 58"/>
                          <a:gd name="T10" fmla="*/ 11 w 42"/>
                          <a:gd name="T11" fmla="*/ 4 h 58"/>
                          <a:gd name="T12" fmla="*/ 4 w 42"/>
                          <a:gd name="T13" fmla="*/ 23 h 58"/>
                          <a:gd name="T14" fmla="*/ 13 w 42"/>
                          <a:gd name="T15" fmla="*/ 47 h 58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  <a:cxn ang="0">
                            <a:pos x="T14" y="T15"/>
                          </a:cxn>
                        </a:cxnLst>
                        <a:rect l="0" t="0" r="r" b="b"/>
                        <a:pathLst>
                          <a:path w="42" h="58">
                            <a:moveTo>
                              <a:pt x="13" y="47"/>
                            </a:moveTo>
                            <a:cubicBezTo>
                              <a:pt x="14" y="53"/>
                              <a:pt x="20" y="58"/>
                              <a:pt x="27" y="58"/>
                            </a:cubicBezTo>
                            <a:cubicBezTo>
                              <a:pt x="28" y="58"/>
                              <a:pt x="29" y="58"/>
                              <a:pt x="30" y="57"/>
                            </a:cubicBezTo>
                            <a:cubicBezTo>
                              <a:pt x="38" y="56"/>
                              <a:pt x="42" y="48"/>
                              <a:pt x="41" y="40"/>
                            </a:cubicBezTo>
                            <a:cubicBezTo>
                              <a:pt x="38" y="30"/>
                              <a:pt x="35" y="20"/>
                              <a:pt x="30" y="10"/>
                            </a:cubicBezTo>
                            <a:cubicBezTo>
                              <a:pt x="26" y="3"/>
                              <a:pt x="18" y="0"/>
                              <a:pt x="11" y="4"/>
                            </a:cubicBezTo>
                            <a:cubicBezTo>
                              <a:pt x="3" y="7"/>
                              <a:pt x="0" y="16"/>
                              <a:pt x="4" y="23"/>
                            </a:cubicBezTo>
                            <a:cubicBezTo>
                              <a:pt x="8" y="31"/>
                              <a:pt x="11" y="39"/>
                              <a:pt x="13" y="47"/>
                            </a:cubicBezTo>
                            <a:close/>
                          </a:path>
                        </a:pathLst>
                      </a:custGeom>
                      <a:solidFill>
                        <a:srgbClr val="4D4D4F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=""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endParaRPr lang="en-US" sz="1200" dirty="0"/>
                      </a:p>
                    </p:txBody>
                  </p:sp>
                  <p:sp>
                    <p:nvSpPr>
                      <p:cNvPr id="1537" name="Freeform 22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4598988" y="1985963"/>
                        <a:ext cx="52388" cy="26988"/>
                      </a:xfrm>
                      <a:custGeom>
                        <a:avLst/>
                        <a:gdLst>
                          <a:gd name="T0" fmla="*/ 14 w 58"/>
                          <a:gd name="T1" fmla="*/ 29 h 29"/>
                          <a:gd name="T2" fmla="*/ 43 w 58"/>
                          <a:gd name="T3" fmla="*/ 29 h 29"/>
                          <a:gd name="T4" fmla="*/ 58 w 58"/>
                          <a:gd name="T5" fmla="*/ 15 h 29"/>
                          <a:gd name="T6" fmla="*/ 43 w 58"/>
                          <a:gd name="T7" fmla="*/ 0 h 29"/>
                          <a:gd name="T8" fmla="*/ 14 w 58"/>
                          <a:gd name="T9" fmla="*/ 0 h 29"/>
                          <a:gd name="T10" fmla="*/ 0 w 58"/>
                          <a:gd name="T11" fmla="*/ 15 h 29"/>
                          <a:gd name="T12" fmla="*/ 14 w 58"/>
                          <a:gd name="T13" fmla="*/ 29 h 29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</a:cxnLst>
                        <a:rect l="0" t="0" r="r" b="b"/>
                        <a:pathLst>
                          <a:path w="58" h="29">
                            <a:moveTo>
                              <a:pt x="14" y="29"/>
                            </a:moveTo>
                            <a:cubicBezTo>
                              <a:pt x="43" y="29"/>
                              <a:pt x="43" y="29"/>
                              <a:pt x="43" y="29"/>
                            </a:cubicBezTo>
                            <a:cubicBezTo>
                              <a:pt x="51" y="29"/>
                              <a:pt x="58" y="23"/>
                              <a:pt x="58" y="15"/>
                            </a:cubicBezTo>
                            <a:cubicBezTo>
                              <a:pt x="58" y="7"/>
                              <a:pt x="51" y="0"/>
                              <a:pt x="43" y="0"/>
                            </a:cubicBezTo>
                            <a:cubicBezTo>
                              <a:pt x="14" y="0"/>
                              <a:pt x="14" y="0"/>
                              <a:pt x="14" y="0"/>
                            </a:cubicBezTo>
                            <a:cubicBezTo>
                              <a:pt x="6" y="0"/>
                              <a:pt x="0" y="7"/>
                              <a:pt x="0" y="15"/>
                            </a:cubicBezTo>
                            <a:cubicBezTo>
                              <a:pt x="0" y="23"/>
                              <a:pt x="6" y="29"/>
                              <a:pt x="14" y="29"/>
                            </a:cubicBezTo>
                            <a:close/>
                          </a:path>
                        </a:pathLst>
                      </a:custGeom>
                      <a:solidFill>
                        <a:srgbClr val="4D4D4F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=""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endParaRPr lang="en-US" sz="1200" dirty="0"/>
                      </a:p>
                    </p:txBody>
                  </p:sp>
                  <p:sp>
                    <p:nvSpPr>
                      <p:cNvPr id="1538" name="Freeform 23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4676776" y="1985963"/>
                        <a:ext cx="50800" cy="26988"/>
                      </a:xfrm>
                      <a:custGeom>
                        <a:avLst/>
                        <a:gdLst>
                          <a:gd name="T0" fmla="*/ 15 w 58"/>
                          <a:gd name="T1" fmla="*/ 29 h 29"/>
                          <a:gd name="T2" fmla="*/ 43 w 58"/>
                          <a:gd name="T3" fmla="*/ 29 h 29"/>
                          <a:gd name="T4" fmla="*/ 58 w 58"/>
                          <a:gd name="T5" fmla="*/ 15 h 29"/>
                          <a:gd name="T6" fmla="*/ 43 w 58"/>
                          <a:gd name="T7" fmla="*/ 0 h 29"/>
                          <a:gd name="T8" fmla="*/ 15 w 58"/>
                          <a:gd name="T9" fmla="*/ 0 h 29"/>
                          <a:gd name="T10" fmla="*/ 0 w 58"/>
                          <a:gd name="T11" fmla="*/ 15 h 29"/>
                          <a:gd name="T12" fmla="*/ 15 w 58"/>
                          <a:gd name="T13" fmla="*/ 29 h 29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</a:cxnLst>
                        <a:rect l="0" t="0" r="r" b="b"/>
                        <a:pathLst>
                          <a:path w="58" h="29">
                            <a:moveTo>
                              <a:pt x="15" y="29"/>
                            </a:moveTo>
                            <a:cubicBezTo>
                              <a:pt x="43" y="29"/>
                              <a:pt x="43" y="29"/>
                              <a:pt x="43" y="29"/>
                            </a:cubicBezTo>
                            <a:cubicBezTo>
                              <a:pt x="51" y="29"/>
                              <a:pt x="58" y="23"/>
                              <a:pt x="58" y="15"/>
                            </a:cubicBezTo>
                            <a:cubicBezTo>
                              <a:pt x="58" y="7"/>
                              <a:pt x="51" y="0"/>
                              <a:pt x="43" y="0"/>
                            </a:cubicBezTo>
                            <a:cubicBezTo>
                              <a:pt x="15" y="0"/>
                              <a:pt x="15" y="0"/>
                              <a:pt x="15" y="0"/>
                            </a:cubicBezTo>
                            <a:cubicBezTo>
                              <a:pt x="7" y="0"/>
                              <a:pt x="0" y="7"/>
                              <a:pt x="0" y="15"/>
                            </a:cubicBezTo>
                            <a:cubicBezTo>
                              <a:pt x="0" y="23"/>
                              <a:pt x="7" y="29"/>
                              <a:pt x="15" y="29"/>
                            </a:cubicBezTo>
                            <a:close/>
                          </a:path>
                        </a:pathLst>
                      </a:custGeom>
                      <a:solidFill>
                        <a:srgbClr val="4D4D4F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=""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endParaRPr lang="en-US" sz="1200" dirty="0"/>
                      </a:p>
                    </p:txBody>
                  </p:sp>
                  <p:sp>
                    <p:nvSpPr>
                      <p:cNvPr id="1539" name="Freeform 24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4752976" y="1985963"/>
                        <a:ext cx="52388" cy="26988"/>
                      </a:xfrm>
                      <a:custGeom>
                        <a:avLst/>
                        <a:gdLst>
                          <a:gd name="T0" fmla="*/ 15 w 58"/>
                          <a:gd name="T1" fmla="*/ 29 h 29"/>
                          <a:gd name="T2" fmla="*/ 43 w 58"/>
                          <a:gd name="T3" fmla="*/ 29 h 29"/>
                          <a:gd name="T4" fmla="*/ 58 w 58"/>
                          <a:gd name="T5" fmla="*/ 15 h 29"/>
                          <a:gd name="T6" fmla="*/ 43 w 58"/>
                          <a:gd name="T7" fmla="*/ 0 h 29"/>
                          <a:gd name="T8" fmla="*/ 15 w 58"/>
                          <a:gd name="T9" fmla="*/ 0 h 29"/>
                          <a:gd name="T10" fmla="*/ 0 w 58"/>
                          <a:gd name="T11" fmla="*/ 15 h 29"/>
                          <a:gd name="T12" fmla="*/ 15 w 58"/>
                          <a:gd name="T13" fmla="*/ 29 h 29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</a:cxnLst>
                        <a:rect l="0" t="0" r="r" b="b"/>
                        <a:pathLst>
                          <a:path w="58" h="29">
                            <a:moveTo>
                              <a:pt x="15" y="29"/>
                            </a:moveTo>
                            <a:cubicBezTo>
                              <a:pt x="43" y="29"/>
                              <a:pt x="43" y="29"/>
                              <a:pt x="43" y="29"/>
                            </a:cubicBezTo>
                            <a:cubicBezTo>
                              <a:pt x="51" y="29"/>
                              <a:pt x="58" y="23"/>
                              <a:pt x="58" y="15"/>
                            </a:cubicBezTo>
                            <a:cubicBezTo>
                              <a:pt x="58" y="7"/>
                              <a:pt x="51" y="0"/>
                              <a:pt x="43" y="0"/>
                            </a:cubicBezTo>
                            <a:cubicBezTo>
                              <a:pt x="15" y="0"/>
                              <a:pt x="15" y="0"/>
                              <a:pt x="15" y="0"/>
                            </a:cubicBezTo>
                            <a:cubicBezTo>
                              <a:pt x="7" y="0"/>
                              <a:pt x="0" y="7"/>
                              <a:pt x="0" y="15"/>
                            </a:cubicBezTo>
                            <a:cubicBezTo>
                              <a:pt x="0" y="23"/>
                              <a:pt x="7" y="29"/>
                              <a:pt x="15" y="29"/>
                            </a:cubicBezTo>
                            <a:close/>
                          </a:path>
                        </a:pathLst>
                      </a:custGeom>
                      <a:solidFill>
                        <a:srgbClr val="4D4D4F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=""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endParaRPr lang="en-US" sz="1200" dirty="0"/>
                      </a:p>
                    </p:txBody>
                  </p:sp>
                  <p:sp>
                    <p:nvSpPr>
                      <p:cNvPr id="1540" name="Freeform 25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4471988" y="2349500"/>
                        <a:ext cx="26988" cy="52388"/>
                      </a:xfrm>
                      <a:custGeom>
                        <a:avLst/>
                        <a:gdLst>
                          <a:gd name="T0" fmla="*/ 30 w 31"/>
                          <a:gd name="T1" fmla="*/ 42 h 58"/>
                          <a:gd name="T2" fmla="*/ 29 w 31"/>
                          <a:gd name="T3" fmla="*/ 28 h 58"/>
                          <a:gd name="T4" fmla="*/ 29 w 31"/>
                          <a:gd name="T5" fmla="*/ 15 h 58"/>
                          <a:gd name="T6" fmla="*/ 14 w 31"/>
                          <a:gd name="T7" fmla="*/ 0 h 58"/>
                          <a:gd name="T8" fmla="*/ 0 w 31"/>
                          <a:gd name="T9" fmla="*/ 15 h 58"/>
                          <a:gd name="T10" fmla="*/ 0 w 31"/>
                          <a:gd name="T11" fmla="*/ 28 h 58"/>
                          <a:gd name="T12" fmla="*/ 1 w 31"/>
                          <a:gd name="T13" fmla="*/ 45 h 58"/>
                          <a:gd name="T14" fmla="*/ 15 w 31"/>
                          <a:gd name="T15" fmla="*/ 58 h 58"/>
                          <a:gd name="T16" fmla="*/ 17 w 31"/>
                          <a:gd name="T17" fmla="*/ 58 h 58"/>
                          <a:gd name="T18" fmla="*/ 30 w 31"/>
                          <a:gd name="T19" fmla="*/ 42 h 58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  <a:cxn ang="0">
                            <a:pos x="T14" y="T15"/>
                          </a:cxn>
                          <a:cxn ang="0">
                            <a:pos x="T16" y="T17"/>
                          </a:cxn>
                          <a:cxn ang="0">
                            <a:pos x="T18" y="T19"/>
                          </a:cxn>
                        </a:cxnLst>
                        <a:rect l="0" t="0" r="r" b="b"/>
                        <a:pathLst>
                          <a:path w="31" h="58">
                            <a:moveTo>
                              <a:pt x="30" y="42"/>
                            </a:moveTo>
                            <a:cubicBezTo>
                              <a:pt x="29" y="37"/>
                              <a:pt x="29" y="33"/>
                              <a:pt x="29" y="28"/>
                            </a:cubicBezTo>
                            <a:cubicBezTo>
                              <a:pt x="29" y="15"/>
                              <a:pt x="29" y="15"/>
                              <a:pt x="29" y="15"/>
                            </a:cubicBezTo>
                            <a:cubicBezTo>
                              <a:pt x="29" y="7"/>
                              <a:pt x="22" y="0"/>
                              <a:pt x="14" y="0"/>
                            </a:cubicBezTo>
                            <a:cubicBezTo>
                              <a:pt x="7" y="0"/>
                              <a:pt x="0" y="7"/>
                              <a:pt x="0" y="15"/>
                            </a:cubicBezTo>
                            <a:cubicBezTo>
                              <a:pt x="0" y="28"/>
                              <a:pt x="0" y="28"/>
                              <a:pt x="0" y="28"/>
                            </a:cubicBezTo>
                            <a:cubicBezTo>
                              <a:pt x="0" y="34"/>
                              <a:pt x="0" y="39"/>
                              <a:pt x="1" y="45"/>
                            </a:cubicBezTo>
                            <a:cubicBezTo>
                              <a:pt x="2" y="52"/>
                              <a:pt x="8" y="58"/>
                              <a:pt x="15" y="58"/>
                            </a:cubicBezTo>
                            <a:cubicBezTo>
                              <a:pt x="16" y="58"/>
                              <a:pt x="17" y="58"/>
                              <a:pt x="17" y="58"/>
                            </a:cubicBezTo>
                            <a:cubicBezTo>
                              <a:pt x="25" y="57"/>
                              <a:pt x="31" y="50"/>
                              <a:pt x="30" y="42"/>
                            </a:cubicBezTo>
                            <a:close/>
                          </a:path>
                        </a:pathLst>
                      </a:custGeom>
                      <a:solidFill>
                        <a:srgbClr val="4D4D4F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=""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endParaRPr lang="en-US" sz="1200" dirty="0"/>
                      </a:p>
                    </p:txBody>
                  </p:sp>
                  <p:sp>
                    <p:nvSpPr>
                      <p:cNvPr id="1541" name="Freeform 26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4973638" y="2282825"/>
                        <a:ext cx="25400" cy="52388"/>
                      </a:xfrm>
                      <a:custGeom>
                        <a:avLst/>
                        <a:gdLst>
                          <a:gd name="T0" fmla="*/ 14 w 29"/>
                          <a:gd name="T1" fmla="*/ 0 h 58"/>
                          <a:gd name="T2" fmla="*/ 0 w 29"/>
                          <a:gd name="T3" fmla="*/ 15 h 58"/>
                          <a:gd name="T4" fmla="*/ 0 w 29"/>
                          <a:gd name="T5" fmla="*/ 44 h 58"/>
                          <a:gd name="T6" fmla="*/ 14 w 29"/>
                          <a:gd name="T7" fmla="*/ 58 h 58"/>
                          <a:gd name="T8" fmla="*/ 29 w 29"/>
                          <a:gd name="T9" fmla="*/ 44 h 58"/>
                          <a:gd name="T10" fmla="*/ 29 w 29"/>
                          <a:gd name="T11" fmla="*/ 15 h 58"/>
                          <a:gd name="T12" fmla="*/ 14 w 29"/>
                          <a:gd name="T13" fmla="*/ 0 h 58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</a:cxnLst>
                        <a:rect l="0" t="0" r="r" b="b"/>
                        <a:pathLst>
                          <a:path w="29" h="58">
                            <a:moveTo>
                              <a:pt x="14" y="0"/>
                            </a:moveTo>
                            <a:cubicBezTo>
                              <a:pt x="6" y="0"/>
                              <a:pt x="0" y="7"/>
                              <a:pt x="0" y="15"/>
                            </a:cubicBezTo>
                            <a:cubicBezTo>
                              <a:pt x="0" y="44"/>
                              <a:pt x="0" y="44"/>
                              <a:pt x="0" y="44"/>
                            </a:cubicBezTo>
                            <a:cubicBezTo>
                              <a:pt x="0" y="52"/>
                              <a:pt x="6" y="58"/>
                              <a:pt x="14" y="58"/>
                            </a:cubicBezTo>
                            <a:cubicBezTo>
                              <a:pt x="22" y="58"/>
                              <a:pt x="29" y="52"/>
                              <a:pt x="29" y="44"/>
                            </a:cubicBezTo>
                            <a:cubicBezTo>
                              <a:pt x="29" y="15"/>
                              <a:pt x="29" y="15"/>
                              <a:pt x="29" y="15"/>
                            </a:cubicBezTo>
                            <a:cubicBezTo>
                              <a:pt x="29" y="7"/>
                              <a:pt x="22" y="0"/>
                              <a:pt x="14" y="0"/>
                            </a:cubicBezTo>
                            <a:close/>
                          </a:path>
                        </a:pathLst>
                      </a:custGeom>
                      <a:solidFill>
                        <a:srgbClr val="4D4D4F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=""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endParaRPr lang="en-US" sz="1200" dirty="0"/>
                      </a:p>
                    </p:txBody>
                  </p:sp>
                  <p:sp>
                    <p:nvSpPr>
                      <p:cNvPr id="1542" name="Freeform 28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4927601" y="2432050"/>
                        <a:ext cx="47625" cy="46038"/>
                      </a:xfrm>
                      <a:custGeom>
                        <a:avLst/>
                        <a:gdLst>
                          <a:gd name="T0" fmla="*/ 25 w 53"/>
                          <a:gd name="T1" fmla="*/ 7 h 51"/>
                          <a:gd name="T2" fmla="*/ 7 w 53"/>
                          <a:gd name="T3" fmla="*/ 25 h 51"/>
                          <a:gd name="T4" fmla="*/ 5 w 53"/>
                          <a:gd name="T5" fmla="*/ 45 h 51"/>
                          <a:gd name="T6" fmla="*/ 16 w 53"/>
                          <a:gd name="T7" fmla="*/ 51 h 51"/>
                          <a:gd name="T8" fmla="*/ 25 w 53"/>
                          <a:gd name="T9" fmla="*/ 47 h 51"/>
                          <a:gd name="T10" fmla="*/ 48 w 53"/>
                          <a:gd name="T11" fmla="*/ 25 h 51"/>
                          <a:gd name="T12" fmla="*/ 45 w 53"/>
                          <a:gd name="T13" fmla="*/ 5 h 51"/>
                          <a:gd name="T14" fmla="*/ 25 w 53"/>
                          <a:gd name="T15" fmla="*/ 7 h 51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  <a:cxn ang="0">
                            <a:pos x="T14" y="T15"/>
                          </a:cxn>
                        </a:cxnLst>
                        <a:rect l="0" t="0" r="r" b="b"/>
                        <a:pathLst>
                          <a:path w="53" h="51">
                            <a:moveTo>
                              <a:pt x="25" y="7"/>
                            </a:moveTo>
                            <a:cubicBezTo>
                              <a:pt x="20" y="14"/>
                              <a:pt x="14" y="20"/>
                              <a:pt x="7" y="25"/>
                            </a:cubicBezTo>
                            <a:cubicBezTo>
                              <a:pt x="1" y="30"/>
                              <a:pt x="0" y="39"/>
                              <a:pt x="5" y="45"/>
                            </a:cubicBezTo>
                            <a:cubicBezTo>
                              <a:pt x="8" y="49"/>
                              <a:pt x="12" y="51"/>
                              <a:pt x="16" y="51"/>
                            </a:cubicBezTo>
                            <a:cubicBezTo>
                              <a:pt x="20" y="51"/>
                              <a:pt x="23" y="50"/>
                              <a:pt x="25" y="47"/>
                            </a:cubicBezTo>
                            <a:cubicBezTo>
                              <a:pt x="34" y="41"/>
                              <a:pt x="41" y="33"/>
                              <a:pt x="48" y="25"/>
                            </a:cubicBezTo>
                            <a:cubicBezTo>
                              <a:pt x="53" y="19"/>
                              <a:pt x="52" y="9"/>
                              <a:pt x="45" y="5"/>
                            </a:cubicBezTo>
                            <a:cubicBezTo>
                              <a:pt x="39" y="0"/>
                              <a:pt x="30" y="1"/>
                              <a:pt x="25" y="7"/>
                            </a:cubicBezTo>
                            <a:close/>
                          </a:path>
                        </a:pathLst>
                      </a:custGeom>
                      <a:solidFill>
                        <a:srgbClr val="4D4D4F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=""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endParaRPr lang="en-US" sz="1200" dirty="0"/>
                      </a:p>
                    </p:txBody>
                  </p:sp>
                  <p:sp>
                    <p:nvSpPr>
                      <p:cNvPr id="1543" name="Freeform 29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4968876" y="2360613"/>
                        <a:ext cx="30163" cy="52388"/>
                      </a:xfrm>
                      <a:custGeom>
                        <a:avLst/>
                        <a:gdLst>
                          <a:gd name="T0" fmla="*/ 19 w 34"/>
                          <a:gd name="T1" fmla="*/ 0 h 58"/>
                          <a:gd name="T2" fmla="*/ 5 w 34"/>
                          <a:gd name="T3" fmla="*/ 15 h 58"/>
                          <a:gd name="T4" fmla="*/ 2 w 34"/>
                          <a:gd name="T5" fmla="*/ 40 h 58"/>
                          <a:gd name="T6" fmla="*/ 13 w 34"/>
                          <a:gd name="T7" fmla="*/ 58 h 58"/>
                          <a:gd name="T8" fmla="*/ 16 w 34"/>
                          <a:gd name="T9" fmla="*/ 58 h 58"/>
                          <a:gd name="T10" fmla="*/ 30 w 34"/>
                          <a:gd name="T11" fmla="*/ 47 h 58"/>
                          <a:gd name="T12" fmla="*/ 34 w 34"/>
                          <a:gd name="T13" fmla="*/ 15 h 58"/>
                          <a:gd name="T14" fmla="*/ 34 w 34"/>
                          <a:gd name="T15" fmla="*/ 14 h 58"/>
                          <a:gd name="T16" fmla="*/ 19 w 34"/>
                          <a:gd name="T17" fmla="*/ 0 h 58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  <a:cxn ang="0">
                            <a:pos x="T14" y="T15"/>
                          </a:cxn>
                          <a:cxn ang="0">
                            <a:pos x="T16" y="T17"/>
                          </a:cxn>
                        </a:cxnLst>
                        <a:rect l="0" t="0" r="r" b="b"/>
                        <a:pathLst>
                          <a:path w="34" h="58">
                            <a:moveTo>
                              <a:pt x="19" y="0"/>
                            </a:moveTo>
                            <a:cubicBezTo>
                              <a:pt x="11" y="0"/>
                              <a:pt x="5" y="7"/>
                              <a:pt x="5" y="15"/>
                            </a:cubicBezTo>
                            <a:cubicBezTo>
                              <a:pt x="5" y="24"/>
                              <a:pt x="4" y="32"/>
                              <a:pt x="2" y="40"/>
                            </a:cubicBezTo>
                            <a:cubicBezTo>
                              <a:pt x="0" y="48"/>
                              <a:pt x="5" y="56"/>
                              <a:pt x="13" y="58"/>
                            </a:cubicBezTo>
                            <a:cubicBezTo>
                              <a:pt x="14" y="58"/>
                              <a:pt x="15" y="58"/>
                              <a:pt x="16" y="58"/>
                            </a:cubicBezTo>
                            <a:cubicBezTo>
                              <a:pt x="23" y="58"/>
                              <a:pt x="29" y="53"/>
                              <a:pt x="30" y="47"/>
                            </a:cubicBezTo>
                            <a:cubicBezTo>
                              <a:pt x="32" y="36"/>
                              <a:pt x="34" y="26"/>
                              <a:pt x="34" y="15"/>
                            </a:cubicBezTo>
                            <a:cubicBezTo>
                              <a:pt x="34" y="14"/>
                              <a:pt x="34" y="14"/>
                              <a:pt x="34" y="14"/>
                            </a:cubicBezTo>
                            <a:cubicBezTo>
                              <a:pt x="34" y="6"/>
                              <a:pt x="27" y="0"/>
                              <a:pt x="19" y="0"/>
                            </a:cubicBezTo>
                            <a:close/>
                          </a:path>
                        </a:pathLst>
                      </a:custGeom>
                      <a:solidFill>
                        <a:srgbClr val="4D4D4F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=""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endParaRPr lang="en-US" sz="1200" dirty="0"/>
                      </a:p>
                    </p:txBody>
                  </p:sp>
                  <p:sp>
                    <p:nvSpPr>
                      <p:cNvPr id="1544" name="Freeform 30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4973638" y="2205038"/>
                        <a:ext cx="25400" cy="52388"/>
                      </a:xfrm>
                      <a:custGeom>
                        <a:avLst/>
                        <a:gdLst>
                          <a:gd name="T0" fmla="*/ 14 w 29"/>
                          <a:gd name="T1" fmla="*/ 0 h 58"/>
                          <a:gd name="T2" fmla="*/ 0 w 29"/>
                          <a:gd name="T3" fmla="*/ 15 h 58"/>
                          <a:gd name="T4" fmla="*/ 0 w 29"/>
                          <a:gd name="T5" fmla="*/ 43 h 58"/>
                          <a:gd name="T6" fmla="*/ 14 w 29"/>
                          <a:gd name="T7" fmla="*/ 58 h 58"/>
                          <a:gd name="T8" fmla="*/ 29 w 29"/>
                          <a:gd name="T9" fmla="*/ 43 h 58"/>
                          <a:gd name="T10" fmla="*/ 29 w 29"/>
                          <a:gd name="T11" fmla="*/ 15 h 58"/>
                          <a:gd name="T12" fmla="*/ 14 w 29"/>
                          <a:gd name="T13" fmla="*/ 0 h 58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</a:cxnLst>
                        <a:rect l="0" t="0" r="r" b="b"/>
                        <a:pathLst>
                          <a:path w="29" h="58">
                            <a:moveTo>
                              <a:pt x="14" y="0"/>
                            </a:moveTo>
                            <a:cubicBezTo>
                              <a:pt x="6" y="0"/>
                              <a:pt x="0" y="7"/>
                              <a:pt x="0" y="15"/>
                            </a:cubicBezTo>
                            <a:cubicBezTo>
                              <a:pt x="0" y="43"/>
                              <a:pt x="0" y="43"/>
                              <a:pt x="0" y="43"/>
                            </a:cubicBezTo>
                            <a:cubicBezTo>
                              <a:pt x="0" y="51"/>
                              <a:pt x="6" y="58"/>
                              <a:pt x="14" y="58"/>
                            </a:cubicBezTo>
                            <a:cubicBezTo>
                              <a:pt x="22" y="58"/>
                              <a:pt x="29" y="51"/>
                              <a:pt x="29" y="43"/>
                            </a:cubicBezTo>
                            <a:cubicBezTo>
                              <a:pt x="29" y="15"/>
                              <a:pt x="29" y="15"/>
                              <a:pt x="29" y="15"/>
                            </a:cubicBezTo>
                            <a:cubicBezTo>
                              <a:pt x="29" y="7"/>
                              <a:pt x="22" y="0"/>
                              <a:pt x="14" y="0"/>
                            </a:cubicBezTo>
                            <a:close/>
                          </a:path>
                        </a:pathLst>
                      </a:custGeom>
                      <a:solidFill>
                        <a:srgbClr val="4D4D4F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=""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endParaRPr lang="en-US" sz="1200" dirty="0"/>
                      </a:p>
                    </p:txBody>
                  </p:sp>
                  <p:sp>
                    <p:nvSpPr>
                      <p:cNvPr id="1545" name="Freeform 31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4973638" y="2127250"/>
                        <a:ext cx="25400" cy="52388"/>
                      </a:xfrm>
                      <a:custGeom>
                        <a:avLst/>
                        <a:gdLst>
                          <a:gd name="T0" fmla="*/ 14 w 29"/>
                          <a:gd name="T1" fmla="*/ 0 h 58"/>
                          <a:gd name="T2" fmla="*/ 0 w 29"/>
                          <a:gd name="T3" fmla="*/ 15 h 58"/>
                          <a:gd name="T4" fmla="*/ 0 w 29"/>
                          <a:gd name="T5" fmla="*/ 43 h 58"/>
                          <a:gd name="T6" fmla="*/ 14 w 29"/>
                          <a:gd name="T7" fmla="*/ 58 h 58"/>
                          <a:gd name="T8" fmla="*/ 29 w 29"/>
                          <a:gd name="T9" fmla="*/ 43 h 58"/>
                          <a:gd name="T10" fmla="*/ 29 w 29"/>
                          <a:gd name="T11" fmla="*/ 15 h 58"/>
                          <a:gd name="T12" fmla="*/ 14 w 29"/>
                          <a:gd name="T13" fmla="*/ 0 h 58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</a:cxnLst>
                        <a:rect l="0" t="0" r="r" b="b"/>
                        <a:pathLst>
                          <a:path w="29" h="58">
                            <a:moveTo>
                              <a:pt x="14" y="0"/>
                            </a:moveTo>
                            <a:cubicBezTo>
                              <a:pt x="6" y="0"/>
                              <a:pt x="0" y="7"/>
                              <a:pt x="0" y="15"/>
                            </a:cubicBezTo>
                            <a:cubicBezTo>
                              <a:pt x="0" y="43"/>
                              <a:pt x="0" y="43"/>
                              <a:pt x="0" y="43"/>
                            </a:cubicBezTo>
                            <a:cubicBezTo>
                              <a:pt x="0" y="51"/>
                              <a:pt x="6" y="58"/>
                              <a:pt x="14" y="58"/>
                            </a:cubicBezTo>
                            <a:cubicBezTo>
                              <a:pt x="22" y="58"/>
                              <a:pt x="29" y="51"/>
                              <a:pt x="29" y="43"/>
                            </a:cubicBezTo>
                            <a:cubicBezTo>
                              <a:pt x="29" y="15"/>
                              <a:pt x="29" y="15"/>
                              <a:pt x="29" y="15"/>
                            </a:cubicBezTo>
                            <a:cubicBezTo>
                              <a:pt x="29" y="7"/>
                              <a:pt x="22" y="0"/>
                              <a:pt x="14" y="0"/>
                            </a:cubicBezTo>
                            <a:close/>
                          </a:path>
                        </a:pathLst>
                      </a:custGeom>
                      <a:solidFill>
                        <a:srgbClr val="4D4D4F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=""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endParaRPr lang="en-US" sz="1200" dirty="0"/>
                      </a:p>
                    </p:txBody>
                  </p:sp>
                  <p:sp>
                    <p:nvSpPr>
                      <p:cNvPr id="1546" name="Freeform 32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4546601" y="2470150"/>
                        <a:ext cx="53975" cy="33338"/>
                      </a:xfrm>
                      <a:custGeom>
                        <a:avLst/>
                        <a:gdLst>
                          <a:gd name="T0" fmla="*/ 46 w 60"/>
                          <a:gd name="T1" fmla="*/ 8 h 37"/>
                          <a:gd name="T2" fmla="*/ 21 w 60"/>
                          <a:gd name="T3" fmla="*/ 2 h 37"/>
                          <a:gd name="T4" fmla="*/ 3 w 60"/>
                          <a:gd name="T5" fmla="*/ 11 h 37"/>
                          <a:gd name="T6" fmla="*/ 12 w 60"/>
                          <a:gd name="T7" fmla="*/ 30 h 37"/>
                          <a:gd name="T8" fmla="*/ 43 w 60"/>
                          <a:gd name="T9" fmla="*/ 37 h 37"/>
                          <a:gd name="T10" fmla="*/ 44 w 60"/>
                          <a:gd name="T11" fmla="*/ 37 h 37"/>
                          <a:gd name="T12" fmla="*/ 59 w 60"/>
                          <a:gd name="T13" fmla="*/ 24 h 37"/>
                          <a:gd name="T14" fmla="*/ 46 w 60"/>
                          <a:gd name="T15" fmla="*/ 8 h 37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  <a:cxn ang="0">
                            <a:pos x="T14" y="T15"/>
                          </a:cxn>
                        </a:cxnLst>
                        <a:rect l="0" t="0" r="r" b="b"/>
                        <a:pathLst>
                          <a:path w="60" h="37">
                            <a:moveTo>
                              <a:pt x="46" y="8"/>
                            </a:moveTo>
                            <a:cubicBezTo>
                              <a:pt x="38" y="7"/>
                              <a:pt x="29" y="5"/>
                              <a:pt x="21" y="2"/>
                            </a:cubicBezTo>
                            <a:cubicBezTo>
                              <a:pt x="14" y="0"/>
                              <a:pt x="6" y="4"/>
                              <a:pt x="3" y="11"/>
                            </a:cubicBezTo>
                            <a:cubicBezTo>
                              <a:pt x="0" y="19"/>
                              <a:pt x="4" y="27"/>
                              <a:pt x="12" y="30"/>
                            </a:cubicBezTo>
                            <a:cubicBezTo>
                              <a:pt x="22" y="33"/>
                              <a:pt x="32" y="36"/>
                              <a:pt x="43" y="37"/>
                            </a:cubicBezTo>
                            <a:cubicBezTo>
                              <a:pt x="43" y="37"/>
                              <a:pt x="44" y="37"/>
                              <a:pt x="44" y="37"/>
                            </a:cubicBezTo>
                            <a:cubicBezTo>
                              <a:pt x="51" y="37"/>
                              <a:pt x="58" y="32"/>
                              <a:pt x="59" y="24"/>
                            </a:cubicBezTo>
                            <a:cubicBezTo>
                              <a:pt x="60" y="16"/>
                              <a:pt x="54" y="9"/>
                              <a:pt x="46" y="8"/>
                            </a:cubicBezTo>
                            <a:close/>
                          </a:path>
                        </a:pathLst>
                      </a:custGeom>
                      <a:solidFill>
                        <a:srgbClr val="4D4D4F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=""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endParaRPr lang="en-US" sz="1200" dirty="0"/>
                      </a:p>
                    </p:txBody>
                  </p:sp>
                  <p:sp>
                    <p:nvSpPr>
                      <p:cNvPr id="1547" name="Freeform 33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4781551" y="2478088"/>
                        <a:ext cx="50800" cy="25400"/>
                      </a:xfrm>
                      <a:custGeom>
                        <a:avLst/>
                        <a:gdLst>
                          <a:gd name="T0" fmla="*/ 43 w 57"/>
                          <a:gd name="T1" fmla="*/ 0 h 29"/>
                          <a:gd name="T2" fmla="*/ 14 w 57"/>
                          <a:gd name="T3" fmla="*/ 0 h 29"/>
                          <a:gd name="T4" fmla="*/ 0 w 57"/>
                          <a:gd name="T5" fmla="*/ 15 h 29"/>
                          <a:gd name="T6" fmla="*/ 14 w 57"/>
                          <a:gd name="T7" fmla="*/ 29 h 29"/>
                          <a:gd name="T8" fmla="*/ 43 w 57"/>
                          <a:gd name="T9" fmla="*/ 29 h 29"/>
                          <a:gd name="T10" fmla="*/ 57 w 57"/>
                          <a:gd name="T11" fmla="*/ 15 h 29"/>
                          <a:gd name="T12" fmla="*/ 43 w 57"/>
                          <a:gd name="T13" fmla="*/ 0 h 29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</a:cxnLst>
                        <a:rect l="0" t="0" r="r" b="b"/>
                        <a:pathLst>
                          <a:path w="57" h="29">
                            <a:moveTo>
                              <a:pt x="43" y="0"/>
                            </a:moveTo>
                            <a:cubicBezTo>
                              <a:pt x="14" y="0"/>
                              <a:pt x="14" y="0"/>
                              <a:pt x="14" y="0"/>
                            </a:cubicBezTo>
                            <a:cubicBezTo>
                              <a:pt x="6" y="0"/>
                              <a:pt x="0" y="7"/>
                              <a:pt x="0" y="15"/>
                            </a:cubicBezTo>
                            <a:cubicBezTo>
                              <a:pt x="0" y="23"/>
                              <a:pt x="6" y="29"/>
                              <a:pt x="14" y="29"/>
                            </a:cubicBezTo>
                            <a:cubicBezTo>
                              <a:pt x="43" y="29"/>
                              <a:pt x="43" y="29"/>
                              <a:pt x="43" y="29"/>
                            </a:cubicBezTo>
                            <a:cubicBezTo>
                              <a:pt x="51" y="29"/>
                              <a:pt x="57" y="23"/>
                              <a:pt x="57" y="15"/>
                            </a:cubicBezTo>
                            <a:cubicBezTo>
                              <a:pt x="57" y="7"/>
                              <a:pt x="51" y="0"/>
                              <a:pt x="43" y="0"/>
                            </a:cubicBezTo>
                            <a:close/>
                          </a:path>
                        </a:pathLst>
                      </a:custGeom>
                      <a:solidFill>
                        <a:srgbClr val="4D4D4F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=""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endParaRPr lang="en-US" sz="1200" dirty="0"/>
                      </a:p>
                    </p:txBody>
                  </p:sp>
                  <p:sp>
                    <p:nvSpPr>
                      <p:cNvPr id="1548" name="Freeform 34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4703763" y="2478088"/>
                        <a:ext cx="50800" cy="25400"/>
                      </a:xfrm>
                      <a:custGeom>
                        <a:avLst/>
                        <a:gdLst>
                          <a:gd name="T0" fmla="*/ 44 w 58"/>
                          <a:gd name="T1" fmla="*/ 0 h 29"/>
                          <a:gd name="T2" fmla="*/ 15 w 58"/>
                          <a:gd name="T3" fmla="*/ 0 h 29"/>
                          <a:gd name="T4" fmla="*/ 0 w 58"/>
                          <a:gd name="T5" fmla="*/ 15 h 29"/>
                          <a:gd name="T6" fmla="*/ 15 w 58"/>
                          <a:gd name="T7" fmla="*/ 29 h 29"/>
                          <a:gd name="T8" fmla="*/ 44 w 58"/>
                          <a:gd name="T9" fmla="*/ 29 h 29"/>
                          <a:gd name="T10" fmla="*/ 58 w 58"/>
                          <a:gd name="T11" fmla="*/ 15 h 29"/>
                          <a:gd name="T12" fmla="*/ 44 w 58"/>
                          <a:gd name="T13" fmla="*/ 0 h 29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</a:cxnLst>
                        <a:rect l="0" t="0" r="r" b="b"/>
                        <a:pathLst>
                          <a:path w="58" h="29">
                            <a:moveTo>
                              <a:pt x="44" y="0"/>
                            </a:moveTo>
                            <a:cubicBezTo>
                              <a:pt x="15" y="0"/>
                              <a:pt x="15" y="0"/>
                              <a:pt x="15" y="0"/>
                            </a:cubicBezTo>
                            <a:cubicBezTo>
                              <a:pt x="7" y="0"/>
                              <a:pt x="0" y="7"/>
                              <a:pt x="0" y="15"/>
                            </a:cubicBezTo>
                            <a:cubicBezTo>
                              <a:pt x="0" y="23"/>
                              <a:pt x="7" y="29"/>
                              <a:pt x="15" y="29"/>
                            </a:cubicBezTo>
                            <a:cubicBezTo>
                              <a:pt x="44" y="29"/>
                              <a:pt x="44" y="29"/>
                              <a:pt x="44" y="29"/>
                            </a:cubicBezTo>
                            <a:cubicBezTo>
                              <a:pt x="51" y="29"/>
                              <a:pt x="58" y="23"/>
                              <a:pt x="58" y="15"/>
                            </a:cubicBezTo>
                            <a:cubicBezTo>
                              <a:pt x="58" y="7"/>
                              <a:pt x="51" y="0"/>
                              <a:pt x="44" y="0"/>
                            </a:cubicBezTo>
                            <a:close/>
                          </a:path>
                        </a:pathLst>
                      </a:custGeom>
                      <a:solidFill>
                        <a:srgbClr val="4D4D4F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=""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endParaRPr lang="en-US" sz="1200" dirty="0"/>
                      </a:p>
                    </p:txBody>
                  </p:sp>
                  <p:sp>
                    <p:nvSpPr>
                      <p:cNvPr id="1549" name="Freeform 35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4625976" y="2478088"/>
                        <a:ext cx="52388" cy="25400"/>
                      </a:xfrm>
                      <a:custGeom>
                        <a:avLst/>
                        <a:gdLst>
                          <a:gd name="T0" fmla="*/ 43 w 58"/>
                          <a:gd name="T1" fmla="*/ 0 h 29"/>
                          <a:gd name="T2" fmla="*/ 15 w 58"/>
                          <a:gd name="T3" fmla="*/ 0 h 29"/>
                          <a:gd name="T4" fmla="*/ 0 w 58"/>
                          <a:gd name="T5" fmla="*/ 15 h 29"/>
                          <a:gd name="T6" fmla="*/ 15 w 58"/>
                          <a:gd name="T7" fmla="*/ 29 h 29"/>
                          <a:gd name="T8" fmla="*/ 43 w 58"/>
                          <a:gd name="T9" fmla="*/ 29 h 29"/>
                          <a:gd name="T10" fmla="*/ 58 w 58"/>
                          <a:gd name="T11" fmla="*/ 15 h 29"/>
                          <a:gd name="T12" fmla="*/ 43 w 58"/>
                          <a:gd name="T13" fmla="*/ 0 h 29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</a:cxnLst>
                        <a:rect l="0" t="0" r="r" b="b"/>
                        <a:pathLst>
                          <a:path w="58" h="29">
                            <a:moveTo>
                              <a:pt x="43" y="0"/>
                            </a:moveTo>
                            <a:cubicBezTo>
                              <a:pt x="15" y="0"/>
                              <a:pt x="15" y="0"/>
                              <a:pt x="15" y="0"/>
                            </a:cubicBezTo>
                            <a:cubicBezTo>
                              <a:pt x="7" y="0"/>
                              <a:pt x="0" y="7"/>
                              <a:pt x="0" y="15"/>
                            </a:cubicBezTo>
                            <a:cubicBezTo>
                              <a:pt x="0" y="23"/>
                              <a:pt x="7" y="29"/>
                              <a:pt x="15" y="29"/>
                            </a:cubicBezTo>
                            <a:cubicBezTo>
                              <a:pt x="43" y="29"/>
                              <a:pt x="43" y="29"/>
                              <a:pt x="43" y="29"/>
                            </a:cubicBezTo>
                            <a:cubicBezTo>
                              <a:pt x="51" y="29"/>
                              <a:pt x="58" y="23"/>
                              <a:pt x="58" y="15"/>
                            </a:cubicBezTo>
                            <a:cubicBezTo>
                              <a:pt x="58" y="7"/>
                              <a:pt x="51" y="0"/>
                              <a:pt x="43" y="0"/>
                            </a:cubicBezTo>
                            <a:close/>
                          </a:path>
                        </a:pathLst>
                      </a:custGeom>
                      <a:solidFill>
                        <a:srgbClr val="4D4D4F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=""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endParaRPr lang="en-US" sz="1200" dirty="0"/>
                      </a:p>
                    </p:txBody>
                  </p:sp>
                  <p:sp>
                    <p:nvSpPr>
                      <p:cNvPr id="1550" name="Freeform 38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4859338" y="2473325"/>
                        <a:ext cx="52388" cy="30163"/>
                      </a:xfrm>
                      <a:custGeom>
                        <a:avLst/>
                        <a:gdLst>
                          <a:gd name="T0" fmla="*/ 39 w 58"/>
                          <a:gd name="T1" fmla="*/ 2 h 34"/>
                          <a:gd name="T2" fmla="*/ 14 w 58"/>
                          <a:gd name="T3" fmla="*/ 5 h 34"/>
                          <a:gd name="T4" fmla="*/ 0 w 58"/>
                          <a:gd name="T5" fmla="*/ 20 h 34"/>
                          <a:gd name="T6" fmla="*/ 14 w 58"/>
                          <a:gd name="T7" fmla="*/ 34 h 34"/>
                          <a:gd name="T8" fmla="*/ 14 w 58"/>
                          <a:gd name="T9" fmla="*/ 34 h 34"/>
                          <a:gd name="T10" fmla="*/ 46 w 58"/>
                          <a:gd name="T11" fmla="*/ 30 h 34"/>
                          <a:gd name="T12" fmla="*/ 56 w 58"/>
                          <a:gd name="T13" fmla="*/ 12 h 34"/>
                          <a:gd name="T14" fmla="*/ 39 w 58"/>
                          <a:gd name="T15" fmla="*/ 2 h 34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  <a:cxn ang="0">
                            <a:pos x="T14" y="T15"/>
                          </a:cxn>
                        </a:cxnLst>
                        <a:rect l="0" t="0" r="r" b="b"/>
                        <a:pathLst>
                          <a:path w="58" h="34">
                            <a:moveTo>
                              <a:pt x="39" y="2"/>
                            </a:moveTo>
                            <a:cubicBezTo>
                              <a:pt x="31" y="4"/>
                              <a:pt x="22" y="5"/>
                              <a:pt x="14" y="5"/>
                            </a:cubicBezTo>
                            <a:cubicBezTo>
                              <a:pt x="6" y="5"/>
                              <a:pt x="0" y="12"/>
                              <a:pt x="0" y="20"/>
                            </a:cubicBezTo>
                            <a:cubicBezTo>
                              <a:pt x="0" y="28"/>
                              <a:pt x="6" y="34"/>
                              <a:pt x="14" y="34"/>
                            </a:cubicBezTo>
                            <a:cubicBezTo>
                              <a:pt x="14" y="34"/>
                              <a:pt x="14" y="34"/>
                              <a:pt x="14" y="34"/>
                            </a:cubicBezTo>
                            <a:cubicBezTo>
                              <a:pt x="25" y="34"/>
                              <a:pt x="36" y="32"/>
                              <a:pt x="46" y="30"/>
                            </a:cubicBezTo>
                            <a:cubicBezTo>
                              <a:pt x="54" y="28"/>
                              <a:pt x="58" y="20"/>
                              <a:pt x="56" y="12"/>
                            </a:cubicBezTo>
                            <a:cubicBezTo>
                              <a:pt x="55" y="5"/>
                              <a:pt x="47" y="0"/>
                              <a:pt x="39" y="2"/>
                            </a:cubicBezTo>
                            <a:close/>
                          </a:path>
                        </a:pathLst>
                      </a:custGeom>
                      <a:solidFill>
                        <a:srgbClr val="4D4D4F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=""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endParaRPr lang="en-US" sz="1200" dirty="0"/>
                      </a:p>
                    </p:txBody>
                  </p:sp>
                </p:grpSp>
                <p:sp>
                  <p:nvSpPr>
                    <p:cNvPr id="1527" name="Freeform 12"/>
                    <p:cNvSpPr>
                      <a:spLocks noEditPoints="1"/>
                    </p:cNvSpPr>
                    <p:nvPr/>
                  </p:nvSpPr>
                  <p:spPr bwMode="auto">
                    <a:xfrm>
                      <a:off x="5406483" y="2446478"/>
                      <a:ext cx="214941" cy="191168"/>
                    </a:xfrm>
                    <a:custGeom>
                      <a:avLst/>
                      <a:gdLst>
                        <a:gd name="T0" fmla="*/ 419 w 494"/>
                        <a:gd name="T1" fmla="*/ 299 h 448"/>
                        <a:gd name="T2" fmla="*/ 403 w 494"/>
                        <a:gd name="T3" fmla="*/ 301 h 448"/>
                        <a:gd name="T4" fmla="*/ 302 w 494"/>
                        <a:gd name="T5" fmla="*/ 126 h 448"/>
                        <a:gd name="T6" fmla="*/ 322 w 494"/>
                        <a:gd name="T7" fmla="*/ 75 h 448"/>
                        <a:gd name="T8" fmla="*/ 247 w 494"/>
                        <a:gd name="T9" fmla="*/ 0 h 448"/>
                        <a:gd name="T10" fmla="*/ 173 w 494"/>
                        <a:gd name="T11" fmla="*/ 75 h 448"/>
                        <a:gd name="T12" fmla="*/ 193 w 494"/>
                        <a:gd name="T13" fmla="*/ 126 h 448"/>
                        <a:gd name="T14" fmla="*/ 91 w 494"/>
                        <a:gd name="T15" fmla="*/ 301 h 448"/>
                        <a:gd name="T16" fmla="*/ 75 w 494"/>
                        <a:gd name="T17" fmla="*/ 299 h 448"/>
                        <a:gd name="T18" fmla="*/ 0 w 494"/>
                        <a:gd name="T19" fmla="*/ 373 h 448"/>
                        <a:gd name="T20" fmla="*/ 75 w 494"/>
                        <a:gd name="T21" fmla="*/ 448 h 448"/>
                        <a:gd name="T22" fmla="*/ 146 w 494"/>
                        <a:gd name="T23" fmla="*/ 395 h 448"/>
                        <a:gd name="T24" fmla="*/ 349 w 494"/>
                        <a:gd name="T25" fmla="*/ 395 h 448"/>
                        <a:gd name="T26" fmla="*/ 419 w 494"/>
                        <a:gd name="T27" fmla="*/ 448 h 448"/>
                        <a:gd name="T28" fmla="*/ 494 w 494"/>
                        <a:gd name="T29" fmla="*/ 373 h 448"/>
                        <a:gd name="T30" fmla="*/ 419 w 494"/>
                        <a:gd name="T31" fmla="*/ 299 h 448"/>
                        <a:gd name="T32" fmla="*/ 349 w 494"/>
                        <a:gd name="T33" fmla="*/ 351 h 448"/>
                        <a:gd name="T34" fmla="*/ 146 w 494"/>
                        <a:gd name="T35" fmla="*/ 351 h 448"/>
                        <a:gd name="T36" fmla="*/ 130 w 494"/>
                        <a:gd name="T37" fmla="*/ 323 h 448"/>
                        <a:gd name="T38" fmla="*/ 231 w 494"/>
                        <a:gd name="T39" fmla="*/ 148 h 448"/>
                        <a:gd name="T40" fmla="*/ 247 w 494"/>
                        <a:gd name="T41" fmla="*/ 150 h 448"/>
                        <a:gd name="T42" fmla="*/ 264 w 494"/>
                        <a:gd name="T43" fmla="*/ 148 h 448"/>
                        <a:gd name="T44" fmla="*/ 365 w 494"/>
                        <a:gd name="T45" fmla="*/ 323 h 448"/>
                        <a:gd name="T46" fmla="*/ 349 w 494"/>
                        <a:gd name="T47" fmla="*/ 351 h 44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</a:cxnLst>
                      <a:rect l="0" t="0" r="r" b="b"/>
                      <a:pathLst>
                        <a:path w="494" h="448">
                          <a:moveTo>
                            <a:pt x="419" y="299"/>
                          </a:moveTo>
                          <a:cubicBezTo>
                            <a:pt x="414" y="299"/>
                            <a:pt x="408" y="300"/>
                            <a:pt x="403" y="301"/>
                          </a:cubicBezTo>
                          <a:cubicBezTo>
                            <a:pt x="302" y="126"/>
                            <a:pt x="302" y="126"/>
                            <a:pt x="302" y="126"/>
                          </a:cubicBezTo>
                          <a:cubicBezTo>
                            <a:pt x="314" y="112"/>
                            <a:pt x="322" y="95"/>
                            <a:pt x="322" y="75"/>
                          </a:cubicBezTo>
                          <a:cubicBezTo>
                            <a:pt x="322" y="34"/>
                            <a:pt x="288" y="0"/>
                            <a:pt x="247" y="0"/>
                          </a:cubicBezTo>
                          <a:cubicBezTo>
                            <a:pt x="206" y="0"/>
                            <a:pt x="173" y="34"/>
                            <a:pt x="173" y="75"/>
                          </a:cubicBezTo>
                          <a:cubicBezTo>
                            <a:pt x="173" y="95"/>
                            <a:pt x="180" y="112"/>
                            <a:pt x="193" y="126"/>
                          </a:cubicBezTo>
                          <a:cubicBezTo>
                            <a:pt x="91" y="301"/>
                            <a:pt x="91" y="301"/>
                            <a:pt x="91" y="301"/>
                          </a:cubicBezTo>
                          <a:cubicBezTo>
                            <a:pt x="86" y="300"/>
                            <a:pt x="81" y="299"/>
                            <a:pt x="75" y="299"/>
                          </a:cubicBezTo>
                          <a:cubicBezTo>
                            <a:pt x="34" y="299"/>
                            <a:pt x="0" y="332"/>
                            <a:pt x="0" y="373"/>
                          </a:cubicBezTo>
                          <a:cubicBezTo>
                            <a:pt x="0" y="415"/>
                            <a:pt x="34" y="448"/>
                            <a:pt x="75" y="448"/>
                          </a:cubicBezTo>
                          <a:cubicBezTo>
                            <a:pt x="108" y="448"/>
                            <a:pt x="136" y="426"/>
                            <a:pt x="146" y="395"/>
                          </a:cubicBezTo>
                          <a:cubicBezTo>
                            <a:pt x="349" y="395"/>
                            <a:pt x="349" y="395"/>
                            <a:pt x="349" y="395"/>
                          </a:cubicBezTo>
                          <a:cubicBezTo>
                            <a:pt x="358" y="426"/>
                            <a:pt x="386" y="448"/>
                            <a:pt x="419" y="448"/>
                          </a:cubicBezTo>
                          <a:cubicBezTo>
                            <a:pt x="461" y="448"/>
                            <a:pt x="494" y="415"/>
                            <a:pt x="494" y="373"/>
                          </a:cubicBezTo>
                          <a:cubicBezTo>
                            <a:pt x="494" y="332"/>
                            <a:pt x="461" y="299"/>
                            <a:pt x="419" y="299"/>
                          </a:cubicBezTo>
                          <a:close/>
                          <a:moveTo>
                            <a:pt x="349" y="351"/>
                          </a:moveTo>
                          <a:cubicBezTo>
                            <a:pt x="146" y="351"/>
                            <a:pt x="146" y="351"/>
                            <a:pt x="146" y="351"/>
                          </a:cubicBezTo>
                          <a:cubicBezTo>
                            <a:pt x="142" y="341"/>
                            <a:pt x="137" y="331"/>
                            <a:pt x="130" y="323"/>
                          </a:cubicBezTo>
                          <a:cubicBezTo>
                            <a:pt x="231" y="148"/>
                            <a:pt x="231" y="148"/>
                            <a:pt x="231" y="148"/>
                          </a:cubicBezTo>
                          <a:cubicBezTo>
                            <a:pt x="236" y="149"/>
                            <a:pt x="242" y="150"/>
                            <a:pt x="247" y="150"/>
                          </a:cubicBezTo>
                          <a:cubicBezTo>
                            <a:pt x="253" y="150"/>
                            <a:pt x="258" y="149"/>
                            <a:pt x="264" y="148"/>
                          </a:cubicBezTo>
                          <a:cubicBezTo>
                            <a:pt x="365" y="323"/>
                            <a:pt x="365" y="323"/>
                            <a:pt x="365" y="323"/>
                          </a:cubicBezTo>
                          <a:cubicBezTo>
                            <a:pt x="358" y="331"/>
                            <a:pt x="352" y="341"/>
                            <a:pt x="349" y="351"/>
                          </a:cubicBezTo>
                          <a:close/>
                        </a:path>
                      </a:pathLst>
                    </a:custGeom>
                    <a:solidFill>
                      <a:schemeClr val="bg1"/>
                    </a:solidFill>
                    <a:ln>
                      <a:noFill/>
                    </a:ln>
                    <a:extLst/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 sz="1200" dirty="0"/>
                    </a:p>
                  </p:txBody>
                </p:sp>
              </p:grpSp>
            </p:grpSp>
            <p:grpSp>
              <p:nvGrpSpPr>
                <p:cNvPr id="1384" name="Group 1383"/>
                <p:cNvGrpSpPr/>
                <p:nvPr/>
              </p:nvGrpSpPr>
              <p:grpSpPr>
                <a:xfrm>
                  <a:off x="3753982" y="2986823"/>
                  <a:ext cx="309857" cy="268010"/>
                  <a:chOff x="5310724" y="2352924"/>
                  <a:chExt cx="398754" cy="374816"/>
                </a:xfrm>
              </p:grpSpPr>
              <p:sp>
                <p:nvSpPr>
                  <p:cNvPr id="1497" name="Rounded Rectangle 1496"/>
                  <p:cNvSpPr/>
                  <p:nvPr/>
                </p:nvSpPr>
                <p:spPr>
                  <a:xfrm>
                    <a:off x="5351561" y="2386601"/>
                    <a:ext cx="308105" cy="310923"/>
                  </a:xfrm>
                  <a:prstGeom prst="roundRect">
                    <a:avLst/>
                  </a:prstGeom>
                  <a:solidFill>
                    <a:srgbClr val="948A54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grpSp>
                <p:nvGrpSpPr>
                  <p:cNvPr id="1498" name="Group 1497"/>
                  <p:cNvGrpSpPr/>
                  <p:nvPr/>
                </p:nvGrpSpPr>
                <p:grpSpPr>
                  <a:xfrm>
                    <a:off x="5310724" y="2352924"/>
                    <a:ext cx="398754" cy="374816"/>
                    <a:chOff x="5310724" y="2352924"/>
                    <a:chExt cx="398754" cy="374816"/>
                  </a:xfrm>
                </p:grpSpPr>
                <p:grpSp>
                  <p:nvGrpSpPr>
                    <p:cNvPr id="1499" name="Group 1498"/>
                    <p:cNvGrpSpPr/>
                    <p:nvPr/>
                  </p:nvGrpSpPr>
                  <p:grpSpPr>
                    <a:xfrm rot="5400000">
                      <a:off x="5322693" y="2340955"/>
                      <a:ext cx="374816" cy="398754"/>
                      <a:chOff x="4471988" y="1985963"/>
                      <a:chExt cx="527051" cy="517525"/>
                    </a:xfrm>
                  </p:grpSpPr>
                  <p:sp>
                    <p:nvSpPr>
                      <p:cNvPr id="1501" name="Freeform 13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4471988" y="2117725"/>
                        <a:ext cx="25400" cy="50800"/>
                      </a:xfrm>
                      <a:custGeom>
                        <a:avLst/>
                        <a:gdLst>
                          <a:gd name="T0" fmla="*/ 14 w 29"/>
                          <a:gd name="T1" fmla="*/ 57 h 57"/>
                          <a:gd name="T2" fmla="*/ 29 w 29"/>
                          <a:gd name="T3" fmla="*/ 43 h 57"/>
                          <a:gd name="T4" fmla="*/ 29 w 29"/>
                          <a:gd name="T5" fmla="*/ 14 h 57"/>
                          <a:gd name="T6" fmla="*/ 14 w 29"/>
                          <a:gd name="T7" fmla="*/ 0 h 57"/>
                          <a:gd name="T8" fmla="*/ 0 w 29"/>
                          <a:gd name="T9" fmla="*/ 14 h 57"/>
                          <a:gd name="T10" fmla="*/ 0 w 29"/>
                          <a:gd name="T11" fmla="*/ 43 h 57"/>
                          <a:gd name="T12" fmla="*/ 14 w 29"/>
                          <a:gd name="T13" fmla="*/ 57 h 57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</a:cxnLst>
                        <a:rect l="0" t="0" r="r" b="b"/>
                        <a:pathLst>
                          <a:path w="29" h="57">
                            <a:moveTo>
                              <a:pt x="14" y="57"/>
                            </a:moveTo>
                            <a:cubicBezTo>
                              <a:pt x="22" y="57"/>
                              <a:pt x="29" y="51"/>
                              <a:pt x="29" y="43"/>
                            </a:cubicBezTo>
                            <a:cubicBezTo>
                              <a:pt x="29" y="14"/>
                              <a:pt x="29" y="14"/>
                              <a:pt x="29" y="14"/>
                            </a:cubicBezTo>
                            <a:cubicBezTo>
                              <a:pt x="29" y="6"/>
                              <a:pt x="22" y="0"/>
                              <a:pt x="14" y="0"/>
                            </a:cubicBezTo>
                            <a:cubicBezTo>
                              <a:pt x="7" y="0"/>
                              <a:pt x="0" y="6"/>
                              <a:pt x="0" y="14"/>
                            </a:cubicBezTo>
                            <a:cubicBezTo>
                              <a:pt x="0" y="43"/>
                              <a:pt x="0" y="43"/>
                              <a:pt x="0" y="43"/>
                            </a:cubicBezTo>
                            <a:cubicBezTo>
                              <a:pt x="0" y="51"/>
                              <a:pt x="7" y="57"/>
                              <a:pt x="14" y="57"/>
                            </a:cubicBezTo>
                            <a:close/>
                          </a:path>
                        </a:pathLst>
                      </a:custGeom>
                      <a:solidFill>
                        <a:srgbClr val="4D4D4F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=""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endParaRPr lang="en-US" sz="1200" dirty="0"/>
                      </a:p>
                    </p:txBody>
                  </p:sp>
                  <p:sp>
                    <p:nvSpPr>
                      <p:cNvPr id="1502" name="Freeform 14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4471988" y="2271713"/>
                        <a:ext cx="25400" cy="52388"/>
                      </a:xfrm>
                      <a:custGeom>
                        <a:avLst/>
                        <a:gdLst>
                          <a:gd name="T0" fmla="*/ 14 w 29"/>
                          <a:gd name="T1" fmla="*/ 58 h 58"/>
                          <a:gd name="T2" fmla="*/ 29 w 29"/>
                          <a:gd name="T3" fmla="*/ 43 h 58"/>
                          <a:gd name="T4" fmla="*/ 29 w 29"/>
                          <a:gd name="T5" fmla="*/ 15 h 58"/>
                          <a:gd name="T6" fmla="*/ 14 w 29"/>
                          <a:gd name="T7" fmla="*/ 0 h 58"/>
                          <a:gd name="T8" fmla="*/ 0 w 29"/>
                          <a:gd name="T9" fmla="*/ 15 h 58"/>
                          <a:gd name="T10" fmla="*/ 0 w 29"/>
                          <a:gd name="T11" fmla="*/ 43 h 58"/>
                          <a:gd name="T12" fmla="*/ 14 w 29"/>
                          <a:gd name="T13" fmla="*/ 58 h 58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</a:cxnLst>
                        <a:rect l="0" t="0" r="r" b="b"/>
                        <a:pathLst>
                          <a:path w="29" h="58">
                            <a:moveTo>
                              <a:pt x="14" y="58"/>
                            </a:moveTo>
                            <a:cubicBezTo>
                              <a:pt x="22" y="58"/>
                              <a:pt x="29" y="51"/>
                              <a:pt x="29" y="43"/>
                            </a:cubicBezTo>
                            <a:cubicBezTo>
                              <a:pt x="29" y="15"/>
                              <a:pt x="29" y="15"/>
                              <a:pt x="29" y="15"/>
                            </a:cubicBezTo>
                            <a:cubicBezTo>
                              <a:pt x="29" y="7"/>
                              <a:pt x="22" y="0"/>
                              <a:pt x="14" y="0"/>
                            </a:cubicBezTo>
                            <a:cubicBezTo>
                              <a:pt x="7" y="0"/>
                              <a:pt x="0" y="7"/>
                              <a:pt x="0" y="15"/>
                            </a:cubicBezTo>
                            <a:cubicBezTo>
                              <a:pt x="0" y="43"/>
                              <a:pt x="0" y="43"/>
                              <a:pt x="0" y="43"/>
                            </a:cubicBezTo>
                            <a:cubicBezTo>
                              <a:pt x="0" y="51"/>
                              <a:pt x="7" y="58"/>
                              <a:pt x="14" y="58"/>
                            </a:cubicBezTo>
                            <a:close/>
                          </a:path>
                        </a:pathLst>
                      </a:custGeom>
                      <a:solidFill>
                        <a:srgbClr val="4D4D4F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=""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endParaRPr lang="en-US" sz="1200" dirty="0"/>
                      </a:p>
                    </p:txBody>
                  </p:sp>
                  <p:sp>
                    <p:nvSpPr>
                      <p:cNvPr id="1503" name="Freeform 15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4487863" y="2422525"/>
                        <a:ext cx="44450" cy="47625"/>
                      </a:xfrm>
                      <a:custGeom>
                        <a:avLst/>
                        <a:gdLst>
                          <a:gd name="T0" fmla="*/ 29 w 50"/>
                          <a:gd name="T1" fmla="*/ 8 h 53"/>
                          <a:gd name="T2" fmla="*/ 9 w 50"/>
                          <a:gd name="T3" fmla="*/ 4 h 53"/>
                          <a:gd name="T4" fmla="*/ 4 w 50"/>
                          <a:gd name="T5" fmla="*/ 24 h 53"/>
                          <a:gd name="T6" fmla="*/ 24 w 50"/>
                          <a:gd name="T7" fmla="*/ 49 h 53"/>
                          <a:gd name="T8" fmla="*/ 34 w 50"/>
                          <a:gd name="T9" fmla="*/ 53 h 53"/>
                          <a:gd name="T10" fmla="*/ 45 w 50"/>
                          <a:gd name="T11" fmla="*/ 49 h 53"/>
                          <a:gd name="T12" fmla="*/ 45 w 50"/>
                          <a:gd name="T13" fmla="*/ 28 h 53"/>
                          <a:gd name="T14" fmla="*/ 29 w 50"/>
                          <a:gd name="T15" fmla="*/ 8 h 53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  <a:cxn ang="0">
                            <a:pos x="T14" y="T15"/>
                          </a:cxn>
                        </a:cxnLst>
                        <a:rect l="0" t="0" r="r" b="b"/>
                        <a:pathLst>
                          <a:path w="50" h="53">
                            <a:moveTo>
                              <a:pt x="29" y="8"/>
                            </a:moveTo>
                            <a:cubicBezTo>
                              <a:pt x="24" y="2"/>
                              <a:pt x="15" y="0"/>
                              <a:pt x="9" y="4"/>
                            </a:cubicBezTo>
                            <a:cubicBezTo>
                              <a:pt x="2" y="8"/>
                              <a:pt x="0" y="17"/>
                              <a:pt x="4" y="24"/>
                            </a:cubicBezTo>
                            <a:cubicBezTo>
                              <a:pt x="10" y="33"/>
                              <a:pt x="17" y="41"/>
                              <a:pt x="24" y="49"/>
                            </a:cubicBezTo>
                            <a:cubicBezTo>
                              <a:pt x="27" y="51"/>
                              <a:pt x="31" y="53"/>
                              <a:pt x="34" y="53"/>
                            </a:cubicBezTo>
                            <a:cubicBezTo>
                              <a:pt x="38" y="53"/>
                              <a:pt x="42" y="51"/>
                              <a:pt x="45" y="49"/>
                            </a:cubicBezTo>
                            <a:cubicBezTo>
                              <a:pt x="50" y="43"/>
                              <a:pt x="50" y="34"/>
                              <a:pt x="45" y="28"/>
                            </a:cubicBezTo>
                            <a:cubicBezTo>
                              <a:pt x="39" y="22"/>
                              <a:pt x="33" y="15"/>
                              <a:pt x="29" y="8"/>
                            </a:cubicBezTo>
                            <a:close/>
                          </a:path>
                        </a:pathLst>
                      </a:custGeom>
                      <a:solidFill>
                        <a:srgbClr val="4D4D4F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=""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endParaRPr lang="en-US" sz="1200" dirty="0"/>
                      </a:p>
                    </p:txBody>
                  </p:sp>
                  <p:sp>
                    <p:nvSpPr>
                      <p:cNvPr id="1504" name="Freeform 16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4471988" y="2193925"/>
                        <a:ext cx="25400" cy="52388"/>
                      </a:xfrm>
                      <a:custGeom>
                        <a:avLst/>
                        <a:gdLst>
                          <a:gd name="T0" fmla="*/ 14 w 29"/>
                          <a:gd name="T1" fmla="*/ 58 h 58"/>
                          <a:gd name="T2" fmla="*/ 29 w 29"/>
                          <a:gd name="T3" fmla="*/ 43 h 58"/>
                          <a:gd name="T4" fmla="*/ 29 w 29"/>
                          <a:gd name="T5" fmla="*/ 14 h 58"/>
                          <a:gd name="T6" fmla="*/ 14 w 29"/>
                          <a:gd name="T7" fmla="*/ 0 h 58"/>
                          <a:gd name="T8" fmla="*/ 0 w 29"/>
                          <a:gd name="T9" fmla="*/ 14 h 58"/>
                          <a:gd name="T10" fmla="*/ 0 w 29"/>
                          <a:gd name="T11" fmla="*/ 43 h 58"/>
                          <a:gd name="T12" fmla="*/ 14 w 29"/>
                          <a:gd name="T13" fmla="*/ 58 h 58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</a:cxnLst>
                        <a:rect l="0" t="0" r="r" b="b"/>
                        <a:pathLst>
                          <a:path w="29" h="58">
                            <a:moveTo>
                              <a:pt x="14" y="58"/>
                            </a:moveTo>
                            <a:cubicBezTo>
                              <a:pt x="22" y="58"/>
                              <a:pt x="29" y="51"/>
                              <a:pt x="29" y="43"/>
                            </a:cubicBezTo>
                            <a:cubicBezTo>
                              <a:pt x="29" y="14"/>
                              <a:pt x="29" y="14"/>
                              <a:pt x="29" y="14"/>
                            </a:cubicBezTo>
                            <a:cubicBezTo>
                              <a:pt x="29" y="6"/>
                              <a:pt x="22" y="0"/>
                              <a:pt x="14" y="0"/>
                            </a:cubicBezTo>
                            <a:cubicBezTo>
                              <a:pt x="7" y="0"/>
                              <a:pt x="0" y="6"/>
                              <a:pt x="0" y="14"/>
                            </a:cubicBezTo>
                            <a:cubicBezTo>
                              <a:pt x="0" y="43"/>
                              <a:pt x="0" y="43"/>
                              <a:pt x="0" y="43"/>
                            </a:cubicBezTo>
                            <a:cubicBezTo>
                              <a:pt x="0" y="51"/>
                              <a:pt x="7" y="58"/>
                              <a:pt x="14" y="58"/>
                            </a:cubicBezTo>
                            <a:close/>
                          </a:path>
                        </a:pathLst>
                      </a:custGeom>
                      <a:solidFill>
                        <a:srgbClr val="4D4D4F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=""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endParaRPr lang="en-US" sz="1200" dirty="0"/>
                      </a:p>
                    </p:txBody>
                  </p:sp>
                  <p:sp>
                    <p:nvSpPr>
                      <p:cNvPr id="1505" name="Freeform 17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4830763" y="1985963"/>
                        <a:ext cx="50800" cy="26988"/>
                      </a:xfrm>
                      <a:custGeom>
                        <a:avLst/>
                        <a:gdLst>
                          <a:gd name="T0" fmla="*/ 15 w 57"/>
                          <a:gd name="T1" fmla="*/ 29 h 29"/>
                          <a:gd name="T2" fmla="*/ 44 w 57"/>
                          <a:gd name="T3" fmla="*/ 29 h 29"/>
                          <a:gd name="T4" fmla="*/ 57 w 57"/>
                          <a:gd name="T5" fmla="*/ 15 h 29"/>
                          <a:gd name="T6" fmla="*/ 43 w 57"/>
                          <a:gd name="T7" fmla="*/ 0 h 29"/>
                          <a:gd name="T8" fmla="*/ 15 w 57"/>
                          <a:gd name="T9" fmla="*/ 0 h 29"/>
                          <a:gd name="T10" fmla="*/ 0 w 57"/>
                          <a:gd name="T11" fmla="*/ 15 h 29"/>
                          <a:gd name="T12" fmla="*/ 15 w 57"/>
                          <a:gd name="T13" fmla="*/ 29 h 29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</a:cxnLst>
                        <a:rect l="0" t="0" r="r" b="b"/>
                        <a:pathLst>
                          <a:path w="57" h="29">
                            <a:moveTo>
                              <a:pt x="15" y="29"/>
                            </a:moveTo>
                            <a:cubicBezTo>
                              <a:pt x="44" y="29"/>
                              <a:pt x="44" y="29"/>
                              <a:pt x="44" y="29"/>
                            </a:cubicBezTo>
                            <a:cubicBezTo>
                              <a:pt x="51" y="29"/>
                              <a:pt x="57" y="23"/>
                              <a:pt x="57" y="15"/>
                            </a:cubicBezTo>
                            <a:cubicBezTo>
                              <a:pt x="57" y="7"/>
                              <a:pt x="50" y="0"/>
                              <a:pt x="43" y="0"/>
                            </a:cubicBezTo>
                            <a:cubicBezTo>
                              <a:pt x="15" y="0"/>
                              <a:pt x="15" y="0"/>
                              <a:pt x="15" y="0"/>
                            </a:cubicBezTo>
                            <a:cubicBezTo>
                              <a:pt x="7" y="0"/>
                              <a:pt x="0" y="7"/>
                              <a:pt x="0" y="15"/>
                            </a:cubicBezTo>
                            <a:cubicBezTo>
                              <a:pt x="0" y="23"/>
                              <a:pt x="7" y="29"/>
                              <a:pt x="15" y="29"/>
                            </a:cubicBezTo>
                            <a:close/>
                          </a:path>
                        </a:pathLst>
                      </a:custGeom>
                      <a:solidFill>
                        <a:srgbClr val="4D4D4F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=""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endParaRPr lang="en-US" sz="1200" dirty="0"/>
                      </a:p>
                    </p:txBody>
                  </p:sp>
                  <p:sp>
                    <p:nvSpPr>
                      <p:cNvPr id="1506" name="Freeform 18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4905376" y="1997075"/>
                        <a:ext cx="50800" cy="41275"/>
                      </a:xfrm>
                      <a:custGeom>
                        <a:avLst/>
                        <a:gdLst>
                          <a:gd name="T0" fmla="*/ 10 w 56"/>
                          <a:gd name="T1" fmla="*/ 30 h 47"/>
                          <a:gd name="T2" fmla="*/ 31 w 56"/>
                          <a:gd name="T3" fmla="*/ 43 h 47"/>
                          <a:gd name="T4" fmla="*/ 40 w 56"/>
                          <a:gd name="T5" fmla="*/ 47 h 47"/>
                          <a:gd name="T6" fmla="*/ 51 w 56"/>
                          <a:gd name="T7" fmla="*/ 41 h 47"/>
                          <a:gd name="T8" fmla="*/ 49 w 56"/>
                          <a:gd name="T9" fmla="*/ 21 h 47"/>
                          <a:gd name="T10" fmla="*/ 22 w 56"/>
                          <a:gd name="T11" fmla="*/ 4 h 47"/>
                          <a:gd name="T12" fmla="*/ 3 w 56"/>
                          <a:gd name="T13" fmla="*/ 11 h 47"/>
                          <a:gd name="T14" fmla="*/ 10 w 56"/>
                          <a:gd name="T15" fmla="*/ 30 h 47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  <a:cxn ang="0">
                            <a:pos x="T14" y="T15"/>
                          </a:cxn>
                        </a:cxnLst>
                        <a:rect l="0" t="0" r="r" b="b"/>
                        <a:pathLst>
                          <a:path w="56" h="47">
                            <a:moveTo>
                              <a:pt x="10" y="30"/>
                            </a:moveTo>
                            <a:cubicBezTo>
                              <a:pt x="17" y="33"/>
                              <a:pt x="25" y="38"/>
                              <a:pt x="31" y="43"/>
                            </a:cubicBezTo>
                            <a:cubicBezTo>
                              <a:pt x="34" y="46"/>
                              <a:pt x="37" y="47"/>
                              <a:pt x="40" y="47"/>
                            </a:cubicBezTo>
                            <a:cubicBezTo>
                              <a:pt x="44" y="47"/>
                              <a:pt x="49" y="45"/>
                              <a:pt x="51" y="41"/>
                            </a:cubicBezTo>
                            <a:cubicBezTo>
                              <a:pt x="56" y="35"/>
                              <a:pt x="55" y="26"/>
                              <a:pt x="49" y="21"/>
                            </a:cubicBezTo>
                            <a:cubicBezTo>
                              <a:pt x="41" y="14"/>
                              <a:pt x="32" y="9"/>
                              <a:pt x="22" y="4"/>
                            </a:cubicBezTo>
                            <a:cubicBezTo>
                              <a:pt x="15" y="0"/>
                              <a:pt x="7" y="3"/>
                              <a:pt x="3" y="11"/>
                            </a:cubicBezTo>
                            <a:cubicBezTo>
                              <a:pt x="0" y="18"/>
                              <a:pt x="3" y="26"/>
                              <a:pt x="10" y="30"/>
                            </a:cubicBezTo>
                            <a:close/>
                          </a:path>
                        </a:pathLst>
                      </a:custGeom>
                      <a:solidFill>
                        <a:srgbClr val="4D4D4F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=""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endParaRPr lang="en-US" sz="1200" dirty="0"/>
                      </a:p>
                    </p:txBody>
                  </p:sp>
                  <p:sp>
                    <p:nvSpPr>
                      <p:cNvPr id="1507" name="Freeform 19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4476751" y="2039938"/>
                        <a:ext cx="39688" cy="52388"/>
                      </a:xfrm>
                      <a:custGeom>
                        <a:avLst/>
                        <a:gdLst>
                          <a:gd name="T0" fmla="*/ 12 w 45"/>
                          <a:gd name="T1" fmla="*/ 56 h 57"/>
                          <a:gd name="T2" fmla="*/ 16 w 45"/>
                          <a:gd name="T3" fmla="*/ 57 h 57"/>
                          <a:gd name="T4" fmla="*/ 30 w 45"/>
                          <a:gd name="T5" fmla="*/ 47 h 57"/>
                          <a:gd name="T6" fmla="*/ 41 w 45"/>
                          <a:gd name="T7" fmla="*/ 24 h 57"/>
                          <a:gd name="T8" fmla="*/ 36 w 45"/>
                          <a:gd name="T9" fmla="*/ 4 h 57"/>
                          <a:gd name="T10" fmla="*/ 16 w 45"/>
                          <a:gd name="T11" fmla="*/ 9 h 57"/>
                          <a:gd name="T12" fmla="*/ 3 w 45"/>
                          <a:gd name="T13" fmla="*/ 38 h 57"/>
                          <a:gd name="T14" fmla="*/ 12 w 45"/>
                          <a:gd name="T15" fmla="*/ 56 h 57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  <a:cxn ang="0">
                            <a:pos x="T14" y="T15"/>
                          </a:cxn>
                        </a:cxnLst>
                        <a:rect l="0" t="0" r="r" b="b"/>
                        <a:pathLst>
                          <a:path w="45" h="57">
                            <a:moveTo>
                              <a:pt x="12" y="56"/>
                            </a:moveTo>
                            <a:cubicBezTo>
                              <a:pt x="13" y="57"/>
                              <a:pt x="15" y="57"/>
                              <a:pt x="16" y="57"/>
                            </a:cubicBezTo>
                            <a:cubicBezTo>
                              <a:pt x="22" y="57"/>
                              <a:pt x="28" y="53"/>
                              <a:pt x="30" y="47"/>
                            </a:cubicBezTo>
                            <a:cubicBezTo>
                              <a:pt x="33" y="39"/>
                              <a:pt x="36" y="32"/>
                              <a:pt x="41" y="24"/>
                            </a:cubicBezTo>
                            <a:cubicBezTo>
                              <a:pt x="45" y="17"/>
                              <a:pt x="43" y="9"/>
                              <a:pt x="36" y="4"/>
                            </a:cubicBezTo>
                            <a:cubicBezTo>
                              <a:pt x="29" y="0"/>
                              <a:pt x="21" y="2"/>
                              <a:pt x="16" y="9"/>
                            </a:cubicBezTo>
                            <a:cubicBezTo>
                              <a:pt x="11" y="18"/>
                              <a:pt x="6" y="28"/>
                              <a:pt x="3" y="38"/>
                            </a:cubicBezTo>
                            <a:cubicBezTo>
                              <a:pt x="0" y="45"/>
                              <a:pt x="4" y="54"/>
                              <a:pt x="12" y="56"/>
                            </a:cubicBezTo>
                            <a:close/>
                          </a:path>
                        </a:pathLst>
                      </a:custGeom>
                      <a:solidFill>
                        <a:srgbClr val="4D4D4F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=""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endParaRPr lang="en-US" sz="1200" dirty="0"/>
                      </a:p>
                    </p:txBody>
                  </p:sp>
                  <p:sp>
                    <p:nvSpPr>
                      <p:cNvPr id="1508" name="Freeform 20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4522788" y="1992313"/>
                        <a:ext cx="52388" cy="39688"/>
                      </a:xfrm>
                      <a:custGeom>
                        <a:avLst/>
                        <a:gdLst>
                          <a:gd name="T0" fmla="*/ 55 w 58"/>
                          <a:gd name="T1" fmla="*/ 11 h 43"/>
                          <a:gd name="T2" fmla="*/ 37 w 58"/>
                          <a:gd name="T3" fmla="*/ 2 h 43"/>
                          <a:gd name="T4" fmla="*/ 9 w 58"/>
                          <a:gd name="T5" fmla="*/ 17 h 43"/>
                          <a:gd name="T6" fmla="*/ 4 w 58"/>
                          <a:gd name="T7" fmla="*/ 37 h 43"/>
                          <a:gd name="T8" fmla="*/ 16 w 58"/>
                          <a:gd name="T9" fmla="*/ 43 h 43"/>
                          <a:gd name="T10" fmla="*/ 24 w 58"/>
                          <a:gd name="T11" fmla="*/ 41 h 43"/>
                          <a:gd name="T12" fmla="*/ 47 w 58"/>
                          <a:gd name="T13" fmla="*/ 29 h 43"/>
                          <a:gd name="T14" fmla="*/ 55 w 58"/>
                          <a:gd name="T15" fmla="*/ 11 h 43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  <a:cxn ang="0">
                            <a:pos x="T14" y="T15"/>
                          </a:cxn>
                        </a:cxnLst>
                        <a:rect l="0" t="0" r="r" b="b"/>
                        <a:pathLst>
                          <a:path w="58" h="43">
                            <a:moveTo>
                              <a:pt x="55" y="11"/>
                            </a:moveTo>
                            <a:cubicBezTo>
                              <a:pt x="53" y="3"/>
                              <a:pt x="44" y="0"/>
                              <a:pt x="37" y="2"/>
                            </a:cubicBezTo>
                            <a:cubicBezTo>
                              <a:pt x="27" y="6"/>
                              <a:pt x="17" y="11"/>
                              <a:pt x="9" y="17"/>
                            </a:cubicBezTo>
                            <a:cubicBezTo>
                              <a:pt x="2" y="21"/>
                              <a:pt x="0" y="30"/>
                              <a:pt x="4" y="37"/>
                            </a:cubicBezTo>
                            <a:cubicBezTo>
                              <a:pt x="7" y="41"/>
                              <a:pt x="12" y="43"/>
                              <a:pt x="16" y="43"/>
                            </a:cubicBezTo>
                            <a:cubicBezTo>
                              <a:pt x="19" y="43"/>
                              <a:pt x="22" y="43"/>
                              <a:pt x="24" y="41"/>
                            </a:cubicBezTo>
                            <a:cubicBezTo>
                              <a:pt x="31" y="36"/>
                              <a:pt x="39" y="32"/>
                              <a:pt x="47" y="29"/>
                            </a:cubicBezTo>
                            <a:cubicBezTo>
                              <a:pt x="54" y="27"/>
                              <a:pt x="58" y="18"/>
                              <a:pt x="55" y="11"/>
                            </a:cubicBezTo>
                            <a:close/>
                          </a:path>
                        </a:pathLst>
                      </a:custGeom>
                      <a:solidFill>
                        <a:srgbClr val="4D4D4F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=""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endParaRPr lang="en-US" sz="1200" dirty="0"/>
                      </a:p>
                    </p:txBody>
                  </p:sp>
                  <p:sp>
                    <p:nvSpPr>
                      <p:cNvPr id="1509" name="Freeform 21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4959351" y="2051050"/>
                        <a:ext cx="36513" cy="52388"/>
                      </a:xfrm>
                      <a:custGeom>
                        <a:avLst/>
                        <a:gdLst>
                          <a:gd name="T0" fmla="*/ 13 w 42"/>
                          <a:gd name="T1" fmla="*/ 47 h 58"/>
                          <a:gd name="T2" fmla="*/ 27 w 42"/>
                          <a:gd name="T3" fmla="*/ 58 h 58"/>
                          <a:gd name="T4" fmla="*/ 30 w 42"/>
                          <a:gd name="T5" fmla="*/ 57 h 58"/>
                          <a:gd name="T6" fmla="*/ 41 w 42"/>
                          <a:gd name="T7" fmla="*/ 40 h 58"/>
                          <a:gd name="T8" fmla="*/ 30 w 42"/>
                          <a:gd name="T9" fmla="*/ 10 h 58"/>
                          <a:gd name="T10" fmla="*/ 11 w 42"/>
                          <a:gd name="T11" fmla="*/ 4 h 58"/>
                          <a:gd name="T12" fmla="*/ 4 w 42"/>
                          <a:gd name="T13" fmla="*/ 23 h 58"/>
                          <a:gd name="T14" fmla="*/ 13 w 42"/>
                          <a:gd name="T15" fmla="*/ 47 h 58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  <a:cxn ang="0">
                            <a:pos x="T14" y="T15"/>
                          </a:cxn>
                        </a:cxnLst>
                        <a:rect l="0" t="0" r="r" b="b"/>
                        <a:pathLst>
                          <a:path w="42" h="58">
                            <a:moveTo>
                              <a:pt x="13" y="47"/>
                            </a:moveTo>
                            <a:cubicBezTo>
                              <a:pt x="14" y="53"/>
                              <a:pt x="20" y="58"/>
                              <a:pt x="27" y="58"/>
                            </a:cubicBezTo>
                            <a:cubicBezTo>
                              <a:pt x="28" y="58"/>
                              <a:pt x="29" y="58"/>
                              <a:pt x="30" y="57"/>
                            </a:cubicBezTo>
                            <a:cubicBezTo>
                              <a:pt x="38" y="56"/>
                              <a:pt x="42" y="48"/>
                              <a:pt x="41" y="40"/>
                            </a:cubicBezTo>
                            <a:cubicBezTo>
                              <a:pt x="38" y="30"/>
                              <a:pt x="35" y="20"/>
                              <a:pt x="30" y="10"/>
                            </a:cubicBezTo>
                            <a:cubicBezTo>
                              <a:pt x="26" y="3"/>
                              <a:pt x="18" y="0"/>
                              <a:pt x="11" y="4"/>
                            </a:cubicBezTo>
                            <a:cubicBezTo>
                              <a:pt x="3" y="7"/>
                              <a:pt x="0" y="16"/>
                              <a:pt x="4" y="23"/>
                            </a:cubicBezTo>
                            <a:cubicBezTo>
                              <a:pt x="8" y="31"/>
                              <a:pt x="11" y="39"/>
                              <a:pt x="13" y="47"/>
                            </a:cubicBezTo>
                            <a:close/>
                          </a:path>
                        </a:pathLst>
                      </a:custGeom>
                      <a:solidFill>
                        <a:srgbClr val="4D4D4F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=""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endParaRPr lang="en-US" sz="1200" dirty="0"/>
                      </a:p>
                    </p:txBody>
                  </p:sp>
                  <p:sp>
                    <p:nvSpPr>
                      <p:cNvPr id="1510" name="Freeform 22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4598988" y="1985963"/>
                        <a:ext cx="52388" cy="26988"/>
                      </a:xfrm>
                      <a:custGeom>
                        <a:avLst/>
                        <a:gdLst>
                          <a:gd name="T0" fmla="*/ 14 w 58"/>
                          <a:gd name="T1" fmla="*/ 29 h 29"/>
                          <a:gd name="T2" fmla="*/ 43 w 58"/>
                          <a:gd name="T3" fmla="*/ 29 h 29"/>
                          <a:gd name="T4" fmla="*/ 58 w 58"/>
                          <a:gd name="T5" fmla="*/ 15 h 29"/>
                          <a:gd name="T6" fmla="*/ 43 w 58"/>
                          <a:gd name="T7" fmla="*/ 0 h 29"/>
                          <a:gd name="T8" fmla="*/ 14 w 58"/>
                          <a:gd name="T9" fmla="*/ 0 h 29"/>
                          <a:gd name="T10" fmla="*/ 0 w 58"/>
                          <a:gd name="T11" fmla="*/ 15 h 29"/>
                          <a:gd name="T12" fmla="*/ 14 w 58"/>
                          <a:gd name="T13" fmla="*/ 29 h 29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</a:cxnLst>
                        <a:rect l="0" t="0" r="r" b="b"/>
                        <a:pathLst>
                          <a:path w="58" h="29">
                            <a:moveTo>
                              <a:pt x="14" y="29"/>
                            </a:moveTo>
                            <a:cubicBezTo>
                              <a:pt x="43" y="29"/>
                              <a:pt x="43" y="29"/>
                              <a:pt x="43" y="29"/>
                            </a:cubicBezTo>
                            <a:cubicBezTo>
                              <a:pt x="51" y="29"/>
                              <a:pt x="58" y="23"/>
                              <a:pt x="58" y="15"/>
                            </a:cubicBezTo>
                            <a:cubicBezTo>
                              <a:pt x="58" y="7"/>
                              <a:pt x="51" y="0"/>
                              <a:pt x="43" y="0"/>
                            </a:cubicBezTo>
                            <a:cubicBezTo>
                              <a:pt x="14" y="0"/>
                              <a:pt x="14" y="0"/>
                              <a:pt x="14" y="0"/>
                            </a:cubicBezTo>
                            <a:cubicBezTo>
                              <a:pt x="6" y="0"/>
                              <a:pt x="0" y="7"/>
                              <a:pt x="0" y="15"/>
                            </a:cubicBezTo>
                            <a:cubicBezTo>
                              <a:pt x="0" y="23"/>
                              <a:pt x="6" y="29"/>
                              <a:pt x="14" y="29"/>
                            </a:cubicBezTo>
                            <a:close/>
                          </a:path>
                        </a:pathLst>
                      </a:custGeom>
                      <a:solidFill>
                        <a:srgbClr val="4D4D4F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=""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endParaRPr lang="en-US" sz="1200" dirty="0"/>
                      </a:p>
                    </p:txBody>
                  </p:sp>
                  <p:sp>
                    <p:nvSpPr>
                      <p:cNvPr id="1511" name="Freeform 23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4676776" y="1985963"/>
                        <a:ext cx="50800" cy="26988"/>
                      </a:xfrm>
                      <a:custGeom>
                        <a:avLst/>
                        <a:gdLst>
                          <a:gd name="T0" fmla="*/ 15 w 58"/>
                          <a:gd name="T1" fmla="*/ 29 h 29"/>
                          <a:gd name="T2" fmla="*/ 43 w 58"/>
                          <a:gd name="T3" fmla="*/ 29 h 29"/>
                          <a:gd name="T4" fmla="*/ 58 w 58"/>
                          <a:gd name="T5" fmla="*/ 15 h 29"/>
                          <a:gd name="T6" fmla="*/ 43 w 58"/>
                          <a:gd name="T7" fmla="*/ 0 h 29"/>
                          <a:gd name="T8" fmla="*/ 15 w 58"/>
                          <a:gd name="T9" fmla="*/ 0 h 29"/>
                          <a:gd name="T10" fmla="*/ 0 w 58"/>
                          <a:gd name="T11" fmla="*/ 15 h 29"/>
                          <a:gd name="T12" fmla="*/ 15 w 58"/>
                          <a:gd name="T13" fmla="*/ 29 h 29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</a:cxnLst>
                        <a:rect l="0" t="0" r="r" b="b"/>
                        <a:pathLst>
                          <a:path w="58" h="29">
                            <a:moveTo>
                              <a:pt x="15" y="29"/>
                            </a:moveTo>
                            <a:cubicBezTo>
                              <a:pt x="43" y="29"/>
                              <a:pt x="43" y="29"/>
                              <a:pt x="43" y="29"/>
                            </a:cubicBezTo>
                            <a:cubicBezTo>
                              <a:pt x="51" y="29"/>
                              <a:pt x="58" y="23"/>
                              <a:pt x="58" y="15"/>
                            </a:cubicBezTo>
                            <a:cubicBezTo>
                              <a:pt x="58" y="7"/>
                              <a:pt x="51" y="0"/>
                              <a:pt x="43" y="0"/>
                            </a:cubicBezTo>
                            <a:cubicBezTo>
                              <a:pt x="15" y="0"/>
                              <a:pt x="15" y="0"/>
                              <a:pt x="15" y="0"/>
                            </a:cubicBezTo>
                            <a:cubicBezTo>
                              <a:pt x="7" y="0"/>
                              <a:pt x="0" y="7"/>
                              <a:pt x="0" y="15"/>
                            </a:cubicBezTo>
                            <a:cubicBezTo>
                              <a:pt x="0" y="23"/>
                              <a:pt x="7" y="29"/>
                              <a:pt x="15" y="29"/>
                            </a:cubicBezTo>
                            <a:close/>
                          </a:path>
                        </a:pathLst>
                      </a:custGeom>
                      <a:solidFill>
                        <a:srgbClr val="4D4D4F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=""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endParaRPr lang="en-US" sz="1200" dirty="0"/>
                      </a:p>
                    </p:txBody>
                  </p:sp>
                  <p:sp>
                    <p:nvSpPr>
                      <p:cNvPr id="1512" name="Freeform 24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4752976" y="1985963"/>
                        <a:ext cx="52388" cy="26988"/>
                      </a:xfrm>
                      <a:custGeom>
                        <a:avLst/>
                        <a:gdLst>
                          <a:gd name="T0" fmla="*/ 15 w 58"/>
                          <a:gd name="T1" fmla="*/ 29 h 29"/>
                          <a:gd name="T2" fmla="*/ 43 w 58"/>
                          <a:gd name="T3" fmla="*/ 29 h 29"/>
                          <a:gd name="T4" fmla="*/ 58 w 58"/>
                          <a:gd name="T5" fmla="*/ 15 h 29"/>
                          <a:gd name="T6" fmla="*/ 43 w 58"/>
                          <a:gd name="T7" fmla="*/ 0 h 29"/>
                          <a:gd name="T8" fmla="*/ 15 w 58"/>
                          <a:gd name="T9" fmla="*/ 0 h 29"/>
                          <a:gd name="T10" fmla="*/ 0 w 58"/>
                          <a:gd name="T11" fmla="*/ 15 h 29"/>
                          <a:gd name="T12" fmla="*/ 15 w 58"/>
                          <a:gd name="T13" fmla="*/ 29 h 29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</a:cxnLst>
                        <a:rect l="0" t="0" r="r" b="b"/>
                        <a:pathLst>
                          <a:path w="58" h="29">
                            <a:moveTo>
                              <a:pt x="15" y="29"/>
                            </a:moveTo>
                            <a:cubicBezTo>
                              <a:pt x="43" y="29"/>
                              <a:pt x="43" y="29"/>
                              <a:pt x="43" y="29"/>
                            </a:cubicBezTo>
                            <a:cubicBezTo>
                              <a:pt x="51" y="29"/>
                              <a:pt x="58" y="23"/>
                              <a:pt x="58" y="15"/>
                            </a:cubicBezTo>
                            <a:cubicBezTo>
                              <a:pt x="58" y="7"/>
                              <a:pt x="51" y="0"/>
                              <a:pt x="43" y="0"/>
                            </a:cubicBezTo>
                            <a:cubicBezTo>
                              <a:pt x="15" y="0"/>
                              <a:pt x="15" y="0"/>
                              <a:pt x="15" y="0"/>
                            </a:cubicBezTo>
                            <a:cubicBezTo>
                              <a:pt x="7" y="0"/>
                              <a:pt x="0" y="7"/>
                              <a:pt x="0" y="15"/>
                            </a:cubicBezTo>
                            <a:cubicBezTo>
                              <a:pt x="0" y="23"/>
                              <a:pt x="7" y="29"/>
                              <a:pt x="15" y="29"/>
                            </a:cubicBezTo>
                            <a:close/>
                          </a:path>
                        </a:pathLst>
                      </a:custGeom>
                      <a:solidFill>
                        <a:srgbClr val="4D4D4F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=""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endParaRPr lang="en-US" sz="1200" dirty="0"/>
                      </a:p>
                    </p:txBody>
                  </p:sp>
                  <p:sp>
                    <p:nvSpPr>
                      <p:cNvPr id="1513" name="Freeform 25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4471988" y="2349500"/>
                        <a:ext cx="26988" cy="52388"/>
                      </a:xfrm>
                      <a:custGeom>
                        <a:avLst/>
                        <a:gdLst>
                          <a:gd name="T0" fmla="*/ 30 w 31"/>
                          <a:gd name="T1" fmla="*/ 42 h 58"/>
                          <a:gd name="T2" fmla="*/ 29 w 31"/>
                          <a:gd name="T3" fmla="*/ 28 h 58"/>
                          <a:gd name="T4" fmla="*/ 29 w 31"/>
                          <a:gd name="T5" fmla="*/ 15 h 58"/>
                          <a:gd name="T6" fmla="*/ 14 w 31"/>
                          <a:gd name="T7" fmla="*/ 0 h 58"/>
                          <a:gd name="T8" fmla="*/ 0 w 31"/>
                          <a:gd name="T9" fmla="*/ 15 h 58"/>
                          <a:gd name="T10" fmla="*/ 0 w 31"/>
                          <a:gd name="T11" fmla="*/ 28 h 58"/>
                          <a:gd name="T12" fmla="*/ 1 w 31"/>
                          <a:gd name="T13" fmla="*/ 45 h 58"/>
                          <a:gd name="T14" fmla="*/ 15 w 31"/>
                          <a:gd name="T15" fmla="*/ 58 h 58"/>
                          <a:gd name="T16" fmla="*/ 17 w 31"/>
                          <a:gd name="T17" fmla="*/ 58 h 58"/>
                          <a:gd name="T18" fmla="*/ 30 w 31"/>
                          <a:gd name="T19" fmla="*/ 42 h 58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  <a:cxn ang="0">
                            <a:pos x="T14" y="T15"/>
                          </a:cxn>
                          <a:cxn ang="0">
                            <a:pos x="T16" y="T17"/>
                          </a:cxn>
                          <a:cxn ang="0">
                            <a:pos x="T18" y="T19"/>
                          </a:cxn>
                        </a:cxnLst>
                        <a:rect l="0" t="0" r="r" b="b"/>
                        <a:pathLst>
                          <a:path w="31" h="58">
                            <a:moveTo>
                              <a:pt x="30" y="42"/>
                            </a:moveTo>
                            <a:cubicBezTo>
                              <a:pt x="29" y="37"/>
                              <a:pt x="29" y="33"/>
                              <a:pt x="29" y="28"/>
                            </a:cubicBezTo>
                            <a:cubicBezTo>
                              <a:pt x="29" y="15"/>
                              <a:pt x="29" y="15"/>
                              <a:pt x="29" y="15"/>
                            </a:cubicBezTo>
                            <a:cubicBezTo>
                              <a:pt x="29" y="7"/>
                              <a:pt x="22" y="0"/>
                              <a:pt x="14" y="0"/>
                            </a:cubicBezTo>
                            <a:cubicBezTo>
                              <a:pt x="7" y="0"/>
                              <a:pt x="0" y="7"/>
                              <a:pt x="0" y="15"/>
                            </a:cubicBezTo>
                            <a:cubicBezTo>
                              <a:pt x="0" y="28"/>
                              <a:pt x="0" y="28"/>
                              <a:pt x="0" y="28"/>
                            </a:cubicBezTo>
                            <a:cubicBezTo>
                              <a:pt x="0" y="34"/>
                              <a:pt x="0" y="39"/>
                              <a:pt x="1" y="45"/>
                            </a:cubicBezTo>
                            <a:cubicBezTo>
                              <a:pt x="2" y="52"/>
                              <a:pt x="8" y="58"/>
                              <a:pt x="15" y="58"/>
                            </a:cubicBezTo>
                            <a:cubicBezTo>
                              <a:pt x="16" y="58"/>
                              <a:pt x="17" y="58"/>
                              <a:pt x="17" y="58"/>
                            </a:cubicBezTo>
                            <a:cubicBezTo>
                              <a:pt x="25" y="57"/>
                              <a:pt x="31" y="50"/>
                              <a:pt x="30" y="42"/>
                            </a:cubicBezTo>
                            <a:close/>
                          </a:path>
                        </a:pathLst>
                      </a:custGeom>
                      <a:solidFill>
                        <a:srgbClr val="4D4D4F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=""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endParaRPr lang="en-US" sz="1200" dirty="0"/>
                      </a:p>
                    </p:txBody>
                  </p:sp>
                  <p:sp>
                    <p:nvSpPr>
                      <p:cNvPr id="1514" name="Freeform 26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4973638" y="2282825"/>
                        <a:ext cx="25400" cy="52388"/>
                      </a:xfrm>
                      <a:custGeom>
                        <a:avLst/>
                        <a:gdLst>
                          <a:gd name="T0" fmla="*/ 14 w 29"/>
                          <a:gd name="T1" fmla="*/ 0 h 58"/>
                          <a:gd name="T2" fmla="*/ 0 w 29"/>
                          <a:gd name="T3" fmla="*/ 15 h 58"/>
                          <a:gd name="T4" fmla="*/ 0 w 29"/>
                          <a:gd name="T5" fmla="*/ 44 h 58"/>
                          <a:gd name="T6" fmla="*/ 14 w 29"/>
                          <a:gd name="T7" fmla="*/ 58 h 58"/>
                          <a:gd name="T8" fmla="*/ 29 w 29"/>
                          <a:gd name="T9" fmla="*/ 44 h 58"/>
                          <a:gd name="T10" fmla="*/ 29 w 29"/>
                          <a:gd name="T11" fmla="*/ 15 h 58"/>
                          <a:gd name="T12" fmla="*/ 14 w 29"/>
                          <a:gd name="T13" fmla="*/ 0 h 58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</a:cxnLst>
                        <a:rect l="0" t="0" r="r" b="b"/>
                        <a:pathLst>
                          <a:path w="29" h="58">
                            <a:moveTo>
                              <a:pt x="14" y="0"/>
                            </a:moveTo>
                            <a:cubicBezTo>
                              <a:pt x="6" y="0"/>
                              <a:pt x="0" y="7"/>
                              <a:pt x="0" y="15"/>
                            </a:cubicBezTo>
                            <a:cubicBezTo>
                              <a:pt x="0" y="44"/>
                              <a:pt x="0" y="44"/>
                              <a:pt x="0" y="44"/>
                            </a:cubicBezTo>
                            <a:cubicBezTo>
                              <a:pt x="0" y="52"/>
                              <a:pt x="6" y="58"/>
                              <a:pt x="14" y="58"/>
                            </a:cubicBezTo>
                            <a:cubicBezTo>
                              <a:pt x="22" y="58"/>
                              <a:pt x="29" y="52"/>
                              <a:pt x="29" y="44"/>
                            </a:cubicBezTo>
                            <a:cubicBezTo>
                              <a:pt x="29" y="15"/>
                              <a:pt x="29" y="15"/>
                              <a:pt x="29" y="15"/>
                            </a:cubicBezTo>
                            <a:cubicBezTo>
                              <a:pt x="29" y="7"/>
                              <a:pt x="22" y="0"/>
                              <a:pt x="14" y="0"/>
                            </a:cubicBezTo>
                            <a:close/>
                          </a:path>
                        </a:pathLst>
                      </a:custGeom>
                      <a:solidFill>
                        <a:srgbClr val="4D4D4F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=""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endParaRPr lang="en-US" sz="1200" dirty="0"/>
                      </a:p>
                    </p:txBody>
                  </p:sp>
                  <p:sp>
                    <p:nvSpPr>
                      <p:cNvPr id="1515" name="Freeform 28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4927601" y="2432050"/>
                        <a:ext cx="47625" cy="46038"/>
                      </a:xfrm>
                      <a:custGeom>
                        <a:avLst/>
                        <a:gdLst>
                          <a:gd name="T0" fmla="*/ 25 w 53"/>
                          <a:gd name="T1" fmla="*/ 7 h 51"/>
                          <a:gd name="T2" fmla="*/ 7 w 53"/>
                          <a:gd name="T3" fmla="*/ 25 h 51"/>
                          <a:gd name="T4" fmla="*/ 5 w 53"/>
                          <a:gd name="T5" fmla="*/ 45 h 51"/>
                          <a:gd name="T6" fmla="*/ 16 w 53"/>
                          <a:gd name="T7" fmla="*/ 51 h 51"/>
                          <a:gd name="T8" fmla="*/ 25 w 53"/>
                          <a:gd name="T9" fmla="*/ 47 h 51"/>
                          <a:gd name="T10" fmla="*/ 48 w 53"/>
                          <a:gd name="T11" fmla="*/ 25 h 51"/>
                          <a:gd name="T12" fmla="*/ 45 w 53"/>
                          <a:gd name="T13" fmla="*/ 5 h 51"/>
                          <a:gd name="T14" fmla="*/ 25 w 53"/>
                          <a:gd name="T15" fmla="*/ 7 h 51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  <a:cxn ang="0">
                            <a:pos x="T14" y="T15"/>
                          </a:cxn>
                        </a:cxnLst>
                        <a:rect l="0" t="0" r="r" b="b"/>
                        <a:pathLst>
                          <a:path w="53" h="51">
                            <a:moveTo>
                              <a:pt x="25" y="7"/>
                            </a:moveTo>
                            <a:cubicBezTo>
                              <a:pt x="20" y="14"/>
                              <a:pt x="14" y="20"/>
                              <a:pt x="7" y="25"/>
                            </a:cubicBezTo>
                            <a:cubicBezTo>
                              <a:pt x="1" y="30"/>
                              <a:pt x="0" y="39"/>
                              <a:pt x="5" y="45"/>
                            </a:cubicBezTo>
                            <a:cubicBezTo>
                              <a:pt x="8" y="49"/>
                              <a:pt x="12" y="51"/>
                              <a:pt x="16" y="51"/>
                            </a:cubicBezTo>
                            <a:cubicBezTo>
                              <a:pt x="20" y="51"/>
                              <a:pt x="23" y="50"/>
                              <a:pt x="25" y="47"/>
                            </a:cubicBezTo>
                            <a:cubicBezTo>
                              <a:pt x="34" y="41"/>
                              <a:pt x="41" y="33"/>
                              <a:pt x="48" y="25"/>
                            </a:cubicBezTo>
                            <a:cubicBezTo>
                              <a:pt x="53" y="19"/>
                              <a:pt x="52" y="9"/>
                              <a:pt x="45" y="5"/>
                            </a:cubicBezTo>
                            <a:cubicBezTo>
                              <a:pt x="39" y="0"/>
                              <a:pt x="30" y="1"/>
                              <a:pt x="25" y="7"/>
                            </a:cubicBezTo>
                            <a:close/>
                          </a:path>
                        </a:pathLst>
                      </a:custGeom>
                      <a:solidFill>
                        <a:srgbClr val="4D4D4F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=""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endParaRPr lang="en-US" sz="1200" dirty="0"/>
                      </a:p>
                    </p:txBody>
                  </p:sp>
                  <p:sp>
                    <p:nvSpPr>
                      <p:cNvPr id="1516" name="Freeform 29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4968876" y="2360613"/>
                        <a:ext cx="30163" cy="52388"/>
                      </a:xfrm>
                      <a:custGeom>
                        <a:avLst/>
                        <a:gdLst>
                          <a:gd name="T0" fmla="*/ 19 w 34"/>
                          <a:gd name="T1" fmla="*/ 0 h 58"/>
                          <a:gd name="T2" fmla="*/ 5 w 34"/>
                          <a:gd name="T3" fmla="*/ 15 h 58"/>
                          <a:gd name="T4" fmla="*/ 2 w 34"/>
                          <a:gd name="T5" fmla="*/ 40 h 58"/>
                          <a:gd name="T6" fmla="*/ 13 w 34"/>
                          <a:gd name="T7" fmla="*/ 58 h 58"/>
                          <a:gd name="T8" fmla="*/ 16 w 34"/>
                          <a:gd name="T9" fmla="*/ 58 h 58"/>
                          <a:gd name="T10" fmla="*/ 30 w 34"/>
                          <a:gd name="T11" fmla="*/ 47 h 58"/>
                          <a:gd name="T12" fmla="*/ 34 w 34"/>
                          <a:gd name="T13" fmla="*/ 15 h 58"/>
                          <a:gd name="T14" fmla="*/ 34 w 34"/>
                          <a:gd name="T15" fmla="*/ 14 h 58"/>
                          <a:gd name="T16" fmla="*/ 19 w 34"/>
                          <a:gd name="T17" fmla="*/ 0 h 58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  <a:cxn ang="0">
                            <a:pos x="T14" y="T15"/>
                          </a:cxn>
                          <a:cxn ang="0">
                            <a:pos x="T16" y="T17"/>
                          </a:cxn>
                        </a:cxnLst>
                        <a:rect l="0" t="0" r="r" b="b"/>
                        <a:pathLst>
                          <a:path w="34" h="58">
                            <a:moveTo>
                              <a:pt x="19" y="0"/>
                            </a:moveTo>
                            <a:cubicBezTo>
                              <a:pt x="11" y="0"/>
                              <a:pt x="5" y="7"/>
                              <a:pt x="5" y="15"/>
                            </a:cubicBezTo>
                            <a:cubicBezTo>
                              <a:pt x="5" y="24"/>
                              <a:pt x="4" y="32"/>
                              <a:pt x="2" y="40"/>
                            </a:cubicBezTo>
                            <a:cubicBezTo>
                              <a:pt x="0" y="48"/>
                              <a:pt x="5" y="56"/>
                              <a:pt x="13" y="58"/>
                            </a:cubicBezTo>
                            <a:cubicBezTo>
                              <a:pt x="14" y="58"/>
                              <a:pt x="15" y="58"/>
                              <a:pt x="16" y="58"/>
                            </a:cubicBezTo>
                            <a:cubicBezTo>
                              <a:pt x="23" y="58"/>
                              <a:pt x="29" y="53"/>
                              <a:pt x="30" y="47"/>
                            </a:cubicBezTo>
                            <a:cubicBezTo>
                              <a:pt x="32" y="36"/>
                              <a:pt x="34" y="26"/>
                              <a:pt x="34" y="15"/>
                            </a:cubicBezTo>
                            <a:cubicBezTo>
                              <a:pt x="34" y="14"/>
                              <a:pt x="34" y="14"/>
                              <a:pt x="34" y="14"/>
                            </a:cubicBezTo>
                            <a:cubicBezTo>
                              <a:pt x="34" y="6"/>
                              <a:pt x="27" y="0"/>
                              <a:pt x="19" y="0"/>
                            </a:cubicBezTo>
                            <a:close/>
                          </a:path>
                        </a:pathLst>
                      </a:custGeom>
                      <a:solidFill>
                        <a:srgbClr val="4D4D4F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=""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endParaRPr lang="en-US" sz="1200" dirty="0"/>
                      </a:p>
                    </p:txBody>
                  </p:sp>
                  <p:sp>
                    <p:nvSpPr>
                      <p:cNvPr id="1517" name="Freeform 30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4973638" y="2205038"/>
                        <a:ext cx="25400" cy="52388"/>
                      </a:xfrm>
                      <a:custGeom>
                        <a:avLst/>
                        <a:gdLst>
                          <a:gd name="T0" fmla="*/ 14 w 29"/>
                          <a:gd name="T1" fmla="*/ 0 h 58"/>
                          <a:gd name="T2" fmla="*/ 0 w 29"/>
                          <a:gd name="T3" fmla="*/ 15 h 58"/>
                          <a:gd name="T4" fmla="*/ 0 w 29"/>
                          <a:gd name="T5" fmla="*/ 43 h 58"/>
                          <a:gd name="T6" fmla="*/ 14 w 29"/>
                          <a:gd name="T7" fmla="*/ 58 h 58"/>
                          <a:gd name="T8" fmla="*/ 29 w 29"/>
                          <a:gd name="T9" fmla="*/ 43 h 58"/>
                          <a:gd name="T10" fmla="*/ 29 w 29"/>
                          <a:gd name="T11" fmla="*/ 15 h 58"/>
                          <a:gd name="T12" fmla="*/ 14 w 29"/>
                          <a:gd name="T13" fmla="*/ 0 h 58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</a:cxnLst>
                        <a:rect l="0" t="0" r="r" b="b"/>
                        <a:pathLst>
                          <a:path w="29" h="58">
                            <a:moveTo>
                              <a:pt x="14" y="0"/>
                            </a:moveTo>
                            <a:cubicBezTo>
                              <a:pt x="6" y="0"/>
                              <a:pt x="0" y="7"/>
                              <a:pt x="0" y="15"/>
                            </a:cubicBezTo>
                            <a:cubicBezTo>
                              <a:pt x="0" y="43"/>
                              <a:pt x="0" y="43"/>
                              <a:pt x="0" y="43"/>
                            </a:cubicBezTo>
                            <a:cubicBezTo>
                              <a:pt x="0" y="51"/>
                              <a:pt x="6" y="58"/>
                              <a:pt x="14" y="58"/>
                            </a:cubicBezTo>
                            <a:cubicBezTo>
                              <a:pt x="22" y="58"/>
                              <a:pt x="29" y="51"/>
                              <a:pt x="29" y="43"/>
                            </a:cubicBezTo>
                            <a:cubicBezTo>
                              <a:pt x="29" y="15"/>
                              <a:pt x="29" y="15"/>
                              <a:pt x="29" y="15"/>
                            </a:cubicBezTo>
                            <a:cubicBezTo>
                              <a:pt x="29" y="7"/>
                              <a:pt x="22" y="0"/>
                              <a:pt x="14" y="0"/>
                            </a:cubicBezTo>
                            <a:close/>
                          </a:path>
                        </a:pathLst>
                      </a:custGeom>
                      <a:solidFill>
                        <a:srgbClr val="4D4D4F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=""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endParaRPr lang="en-US" sz="1200" dirty="0"/>
                      </a:p>
                    </p:txBody>
                  </p:sp>
                  <p:sp>
                    <p:nvSpPr>
                      <p:cNvPr id="1518" name="Freeform 31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4973638" y="2127250"/>
                        <a:ext cx="25400" cy="52388"/>
                      </a:xfrm>
                      <a:custGeom>
                        <a:avLst/>
                        <a:gdLst>
                          <a:gd name="T0" fmla="*/ 14 w 29"/>
                          <a:gd name="T1" fmla="*/ 0 h 58"/>
                          <a:gd name="T2" fmla="*/ 0 w 29"/>
                          <a:gd name="T3" fmla="*/ 15 h 58"/>
                          <a:gd name="T4" fmla="*/ 0 w 29"/>
                          <a:gd name="T5" fmla="*/ 43 h 58"/>
                          <a:gd name="T6" fmla="*/ 14 w 29"/>
                          <a:gd name="T7" fmla="*/ 58 h 58"/>
                          <a:gd name="T8" fmla="*/ 29 w 29"/>
                          <a:gd name="T9" fmla="*/ 43 h 58"/>
                          <a:gd name="T10" fmla="*/ 29 w 29"/>
                          <a:gd name="T11" fmla="*/ 15 h 58"/>
                          <a:gd name="T12" fmla="*/ 14 w 29"/>
                          <a:gd name="T13" fmla="*/ 0 h 58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</a:cxnLst>
                        <a:rect l="0" t="0" r="r" b="b"/>
                        <a:pathLst>
                          <a:path w="29" h="58">
                            <a:moveTo>
                              <a:pt x="14" y="0"/>
                            </a:moveTo>
                            <a:cubicBezTo>
                              <a:pt x="6" y="0"/>
                              <a:pt x="0" y="7"/>
                              <a:pt x="0" y="15"/>
                            </a:cubicBezTo>
                            <a:cubicBezTo>
                              <a:pt x="0" y="43"/>
                              <a:pt x="0" y="43"/>
                              <a:pt x="0" y="43"/>
                            </a:cubicBezTo>
                            <a:cubicBezTo>
                              <a:pt x="0" y="51"/>
                              <a:pt x="6" y="58"/>
                              <a:pt x="14" y="58"/>
                            </a:cubicBezTo>
                            <a:cubicBezTo>
                              <a:pt x="22" y="58"/>
                              <a:pt x="29" y="51"/>
                              <a:pt x="29" y="43"/>
                            </a:cubicBezTo>
                            <a:cubicBezTo>
                              <a:pt x="29" y="15"/>
                              <a:pt x="29" y="15"/>
                              <a:pt x="29" y="15"/>
                            </a:cubicBezTo>
                            <a:cubicBezTo>
                              <a:pt x="29" y="7"/>
                              <a:pt x="22" y="0"/>
                              <a:pt x="14" y="0"/>
                            </a:cubicBezTo>
                            <a:close/>
                          </a:path>
                        </a:pathLst>
                      </a:custGeom>
                      <a:solidFill>
                        <a:srgbClr val="4D4D4F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=""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endParaRPr lang="en-US" sz="1200" dirty="0"/>
                      </a:p>
                    </p:txBody>
                  </p:sp>
                  <p:sp>
                    <p:nvSpPr>
                      <p:cNvPr id="1519" name="Freeform 32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4546601" y="2470150"/>
                        <a:ext cx="53975" cy="33338"/>
                      </a:xfrm>
                      <a:custGeom>
                        <a:avLst/>
                        <a:gdLst>
                          <a:gd name="T0" fmla="*/ 46 w 60"/>
                          <a:gd name="T1" fmla="*/ 8 h 37"/>
                          <a:gd name="T2" fmla="*/ 21 w 60"/>
                          <a:gd name="T3" fmla="*/ 2 h 37"/>
                          <a:gd name="T4" fmla="*/ 3 w 60"/>
                          <a:gd name="T5" fmla="*/ 11 h 37"/>
                          <a:gd name="T6" fmla="*/ 12 w 60"/>
                          <a:gd name="T7" fmla="*/ 30 h 37"/>
                          <a:gd name="T8" fmla="*/ 43 w 60"/>
                          <a:gd name="T9" fmla="*/ 37 h 37"/>
                          <a:gd name="T10" fmla="*/ 44 w 60"/>
                          <a:gd name="T11" fmla="*/ 37 h 37"/>
                          <a:gd name="T12" fmla="*/ 59 w 60"/>
                          <a:gd name="T13" fmla="*/ 24 h 37"/>
                          <a:gd name="T14" fmla="*/ 46 w 60"/>
                          <a:gd name="T15" fmla="*/ 8 h 37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  <a:cxn ang="0">
                            <a:pos x="T14" y="T15"/>
                          </a:cxn>
                        </a:cxnLst>
                        <a:rect l="0" t="0" r="r" b="b"/>
                        <a:pathLst>
                          <a:path w="60" h="37">
                            <a:moveTo>
                              <a:pt x="46" y="8"/>
                            </a:moveTo>
                            <a:cubicBezTo>
                              <a:pt x="38" y="7"/>
                              <a:pt x="29" y="5"/>
                              <a:pt x="21" y="2"/>
                            </a:cubicBezTo>
                            <a:cubicBezTo>
                              <a:pt x="14" y="0"/>
                              <a:pt x="6" y="4"/>
                              <a:pt x="3" y="11"/>
                            </a:cubicBezTo>
                            <a:cubicBezTo>
                              <a:pt x="0" y="19"/>
                              <a:pt x="4" y="27"/>
                              <a:pt x="12" y="30"/>
                            </a:cubicBezTo>
                            <a:cubicBezTo>
                              <a:pt x="22" y="33"/>
                              <a:pt x="32" y="36"/>
                              <a:pt x="43" y="37"/>
                            </a:cubicBezTo>
                            <a:cubicBezTo>
                              <a:pt x="43" y="37"/>
                              <a:pt x="44" y="37"/>
                              <a:pt x="44" y="37"/>
                            </a:cubicBezTo>
                            <a:cubicBezTo>
                              <a:pt x="51" y="37"/>
                              <a:pt x="58" y="32"/>
                              <a:pt x="59" y="24"/>
                            </a:cubicBezTo>
                            <a:cubicBezTo>
                              <a:pt x="60" y="16"/>
                              <a:pt x="54" y="9"/>
                              <a:pt x="46" y="8"/>
                            </a:cubicBezTo>
                            <a:close/>
                          </a:path>
                        </a:pathLst>
                      </a:custGeom>
                      <a:solidFill>
                        <a:srgbClr val="4D4D4F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=""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endParaRPr lang="en-US" sz="1200" dirty="0"/>
                      </a:p>
                    </p:txBody>
                  </p:sp>
                  <p:sp>
                    <p:nvSpPr>
                      <p:cNvPr id="1520" name="Freeform 33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4781551" y="2478088"/>
                        <a:ext cx="50800" cy="25400"/>
                      </a:xfrm>
                      <a:custGeom>
                        <a:avLst/>
                        <a:gdLst>
                          <a:gd name="T0" fmla="*/ 43 w 57"/>
                          <a:gd name="T1" fmla="*/ 0 h 29"/>
                          <a:gd name="T2" fmla="*/ 14 w 57"/>
                          <a:gd name="T3" fmla="*/ 0 h 29"/>
                          <a:gd name="T4" fmla="*/ 0 w 57"/>
                          <a:gd name="T5" fmla="*/ 15 h 29"/>
                          <a:gd name="T6" fmla="*/ 14 w 57"/>
                          <a:gd name="T7" fmla="*/ 29 h 29"/>
                          <a:gd name="T8" fmla="*/ 43 w 57"/>
                          <a:gd name="T9" fmla="*/ 29 h 29"/>
                          <a:gd name="T10" fmla="*/ 57 w 57"/>
                          <a:gd name="T11" fmla="*/ 15 h 29"/>
                          <a:gd name="T12" fmla="*/ 43 w 57"/>
                          <a:gd name="T13" fmla="*/ 0 h 29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</a:cxnLst>
                        <a:rect l="0" t="0" r="r" b="b"/>
                        <a:pathLst>
                          <a:path w="57" h="29">
                            <a:moveTo>
                              <a:pt x="43" y="0"/>
                            </a:moveTo>
                            <a:cubicBezTo>
                              <a:pt x="14" y="0"/>
                              <a:pt x="14" y="0"/>
                              <a:pt x="14" y="0"/>
                            </a:cubicBezTo>
                            <a:cubicBezTo>
                              <a:pt x="6" y="0"/>
                              <a:pt x="0" y="7"/>
                              <a:pt x="0" y="15"/>
                            </a:cubicBezTo>
                            <a:cubicBezTo>
                              <a:pt x="0" y="23"/>
                              <a:pt x="6" y="29"/>
                              <a:pt x="14" y="29"/>
                            </a:cubicBezTo>
                            <a:cubicBezTo>
                              <a:pt x="43" y="29"/>
                              <a:pt x="43" y="29"/>
                              <a:pt x="43" y="29"/>
                            </a:cubicBezTo>
                            <a:cubicBezTo>
                              <a:pt x="51" y="29"/>
                              <a:pt x="57" y="23"/>
                              <a:pt x="57" y="15"/>
                            </a:cubicBezTo>
                            <a:cubicBezTo>
                              <a:pt x="57" y="7"/>
                              <a:pt x="51" y="0"/>
                              <a:pt x="43" y="0"/>
                            </a:cubicBezTo>
                            <a:close/>
                          </a:path>
                        </a:pathLst>
                      </a:custGeom>
                      <a:solidFill>
                        <a:srgbClr val="4D4D4F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=""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endParaRPr lang="en-US" sz="1200" dirty="0"/>
                      </a:p>
                    </p:txBody>
                  </p:sp>
                  <p:sp>
                    <p:nvSpPr>
                      <p:cNvPr id="1521" name="Freeform 34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4703763" y="2478088"/>
                        <a:ext cx="50800" cy="25400"/>
                      </a:xfrm>
                      <a:custGeom>
                        <a:avLst/>
                        <a:gdLst>
                          <a:gd name="T0" fmla="*/ 44 w 58"/>
                          <a:gd name="T1" fmla="*/ 0 h 29"/>
                          <a:gd name="T2" fmla="*/ 15 w 58"/>
                          <a:gd name="T3" fmla="*/ 0 h 29"/>
                          <a:gd name="T4" fmla="*/ 0 w 58"/>
                          <a:gd name="T5" fmla="*/ 15 h 29"/>
                          <a:gd name="T6" fmla="*/ 15 w 58"/>
                          <a:gd name="T7" fmla="*/ 29 h 29"/>
                          <a:gd name="T8" fmla="*/ 44 w 58"/>
                          <a:gd name="T9" fmla="*/ 29 h 29"/>
                          <a:gd name="T10" fmla="*/ 58 w 58"/>
                          <a:gd name="T11" fmla="*/ 15 h 29"/>
                          <a:gd name="T12" fmla="*/ 44 w 58"/>
                          <a:gd name="T13" fmla="*/ 0 h 29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</a:cxnLst>
                        <a:rect l="0" t="0" r="r" b="b"/>
                        <a:pathLst>
                          <a:path w="58" h="29">
                            <a:moveTo>
                              <a:pt x="44" y="0"/>
                            </a:moveTo>
                            <a:cubicBezTo>
                              <a:pt x="15" y="0"/>
                              <a:pt x="15" y="0"/>
                              <a:pt x="15" y="0"/>
                            </a:cubicBezTo>
                            <a:cubicBezTo>
                              <a:pt x="7" y="0"/>
                              <a:pt x="0" y="7"/>
                              <a:pt x="0" y="15"/>
                            </a:cubicBezTo>
                            <a:cubicBezTo>
                              <a:pt x="0" y="23"/>
                              <a:pt x="7" y="29"/>
                              <a:pt x="15" y="29"/>
                            </a:cubicBezTo>
                            <a:cubicBezTo>
                              <a:pt x="44" y="29"/>
                              <a:pt x="44" y="29"/>
                              <a:pt x="44" y="29"/>
                            </a:cubicBezTo>
                            <a:cubicBezTo>
                              <a:pt x="51" y="29"/>
                              <a:pt x="58" y="23"/>
                              <a:pt x="58" y="15"/>
                            </a:cubicBezTo>
                            <a:cubicBezTo>
                              <a:pt x="58" y="7"/>
                              <a:pt x="51" y="0"/>
                              <a:pt x="44" y="0"/>
                            </a:cubicBezTo>
                            <a:close/>
                          </a:path>
                        </a:pathLst>
                      </a:custGeom>
                      <a:solidFill>
                        <a:srgbClr val="4D4D4F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=""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endParaRPr lang="en-US" sz="1200" dirty="0"/>
                      </a:p>
                    </p:txBody>
                  </p:sp>
                  <p:sp>
                    <p:nvSpPr>
                      <p:cNvPr id="1522" name="Freeform 35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4625976" y="2478088"/>
                        <a:ext cx="52388" cy="25400"/>
                      </a:xfrm>
                      <a:custGeom>
                        <a:avLst/>
                        <a:gdLst>
                          <a:gd name="T0" fmla="*/ 43 w 58"/>
                          <a:gd name="T1" fmla="*/ 0 h 29"/>
                          <a:gd name="T2" fmla="*/ 15 w 58"/>
                          <a:gd name="T3" fmla="*/ 0 h 29"/>
                          <a:gd name="T4" fmla="*/ 0 w 58"/>
                          <a:gd name="T5" fmla="*/ 15 h 29"/>
                          <a:gd name="T6" fmla="*/ 15 w 58"/>
                          <a:gd name="T7" fmla="*/ 29 h 29"/>
                          <a:gd name="T8" fmla="*/ 43 w 58"/>
                          <a:gd name="T9" fmla="*/ 29 h 29"/>
                          <a:gd name="T10" fmla="*/ 58 w 58"/>
                          <a:gd name="T11" fmla="*/ 15 h 29"/>
                          <a:gd name="T12" fmla="*/ 43 w 58"/>
                          <a:gd name="T13" fmla="*/ 0 h 29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</a:cxnLst>
                        <a:rect l="0" t="0" r="r" b="b"/>
                        <a:pathLst>
                          <a:path w="58" h="29">
                            <a:moveTo>
                              <a:pt x="43" y="0"/>
                            </a:moveTo>
                            <a:cubicBezTo>
                              <a:pt x="15" y="0"/>
                              <a:pt x="15" y="0"/>
                              <a:pt x="15" y="0"/>
                            </a:cubicBezTo>
                            <a:cubicBezTo>
                              <a:pt x="7" y="0"/>
                              <a:pt x="0" y="7"/>
                              <a:pt x="0" y="15"/>
                            </a:cubicBezTo>
                            <a:cubicBezTo>
                              <a:pt x="0" y="23"/>
                              <a:pt x="7" y="29"/>
                              <a:pt x="15" y="29"/>
                            </a:cubicBezTo>
                            <a:cubicBezTo>
                              <a:pt x="43" y="29"/>
                              <a:pt x="43" y="29"/>
                              <a:pt x="43" y="29"/>
                            </a:cubicBezTo>
                            <a:cubicBezTo>
                              <a:pt x="51" y="29"/>
                              <a:pt x="58" y="23"/>
                              <a:pt x="58" y="15"/>
                            </a:cubicBezTo>
                            <a:cubicBezTo>
                              <a:pt x="58" y="7"/>
                              <a:pt x="51" y="0"/>
                              <a:pt x="43" y="0"/>
                            </a:cubicBezTo>
                            <a:close/>
                          </a:path>
                        </a:pathLst>
                      </a:custGeom>
                      <a:solidFill>
                        <a:srgbClr val="4D4D4F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=""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endParaRPr lang="en-US" sz="1200" dirty="0"/>
                      </a:p>
                    </p:txBody>
                  </p:sp>
                  <p:sp>
                    <p:nvSpPr>
                      <p:cNvPr id="1523" name="Freeform 38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4859338" y="2473325"/>
                        <a:ext cx="52388" cy="30163"/>
                      </a:xfrm>
                      <a:custGeom>
                        <a:avLst/>
                        <a:gdLst>
                          <a:gd name="T0" fmla="*/ 39 w 58"/>
                          <a:gd name="T1" fmla="*/ 2 h 34"/>
                          <a:gd name="T2" fmla="*/ 14 w 58"/>
                          <a:gd name="T3" fmla="*/ 5 h 34"/>
                          <a:gd name="T4" fmla="*/ 0 w 58"/>
                          <a:gd name="T5" fmla="*/ 20 h 34"/>
                          <a:gd name="T6" fmla="*/ 14 w 58"/>
                          <a:gd name="T7" fmla="*/ 34 h 34"/>
                          <a:gd name="T8" fmla="*/ 14 w 58"/>
                          <a:gd name="T9" fmla="*/ 34 h 34"/>
                          <a:gd name="T10" fmla="*/ 46 w 58"/>
                          <a:gd name="T11" fmla="*/ 30 h 34"/>
                          <a:gd name="T12" fmla="*/ 56 w 58"/>
                          <a:gd name="T13" fmla="*/ 12 h 34"/>
                          <a:gd name="T14" fmla="*/ 39 w 58"/>
                          <a:gd name="T15" fmla="*/ 2 h 34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  <a:cxn ang="0">
                            <a:pos x="T14" y="T15"/>
                          </a:cxn>
                        </a:cxnLst>
                        <a:rect l="0" t="0" r="r" b="b"/>
                        <a:pathLst>
                          <a:path w="58" h="34">
                            <a:moveTo>
                              <a:pt x="39" y="2"/>
                            </a:moveTo>
                            <a:cubicBezTo>
                              <a:pt x="31" y="4"/>
                              <a:pt x="22" y="5"/>
                              <a:pt x="14" y="5"/>
                            </a:cubicBezTo>
                            <a:cubicBezTo>
                              <a:pt x="6" y="5"/>
                              <a:pt x="0" y="12"/>
                              <a:pt x="0" y="20"/>
                            </a:cubicBezTo>
                            <a:cubicBezTo>
                              <a:pt x="0" y="28"/>
                              <a:pt x="6" y="34"/>
                              <a:pt x="14" y="34"/>
                            </a:cubicBezTo>
                            <a:cubicBezTo>
                              <a:pt x="14" y="34"/>
                              <a:pt x="14" y="34"/>
                              <a:pt x="14" y="34"/>
                            </a:cubicBezTo>
                            <a:cubicBezTo>
                              <a:pt x="25" y="34"/>
                              <a:pt x="36" y="32"/>
                              <a:pt x="46" y="30"/>
                            </a:cubicBezTo>
                            <a:cubicBezTo>
                              <a:pt x="54" y="28"/>
                              <a:pt x="58" y="20"/>
                              <a:pt x="56" y="12"/>
                            </a:cubicBezTo>
                            <a:cubicBezTo>
                              <a:pt x="55" y="5"/>
                              <a:pt x="47" y="0"/>
                              <a:pt x="39" y="2"/>
                            </a:cubicBezTo>
                            <a:close/>
                          </a:path>
                        </a:pathLst>
                      </a:custGeom>
                      <a:solidFill>
                        <a:srgbClr val="4D4D4F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=""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endParaRPr lang="en-US" sz="1200" dirty="0"/>
                      </a:p>
                    </p:txBody>
                  </p:sp>
                </p:grpSp>
                <p:sp>
                  <p:nvSpPr>
                    <p:cNvPr id="1500" name="Freeform 12"/>
                    <p:cNvSpPr>
                      <a:spLocks noEditPoints="1"/>
                    </p:cNvSpPr>
                    <p:nvPr/>
                  </p:nvSpPr>
                  <p:spPr bwMode="auto">
                    <a:xfrm>
                      <a:off x="5406483" y="2446478"/>
                      <a:ext cx="214941" cy="191168"/>
                    </a:xfrm>
                    <a:custGeom>
                      <a:avLst/>
                      <a:gdLst>
                        <a:gd name="T0" fmla="*/ 419 w 494"/>
                        <a:gd name="T1" fmla="*/ 299 h 448"/>
                        <a:gd name="T2" fmla="*/ 403 w 494"/>
                        <a:gd name="T3" fmla="*/ 301 h 448"/>
                        <a:gd name="T4" fmla="*/ 302 w 494"/>
                        <a:gd name="T5" fmla="*/ 126 h 448"/>
                        <a:gd name="T6" fmla="*/ 322 w 494"/>
                        <a:gd name="T7" fmla="*/ 75 h 448"/>
                        <a:gd name="T8" fmla="*/ 247 w 494"/>
                        <a:gd name="T9" fmla="*/ 0 h 448"/>
                        <a:gd name="T10" fmla="*/ 173 w 494"/>
                        <a:gd name="T11" fmla="*/ 75 h 448"/>
                        <a:gd name="T12" fmla="*/ 193 w 494"/>
                        <a:gd name="T13" fmla="*/ 126 h 448"/>
                        <a:gd name="T14" fmla="*/ 91 w 494"/>
                        <a:gd name="T15" fmla="*/ 301 h 448"/>
                        <a:gd name="T16" fmla="*/ 75 w 494"/>
                        <a:gd name="T17" fmla="*/ 299 h 448"/>
                        <a:gd name="T18" fmla="*/ 0 w 494"/>
                        <a:gd name="T19" fmla="*/ 373 h 448"/>
                        <a:gd name="T20" fmla="*/ 75 w 494"/>
                        <a:gd name="T21" fmla="*/ 448 h 448"/>
                        <a:gd name="T22" fmla="*/ 146 w 494"/>
                        <a:gd name="T23" fmla="*/ 395 h 448"/>
                        <a:gd name="T24" fmla="*/ 349 w 494"/>
                        <a:gd name="T25" fmla="*/ 395 h 448"/>
                        <a:gd name="T26" fmla="*/ 419 w 494"/>
                        <a:gd name="T27" fmla="*/ 448 h 448"/>
                        <a:gd name="T28" fmla="*/ 494 w 494"/>
                        <a:gd name="T29" fmla="*/ 373 h 448"/>
                        <a:gd name="T30" fmla="*/ 419 w 494"/>
                        <a:gd name="T31" fmla="*/ 299 h 448"/>
                        <a:gd name="T32" fmla="*/ 349 w 494"/>
                        <a:gd name="T33" fmla="*/ 351 h 448"/>
                        <a:gd name="T34" fmla="*/ 146 w 494"/>
                        <a:gd name="T35" fmla="*/ 351 h 448"/>
                        <a:gd name="T36" fmla="*/ 130 w 494"/>
                        <a:gd name="T37" fmla="*/ 323 h 448"/>
                        <a:gd name="T38" fmla="*/ 231 w 494"/>
                        <a:gd name="T39" fmla="*/ 148 h 448"/>
                        <a:gd name="T40" fmla="*/ 247 w 494"/>
                        <a:gd name="T41" fmla="*/ 150 h 448"/>
                        <a:gd name="T42" fmla="*/ 264 w 494"/>
                        <a:gd name="T43" fmla="*/ 148 h 448"/>
                        <a:gd name="T44" fmla="*/ 365 w 494"/>
                        <a:gd name="T45" fmla="*/ 323 h 448"/>
                        <a:gd name="T46" fmla="*/ 349 w 494"/>
                        <a:gd name="T47" fmla="*/ 351 h 44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</a:cxnLst>
                      <a:rect l="0" t="0" r="r" b="b"/>
                      <a:pathLst>
                        <a:path w="494" h="448">
                          <a:moveTo>
                            <a:pt x="419" y="299"/>
                          </a:moveTo>
                          <a:cubicBezTo>
                            <a:pt x="414" y="299"/>
                            <a:pt x="408" y="300"/>
                            <a:pt x="403" y="301"/>
                          </a:cubicBezTo>
                          <a:cubicBezTo>
                            <a:pt x="302" y="126"/>
                            <a:pt x="302" y="126"/>
                            <a:pt x="302" y="126"/>
                          </a:cubicBezTo>
                          <a:cubicBezTo>
                            <a:pt x="314" y="112"/>
                            <a:pt x="322" y="95"/>
                            <a:pt x="322" y="75"/>
                          </a:cubicBezTo>
                          <a:cubicBezTo>
                            <a:pt x="322" y="34"/>
                            <a:pt x="288" y="0"/>
                            <a:pt x="247" y="0"/>
                          </a:cubicBezTo>
                          <a:cubicBezTo>
                            <a:pt x="206" y="0"/>
                            <a:pt x="173" y="34"/>
                            <a:pt x="173" y="75"/>
                          </a:cubicBezTo>
                          <a:cubicBezTo>
                            <a:pt x="173" y="95"/>
                            <a:pt x="180" y="112"/>
                            <a:pt x="193" y="126"/>
                          </a:cubicBezTo>
                          <a:cubicBezTo>
                            <a:pt x="91" y="301"/>
                            <a:pt x="91" y="301"/>
                            <a:pt x="91" y="301"/>
                          </a:cubicBezTo>
                          <a:cubicBezTo>
                            <a:pt x="86" y="300"/>
                            <a:pt x="81" y="299"/>
                            <a:pt x="75" y="299"/>
                          </a:cubicBezTo>
                          <a:cubicBezTo>
                            <a:pt x="34" y="299"/>
                            <a:pt x="0" y="332"/>
                            <a:pt x="0" y="373"/>
                          </a:cubicBezTo>
                          <a:cubicBezTo>
                            <a:pt x="0" y="415"/>
                            <a:pt x="34" y="448"/>
                            <a:pt x="75" y="448"/>
                          </a:cubicBezTo>
                          <a:cubicBezTo>
                            <a:pt x="108" y="448"/>
                            <a:pt x="136" y="426"/>
                            <a:pt x="146" y="395"/>
                          </a:cubicBezTo>
                          <a:cubicBezTo>
                            <a:pt x="349" y="395"/>
                            <a:pt x="349" y="395"/>
                            <a:pt x="349" y="395"/>
                          </a:cubicBezTo>
                          <a:cubicBezTo>
                            <a:pt x="358" y="426"/>
                            <a:pt x="386" y="448"/>
                            <a:pt x="419" y="448"/>
                          </a:cubicBezTo>
                          <a:cubicBezTo>
                            <a:pt x="461" y="448"/>
                            <a:pt x="494" y="415"/>
                            <a:pt x="494" y="373"/>
                          </a:cubicBezTo>
                          <a:cubicBezTo>
                            <a:pt x="494" y="332"/>
                            <a:pt x="461" y="299"/>
                            <a:pt x="419" y="299"/>
                          </a:cubicBezTo>
                          <a:close/>
                          <a:moveTo>
                            <a:pt x="349" y="351"/>
                          </a:moveTo>
                          <a:cubicBezTo>
                            <a:pt x="146" y="351"/>
                            <a:pt x="146" y="351"/>
                            <a:pt x="146" y="351"/>
                          </a:cubicBezTo>
                          <a:cubicBezTo>
                            <a:pt x="142" y="341"/>
                            <a:pt x="137" y="331"/>
                            <a:pt x="130" y="323"/>
                          </a:cubicBezTo>
                          <a:cubicBezTo>
                            <a:pt x="231" y="148"/>
                            <a:pt x="231" y="148"/>
                            <a:pt x="231" y="148"/>
                          </a:cubicBezTo>
                          <a:cubicBezTo>
                            <a:pt x="236" y="149"/>
                            <a:pt x="242" y="150"/>
                            <a:pt x="247" y="150"/>
                          </a:cubicBezTo>
                          <a:cubicBezTo>
                            <a:pt x="253" y="150"/>
                            <a:pt x="258" y="149"/>
                            <a:pt x="264" y="148"/>
                          </a:cubicBezTo>
                          <a:cubicBezTo>
                            <a:pt x="365" y="323"/>
                            <a:pt x="365" y="323"/>
                            <a:pt x="365" y="323"/>
                          </a:cubicBezTo>
                          <a:cubicBezTo>
                            <a:pt x="358" y="331"/>
                            <a:pt x="352" y="341"/>
                            <a:pt x="349" y="351"/>
                          </a:cubicBezTo>
                          <a:close/>
                        </a:path>
                      </a:pathLst>
                    </a:custGeom>
                    <a:solidFill>
                      <a:schemeClr val="bg1"/>
                    </a:solidFill>
                    <a:ln>
                      <a:noFill/>
                    </a:ln>
                    <a:extLst/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 sz="1200" dirty="0"/>
                    </a:p>
                  </p:txBody>
                </p:sp>
              </p:grpSp>
            </p:grpSp>
            <p:grpSp>
              <p:nvGrpSpPr>
                <p:cNvPr id="1385" name="Group 1384"/>
                <p:cNvGrpSpPr/>
                <p:nvPr/>
              </p:nvGrpSpPr>
              <p:grpSpPr>
                <a:xfrm>
                  <a:off x="4061758" y="2986823"/>
                  <a:ext cx="309857" cy="268010"/>
                  <a:chOff x="5310724" y="2352924"/>
                  <a:chExt cx="398754" cy="374816"/>
                </a:xfrm>
              </p:grpSpPr>
              <p:sp>
                <p:nvSpPr>
                  <p:cNvPr id="1470" name="Rounded Rectangle 1469"/>
                  <p:cNvSpPr/>
                  <p:nvPr/>
                </p:nvSpPr>
                <p:spPr>
                  <a:xfrm>
                    <a:off x="5351561" y="2386601"/>
                    <a:ext cx="308105" cy="310923"/>
                  </a:xfrm>
                  <a:prstGeom prst="roundRect">
                    <a:avLst/>
                  </a:prstGeom>
                  <a:solidFill>
                    <a:srgbClr val="948A54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grpSp>
                <p:nvGrpSpPr>
                  <p:cNvPr id="1471" name="Group 1470"/>
                  <p:cNvGrpSpPr/>
                  <p:nvPr/>
                </p:nvGrpSpPr>
                <p:grpSpPr>
                  <a:xfrm>
                    <a:off x="5310724" y="2352924"/>
                    <a:ext cx="398754" cy="374816"/>
                    <a:chOff x="5310724" y="2352924"/>
                    <a:chExt cx="398754" cy="374816"/>
                  </a:xfrm>
                </p:grpSpPr>
                <p:grpSp>
                  <p:nvGrpSpPr>
                    <p:cNvPr id="1472" name="Group 1471"/>
                    <p:cNvGrpSpPr/>
                    <p:nvPr/>
                  </p:nvGrpSpPr>
                  <p:grpSpPr>
                    <a:xfrm rot="5400000">
                      <a:off x="5322693" y="2340955"/>
                      <a:ext cx="374816" cy="398754"/>
                      <a:chOff x="4471988" y="1985963"/>
                      <a:chExt cx="527051" cy="517525"/>
                    </a:xfrm>
                  </p:grpSpPr>
                  <p:sp>
                    <p:nvSpPr>
                      <p:cNvPr id="1474" name="Freeform 13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4471988" y="2117725"/>
                        <a:ext cx="25400" cy="50800"/>
                      </a:xfrm>
                      <a:custGeom>
                        <a:avLst/>
                        <a:gdLst>
                          <a:gd name="T0" fmla="*/ 14 w 29"/>
                          <a:gd name="T1" fmla="*/ 57 h 57"/>
                          <a:gd name="T2" fmla="*/ 29 w 29"/>
                          <a:gd name="T3" fmla="*/ 43 h 57"/>
                          <a:gd name="T4" fmla="*/ 29 w 29"/>
                          <a:gd name="T5" fmla="*/ 14 h 57"/>
                          <a:gd name="T6" fmla="*/ 14 w 29"/>
                          <a:gd name="T7" fmla="*/ 0 h 57"/>
                          <a:gd name="T8" fmla="*/ 0 w 29"/>
                          <a:gd name="T9" fmla="*/ 14 h 57"/>
                          <a:gd name="T10" fmla="*/ 0 w 29"/>
                          <a:gd name="T11" fmla="*/ 43 h 57"/>
                          <a:gd name="T12" fmla="*/ 14 w 29"/>
                          <a:gd name="T13" fmla="*/ 57 h 57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</a:cxnLst>
                        <a:rect l="0" t="0" r="r" b="b"/>
                        <a:pathLst>
                          <a:path w="29" h="57">
                            <a:moveTo>
                              <a:pt x="14" y="57"/>
                            </a:moveTo>
                            <a:cubicBezTo>
                              <a:pt x="22" y="57"/>
                              <a:pt x="29" y="51"/>
                              <a:pt x="29" y="43"/>
                            </a:cubicBezTo>
                            <a:cubicBezTo>
                              <a:pt x="29" y="14"/>
                              <a:pt x="29" y="14"/>
                              <a:pt x="29" y="14"/>
                            </a:cubicBezTo>
                            <a:cubicBezTo>
                              <a:pt x="29" y="6"/>
                              <a:pt x="22" y="0"/>
                              <a:pt x="14" y="0"/>
                            </a:cubicBezTo>
                            <a:cubicBezTo>
                              <a:pt x="7" y="0"/>
                              <a:pt x="0" y="6"/>
                              <a:pt x="0" y="14"/>
                            </a:cubicBezTo>
                            <a:cubicBezTo>
                              <a:pt x="0" y="43"/>
                              <a:pt x="0" y="43"/>
                              <a:pt x="0" y="43"/>
                            </a:cubicBezTo>
                            <a:cubicBezTo>
                              <a:pt x="0" y="51"/>
                              <a:pt x="7" y="57"/>
                              <a:pt x="14" y="57"/>
                            </a:cubicBezTo>
                            <a:close/>
                          </a:path>
                        </a:pathLst>
                      </a:custGeom>
                      <a:solidFill>
                        <a:srgbClr val="4D4D4F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=""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endParaRPr lang="en-US" sz="1200" dirty="0"/>
                      </a:p>
                    </p:txBody>
                  </p:sp>
                  <p:sp>
                    <p:nvSpPr>
                      <p:cNvPr id="1475" name="Freeform 14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4471988" y="2271713"/>
                        <a:ext cx="25400" cy="52388"/>
                      </a:xfrm>
                      <a:custGeom>
                        <a:avLst/>
                        <a:gdLst>
                          <a:gd name="T0" fmla="*/ 14 w 29"/>
                          <a:gd name="T1" fmla="*/ 58 h 58"/>
                          <a:gd name="T2" fmla="*/ 29 w 29"/>
                          <a:gd name="T3" fmla="*/ 43 h 58"/>
                          <a:gd name="T4" fmla="*/ 29 w 29"/>
                          <a:gd name="T5" fmla="*/ 15 h 58"/>
                          <a:gd name="T6" fmla="*/ 14 w 29"/>
                          <a:gd name="T7" fmla="*/ 0 h 58"/>
                          <a:gd name="T8" fmla="*/ 0 w 29"/>
                          <a:gd name="T9" fmla="*/ 15 h 58"/>
                          <a:gd name="T10" fmla="*/ 0 w 29"/>
                          <a:gd name="T11" fmla="*/ 43 h 58"/>
                          <a:gd name="T12" fmla="*/ 14 w 29"/>
                          <a:gd name="T13" fmla="*/ 58 h 58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</a:cxnLst>
                        <a:rect l="0" t="0" r="r" b="b"/>
                        <a:pathLst>
                          <a:path w="29" h="58">
                            <a:moveTo>
                              <a:pt x="14" y="58"/>
                            </a:moveTo>
                            <a:cubicBezTo>
                              <a:pt x="22" y="58"/>
                              <a:pt x="29" y="51"/>
                              <a:pt x="29" y="43"/>
                            </a:cubicBezTo>
                            <a:cubicBezTo>
                              <a:pt x="29" y="15"/>
                              <a:pt x="29" y="15"/>
                              <a:pt x="29" y="15"/>
                            </a:cubicBezTo>
                            <a:cubicBezTo>
                              <a:pt x="29" y="7"/>
                              <a:pt x="22" y="0"/>
                              <a:pt x="14" y="0"/>
                            </a:cubicBezTo>
                            <a:cubicBezTo>
                              <a:pt x="7" y="0"/>
                              <a:pt x="0" y="7"/>
                              <a:pt x="0" y="15"/>
                            </a:cubicBezTo>
                            <a:cubicBezTo>
                              <a:pt x="0" y="43"/>
                              <a:pt x="0" y="43"/>
                              <a:pt x="0" y="43"/>
                            </a:cubicBezTo>
                            <a:cubicBezTo>
                              <a:pt x="0" y="51"/>
                              <a:pt x="7" y="58"/>
                              <a:pt x="14" y="58"/>
                            </a:cubicBezTo>
                            <a:close/>
                          </a:path>
                        </a:pathLst>
                      </a:custGeom>
                      <a:solidFill>
                        <a:srgbClr val="4D4D4F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=""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endParaRPr lang="en-US" sz="1200" dirty="0"/>
                      </a:p>
                    </p:txBody>
                  </p:sp>
                  <p:sp>
                    <p:nvSpPr>
                      <p:cNvPr id="1476" name="Freeform 15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4487863" y="2422525"/>
                        <a:ext cx="44450" cy="47625"/>
                      </a:xfrm>
                      <a:custGeom>
                        <a:avLst/>
                        <a:gdLst>
                          <a:gd name="T0" fmla="*/ 29 w 50"/>
                          <a:gd name="T1" fmla="*/ 8 h 53"/>
                          <a:gd name="T2" fmla="*/ 9 w 50"/>
                          <a:gd name="T3" fmla="*/ 4 h 53"/>
                          <a:gd name="T4" fmla="*/ 4 w 50"/>
                          <a:gd name="T5" fmla="*/ 24 h 53"/>
                          <a:gd name="T6" fmla="*/ 24 w 50"/>
                          <a:gd name="T7" fmla="*/ 49 h 53"/>
                          <a:gd name="T8" fmla="*/ 34 w 50"/>
                          <a:gd name="T9" fmla="*/ 53 h 53"/>
                          <a:gd name="T10" fmla="*/ 45 w 50"/>
                          <a:gd name="T11" fmla="*/ 49 h 53"/>
                          <a:gd name="T12" fmla="*/ 45 w 50"/>
                          <a:gd name="T13" fmla="*/ 28 h 53"/>
                          <a:gd name="T14" fmla="*/ 29 w 50"/>
                          <a:gd name="T15" fmla="*/ 8 h 53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  <a:cxn ang="0">
                            <a:pos x="T14" y="T15"/>
                          </a:cxn>
                        </a:cxnLst>
                        <a:rect l="0" t="0" r="r" b="b"/>
                        <a:pathLst>
                          <a:path w="50" h="53">
                            <a:moveTo>
                              <a:pt x="29" y="8"/>
                            </a:moveTo>
                            <a:cubicBezTo>
                              <a:pt x="24" y="2"/>
                              <a:pt x="15" y="0"/>
                              <a:pt x="9" y="4"/>
                            </a:cubicBezTo>
                            <a:cubicBezTo>
                              <a:pt x="2" y="8"/>
                              <a:pt x="0" y="17"/>
                              <a:pt x="4" y="24"/>
                            </a:cubicBezTo>
                            <a:cubicBezTo>
                              <a:pt x="10" y="33"/>
                              <a:pt x="17" y="41"/>
                              <a:pt x="24" y="49"/>
                            </a:cubicBezTo>
                            <a:cubicBezTo>
                              <a:pt x="27" y="51"/>
                              <a:pt x="31" y="53"/>
                              <a:pt x="34" y="53"/>
                            </a:cubicBezTo>
                            <a:cubicBezTo>
                              <a:pt x="38" y="53"/>
                              <a:pt x="42" y="51"/>
                              <a:pt x="45" y="49"/>
                            </a:cubicBezTo>
                            <a:cubicBezTo>
                              <a:pt x="50" y="43"/>
                              <a:pt x="50" y="34"/>
                              <a:pt x="45" y="28"/>
                            </a:cubicBezTo>
                            <a:cubicBezTo>
                              <a:pt x="39" y="22"/>
                              <a:pt x="33" y="15"/>
                              <a:pt x="29" y="8"/>
                            </a:cubicBezTo>
                            <a:close/>
                          </a:path>
                        </a:pathLst>
                      </a:custGeom>
                      <a:solidFill>
                        <a:srgbClr val="4D4D4F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=""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endParaRPr lang="en-US" sz="1200" dirty="0"/>
                      </a:p>
                    </p:txBody>
                  </p:sp>
                  <p:sp>
                    <p:nvSpPr>
                      <p:cNvPr id="1477" name="Freeform 16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4471988" y="2193925"/>
                        <a:ext cx="25400" cy="52388"/>
                      </a:xfrm>
                      <a:custGeom>
                        <a:avLst/>
                        <a:gdLst>
                          <a:gd name="T0" fmla="*/ 14 w 29"/>
                          <a:gd name="T1" fmla="*/ 58 h 58"/>
                          <a:gd name="T2" fmla="*/ 29 w 29"/>
                          <a:gd name="T3" fmla="*/ 43 h 58"/>
                          <a:gd name="T4" fmla="*/ 29 w 29"/>
                          <a:gd name="T5" fmla="*/ 14 h 58"/>
                          <a:gd name="T6" fmla="*/ 14 w 29"/>
                          <a:gd name="T7" fmla="*/ 0 h 58"/>
                          <a:gd name="T8" fmla="*/ 0 w 29"/>
                          <a:gd name="T9" fmla="*/ 14 h 58"/>
                          <a:gd name="T10" fmla="*/ 0 w 29"/>
                          <a:gd name="T11" fmla="*/ 43 h 58"/>
                          <a:gd name="T12" fmla="*/ 14 w 29"/>
                          <a:gd name="T13" fmla="*/ 58 h 58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</a:cxnLst>
                        <a:rect l="0" t="0" r="r" b="b"/>
                        <a:pathLst>
                          <a:path w="29" h="58">
                            <a:moveTo>
                              <a:pt x="14" y="58"/>
                            </a:moveTo>
                            <a:cubicBezTo>
                              <a:pt x="22" y="58"/>
                              <a:pt x="29" y="51"/>
                              <a:pt x="29" y="43"/>
                            </a:cubicBezTo>
                            <a:cubicBezTo>
                              <a:pt x="29" y="14"/>
                              <a:pt x="29" y="14"/>
                              <a:pt x="29" y="14"/>
                            </a:cubicBezTo>
                            <a:cubicBezTo>
                              <a:pt x="29" y="6"/>
                              <a:pt x="22" y="0"/>
                              <a:pt x="14" y="0"/>
                            </a:cubicBezTo>
                            <a:cubicBezTo>
                              <a:pt x="7" y="0"/>
                              <a:pt x="0" y="6"/>
                              <a:pt x="0" y="14"/>
                            </a:cubicBezTo>
                            <a:cubicBezTo>
                              <a:pt x="0" y="43"/>
                              <a:pt x="0" y="43"/>
                              <a:pt x="0" y="43"/>
                            </a:cubicBezTo>
                            <a:cubicBezTo>
                              <a:pt x="0" y="51"/>
                              <a:pt x="7" y="58"/>
                              <a:pt x="14" y="58"/>
                            </a:cubicBezTo>
                            <a:close/>
                          </a:path>
                        </a:pathLst>
                      </a:custGeom>
                      <a:solidFill>
                        <a:srgbClr val="4D4D4F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=""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endParaRPr lang="en-US" sz="1200" dirty="0"/>
                      </a:p>
                    </p:txBody>
                  </p:sp>
                  <p:sp>
                    <p:nvSpPr>
                      <p:cNvPr id="1478" name="Freeform 17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4830763" y="1985963"/>
                        <a:ext cx="50800" cy="26988"/>
                      </a:xfrm>
                      <a:custGeom>
                        <a:avLst/>
                        <a:gdLst>
                          <a:gd name="T0" fmla="*/ 15 w 57"/>
                          <a:gd name="T1" fmla="*/ 29 h 29"/>
                          <a:gd name="T2" fmla="*/ 44 w 57"/>
                          <a:gd name="T3" fmla="*/ 29 h 29"/>
                          <a:gd name="T4" fmla="*/ 57 w 57"/>
                          <a:gd name="T5" fmla="*/ 15 h 29"/>
                          <a:gd name="T6" fmla="*/ 43 w 57"/>
                          <a:gd name="T7" fmla="*/ 0 h 29"/>
                          <a:gd name="T8" fmla="*/ 15 w 57"/>
                          <a:gd name="T9" fmla="*/ 0 h 29"/>
                          <a:gd name="T10" fmla="*/ 0 w 57"/>
                          <a:gd name="T11" fmla="*/ 15 h 29"/>
                          <a:gd name="T12" fmla="*/ 15 w 57"/>
                          <a:gd name="T13" fmla="*/ 29 h 29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</a:cxnLst>
                        <a:rect l="0" t="0" r="r" b="b"/>
                        <a:pathLst>
                          <a:path w="57" h="29">
                            <a:moveTo>
                              <a:pt x="15" y="29"/>
                            </a:moveTo>
                            <a:cubicBezTo>
                              <a:pt x="44" y="29"/>
                              <a:pt x="44" y="29"/>
                              <a:pt x="44" y="29"/>
                            </a:cubicBezTo>
                            <a:cubicBezTo>
                              <a:pt x="51" y="29"/>
                              <a:pt x="57" y="23"/>
                              <a:pt x="57" y="15"/>
                            </a:cubicBezTo>
                            <a:cubicBezTo>
                              <a:pt x="57" y="7"/>
                              <a:pt x="50" y="0"/>
                              <a:pt x="43" y="0"/>
                            </a:cubicBezTo>
                            <a:cubicBezTo>
                              <a:pt x="15" y="0"/>
                              <a:pt x="15" y="0"/>
                              <a:pt x="15" y="0"/>
                            </a:cubicBezTo>
                            <a:cubicBezTo>
                              <a:pt x="7" y="0"/>
                              <a:pt x="0" y="7"/>
                              <a:pt x="0" y="15"/>
                            </a:cubicBezTo>
                            <a:cubicBezTo>
                              <a:pt x="0" y="23"/>
                              <a:pt x="7" y="29"/>
                              <a:pt x="15" y="29"/>
                            </a:cubicBezTo>
                            <a:close/>
                          </a:path>
                        </a:pathLst>
                      </a:custGeom>
                      <a:solidFill>
                        <a:srgbClr val="4D4D4F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=""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endParaRPr lang="en-US" sz="1200" dirty="0"/>
                      </a:p>
                    </p:txBody>
                  </p:sp>
                  <p:sp>
                    <p:nvSpPr>
                      <p:cNvPr id="1479" name="Freeform 18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4905376" y="1997075"/>
                        <a:ext cx="50800" cy="41275"/>
                      </a:xfrm>
                      <a:custGeom>
                        <a:avLst/>
                        <a:gdLst>
                          <a:gd name="T0" fmla="*/ 10 w 56"/>
                          <a:gd name="T1" fmla="*/ 30 h 47"/>
                          <a:gd name="T2" fmla="*/ 31 w 56"/>
                          <a:gd name="T3" fmla="*/ 43 h 47"/>
                          <a:gd name="T4" fmla="*/ 40 w 56"/>
                          <a:gd name="T5" fmla="*/ 47 h 47"/>
                          <a:gd name="T6" fmla="*/ 51 w 56"/>
                          <a:gd name="T7" fmla="*/ 41 h 47"/>
                          <a:gd name="T8" fmla="*/ 49 w 56"/>
                          <a:gd name="T9" fmla="*/ 21 h 47"/>
                          <a:gd name="T10" fmla="*/ 22 w 56"/>
                          <a:gd name="T11" fmla="*/ 4 h 47"/>
                          <a:gd name="T12" fmla="*/ 3 w 56"/>
                          <a:gd name="T13" fmla="*/ 11 h 47"/>
                          <a:gd name="T14" fmla="*/ 10 w 56"/>
                          <a:gd name="T15" fmla="*/ 30 h 47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  <a:cxn ang="0">
                            <a:pos x="T14" y="T15"/>
                          </a:cxn>
                        </a:cxnLst>
                        <a:rect l="0" t="0" r="r" b="b"/>
                        <a:pathLst>
                          <a:path w="56" h="47">
                            <a:moveTo>
                              <a:pt x="10" y="30"/>
                            </a:moveTo>
                            <a:cubicBezTo>
                              <a:pt x="17" y="33"/>
                              <a:pt x="25" y="38"/>
                              <a:pt x="31" y="43"/>
                            </a:cubicBezTo>
                            <a:cubicBezTo>
                              <a:pt x="34" y="46"/>
                              <a:pt x="37" y="47"/>
                              <a:pt x="40" y="47"/>
                            </a:cubicBezTo>
                            <a:cubicBezTo>
                              <a:pt x="44" y="47"/>
                              <a:pt x="49" y="45"/>
                              <a:pt x="51" y="41"/>
                            </a:cubicBezTo>
                            <a:cubicBezTo>
                              <a:pt x="56" y="35"/>
                              <a:pt x="55" y="26"/>
                              <a:pt x="49" y="21"/>
                            </a:cubicBezTo>
                            <a:cubicBezTo>
                              <a:pt x="41" y="14"/>
                              <a:pt x="32" y="9"/>
                              <a:pt x="22" y="4"/>
                            </a:cubicBezTo>
                            <a:cubicBezTo>
                              <a:pt x="15" y="0"/>
                              <a:pt x="7" y="3"/>
                              <a:pt x="3" y="11"/>
                            </a:cubicBezTo>
                            <a:cubicBezTo>
                              <a:pt x="0" y="18"/>
                              <a:pt x="3" y="26"/>
                              <a:pt x="10" y="30"/>
                            </a:cubicBezTo>
                            <a:close/>
                          </a:path>
                        </a:pathLst>
                      </a:custGeom>
                      <a:solidFill>
                        <a:srgbClr val="4D4D4F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=""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endParaRPr lang="en-US" sz="1200" dirty="0"/>
                      </a:p>
                    </p:txBody>
                  </p:sp>
                  <p:sp>
                    <p:nvSpPr>
                      <p:cNvPr id="1480" name="Freeform 19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4476751" y="2039938"/>
                        <a:ext cx="39688" cy="52388"/>
                      </a:xfrm>
                      <a:custGeom>
                        <a:avLst/>
                        <a:gdLst>
                          <a:gd name="T0" fmla="*/ 12 w 45"/>
                          <a:gd name="T1" fmla="*/ 56 h 57"/>
                          <a:gd name="T2" fmla="*/ 16 w 45"/>
                          <a:gd name="T3" fmla="*/ 57 h 57"/>
                          <a:gd name="T4" fmla="*/ 30 w 45"/>
                          <a:gd name="T5" fmla="*/ 47 h 57"/>
                          <a:gd name="T6" fmla="*/ 41 w 45"/>
                          <a:gd name="T7" fmla="*/ 24 h 57"/>
                          <a:gd name="T8" fmla="*/ 36 w 45"/>
                          <a:gd name="T9" fmla="*/ 4 h 57"/>
                          <a:gd name="T10" fmla="*/ 16 w 45"/>
                          <a:gd name="T11" fmla="*/ 9 h 57"/>
                          <a:gd name="T12" fmla="*/ 3 w 45"/>
                          <a:gd name="T13" fmla="*/ 38 h 57"/>
                          <a:gd name="T14" fmla="*/ 12 w 45"/>
                          <a:gd name="T15" fmla="*/ 56 h 57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  <a:cxn ang="0">
                            <a:pos x="T14" y="T15"/>
                          </a:cxn>
                        </a:cxnLst>
                        <a:rect l="0" t="0" r="r" b="b"/>
                        <a:pathLst>
                          <a:path w="45" h="57">
                            <a:moveTo>
                              <a:pt x="12" y="56"/>
                            </a:moveTo>
                            <a:cubicBezTo>
                              <a:pt x="13" y="57"/>
                              <a:pt x="15" y="57"/>
                              <a:pt x="16" y="57"/>
                            </a:cubicBezTo>
                            <a:cubicBezTo>
                              <a:pt x="22" y="57"/>
                              <a:pt x="28" y="53"/>
                              <a:pt x="30" y="47"/>
                            </a:cubicBezTo>
                            <a:cubicBezTo>
                              <a:pt x="33" y="39"/>
                              <a:pt x="36" y="32"/>
                              <a:pt x="41" y="24"/>
                            </a:cubicBezTo>
                            <a:cubicBezTo>
                              <a:pt x="45" y="17"/>
                              <a:pt x="43" y="9"/>
                              <a:pt x="36" y="4"/>
                            </a:cubicBezTo>
                            <a:cubicBezTo>
                              <a:pt x="29" y="0"/>
                              <a:pt x="21" y="2"/>
                              <a:pt x="16" y="9"/>
                            </a:cubicBezTo>
                            <a:cubicBezTo>
                              <a:pt x="11" y="18"/>
                              <a:pt x="6" y="28"/>
                              <a:pt x="3" y="38"/>
                            </a:cubicBezTo>
                            <a:cubicBezTo>
                              <a:pt x="0" y="45"/>
                              <a:pt x="4" y="54"/>
                              <a:pt x="12" y="56"/>
                            </a:cubicBezTo>
                            <a:close/>
                          </a:path>
                        </a:pathLst>
                      </a:custGeom>
                      <a:solidFill>
                        <a:srgbClr val="4D4D4F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=""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endParaRPr lang="en-US" sz="1200" dirty="0"/>
                      </a:p>
                    </p:txBody>
                  </p:sp>
                  <p:sp>
                    <p:nvSpPr>
                      <p:cNvPr id="1481" name="Freeform 20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4522788" y="1992313"/>
                        <a:ext cx="52388" cy="39688"/>
                      </a:xfrm>
                      <a:custGeom>
                        <a:avLst/>
                        <a:gdLst>
                          <a:gd name="T0" fmla="*/ 55 w 58"/>
                          <a:gd name="T1" fmla="*/ 11 h 43"/>
                          <a:gd name="T2" fmla="*/ 37 w 58"/>
                          <a:gd name="T3" fmla="*/ 2 h 43"/>
                          <a:gd name="T4" fmla="*/ 9 w 58"/>
                          <a:gd name="T5" fmla="*/ 17 h 43"/>
                          <a:gd name="T6" fmla="*/ 4 w 58"/>
                          <a:gd name="T7" fmla="*/ 37 h 43"/>
                          <a:gd name="T8" fmla="*/ 16 w 58"/>
                          <a:gd name="T9" fmla="*/ 43 h 43"/>
                          <a:gd name="T10" fmla="*/ 24 w 58"/>
                          <a:gd name="T11" fmla="*/ 41 h 43"/>
                          <a:gd name="T12" fmla="*/ 47 w 58"/>
                          <a:gd name="T13" fmla="*/ 29 h 43"/>
                          <a:gd name="T14" fmla="*/ 55 w 58"/>
                          <a:gd name="T15" fmla="*/ 11 h 43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  <a:cxn ang="0">
                            <a:pos x="T14" y="T15"/>
                          </a:cxn>
                        </a:cxnLst>
                        <a:rect l="0" t="0" r="r" b="b"/>
                        <a:pathLst>
                          <a:path w="58" h="43">
                            <a:moveTo>
                              <a:pt x="55" y="11"/>
                            </a:moveTo>
                            <a:cubicBezTo>
                              <a:pt x="53" y="3"/>
                              <a:pt x="44" y="0"/>
                              <a:pt x="37" y="2"/>
                            </a:cubicBezTo>
                            <a:cubicBezTo>
                              <a:pt x="27" y="6"/>
                              <a:pt x="17" y="11"/>
                              <a:pt x="9" y="17"/>
                            </a:cubicBezTo>
                            <a:cubicBezTo>
                              <a:pt x="2" y="21"/>
                              <a:pt x="0" y="30"/>
                              <a:pt x="4" y="37"/>
                            </a:cubicBezTo>
                            <a:cubicBezTo>
                              <a:pt x="7" y="41"/>
                              <a:pt x="12" y="43"/>
                              <a:pt x="16" y="43"/>
                            </a:cubicBezTo>
                            <a:cubicBezTo>
                              <a:pt x="19" y="43"/>
                              <a:pt x="22" y="43"/>
                              <a:pt x="24" y="41"/>
                            </a:cubicBezTo>
                            <a:cubicBezTo>
                              <a:pt x="31" y="36"/>
                              <a:pt x="39" y="32"/>
                              <a:pt x="47" y="29"/>
                            </a:cubicBezTo>
                            <a:cubicBezTo>
                              <a:pt x="54" y="27"/>
                              <a:pt x="58" y="18"/>
                              <a:pt x="55" y="11"/>
                            </a:cubicBezTo>
                            <a:close/>
                          </a:path>
                        </a:pathLst>
                      </a:custGeom>
                      <a:solidFill>
                        <a:srgbClr val="4D4D4F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=""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endParaRPr lang="en-US" sz="1200" dirty="0"/>
                      </a:p>
                    </p:txBody>
                  </p:sp>
                  <p:sp>
                    <p:nvSpPr>
                      <p:cNvPr id="1482" name="Freeform 21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4959351" y="2051050"/>
                        <a:ext cx="36513" cy="52388"/>
                      </a:xfrm>
                      <a:custGeom>
                        <a:avLst/>
                        <a:gdLst>
                          <a:gd name="T0" fmla="*/ 13 w 42"/>
                          <a:gd name="T1" fmla="*/ 47 h 58"/>
                          <a:gd name="T2" fmla="*/ 27 w 42"/>
                          <a:gd name="T3" fmla="*/ 58 h 58"/>
                          <a:gd name="T4" fmla="*/ 30 w 42"/>
                          <a:gd name="T5" fmla="*/ 57 h 58"/>
                          <a:gd name="T6" fmla="*/ 41 w 42"/>
                          <a:gd name="T7" fmla="*/ 40 h 58"/>
                          <a:gd name="T8" fmla="*/ 30 w 42"/>
                          <a:gd name="T9" fmla="*/ 10 h 58"/>
                          <a:gd name="T10" fmla="*/ 11 w 42"/>
                          <a:gd name="T11" fmla="*/ 4 h 58"/>
                          <a:gd name="T12" fmla="*/ 4 w 42"/>
                          <a:gd name="T13" fmla="*/ 23 h 58"/>
                          <a:gd name="T14" fmla="*/ 13 w 42"/>
                          <a:gd name="T15" fmla="*/ 47 h 58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  <a:cxn ang="0">
                            <a:pos x="T14" y="T15"/>
                          </a:cxn>
                        </a:cxnLst>
                        <a:rect l="0" t="0" r="r" b="b"/>
                        <a:pathLst>
                          <a:path w="42" h="58">
                            <a:moveTo>
                              <a:pt x="13" y="47"/>
                            </a:moveTo>
                            <a:cubicBezTo>
                              <a:pt x="14" y="53"/>
                              <a:pt x="20" y="58"/>
                              <a:pt x="27" y="58"/>
                            </a:cubicBezTo>
                            <a:cubicBezTo>
                              <a:pt x="28" y="58"/>
                              <a:pt x="29" y="58"/>
                              <a:pt x="30" y="57"/>
                            </a:cubicBezTo>
                            <a:cubicBezTo>
                              <a:pt x="38" y="56"/>
                              <a:pt x="42" y="48"/>
                              <a:pt x="41" y="40"/>
                            </a:cubicBezTo>
                            <a:cubicBezTo>
                              <a:pt x="38" y="30"/>
                              <a:pt x="35" y="20"/>
                              <a:pt x="30" y="10"/>
                            </a:cubicBezTo>
                            <a:cubicBezTo>
                              <a:pt x="26" y="3"/>
                              <a:pt x="18" y="0"/>
                              <a:pt x="11" y="4"/>
                            </a:cubicBezTo>
                            <a:cubicBezTo>
                              <a:pt x="3" y="7"/>
                              <a:pt x="0" y="16"/>
                              <a:pt x="4" y="23"/>
                            </a:cubicBezTo>
                            <a:cubicBezTo>
                              <a:pt x="8" y="31"/>
                              <a:pt x="11" y="39"/>
                              <a:pt x="13" y="47"/>
                            </a:cubicBezTo>
                            <a:close/>
                          </a:path>
                        </a:pathLst>
                      </a:custGeom>
                      <a:solidFill>
                        <a:srgbClr val="4D4D4F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=""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endParaRPr lang="en-US" sz="1200" dirty="0"/>
                      </a:p>
                    </p:txBody>
                  </p:sp>
                  <p:sp>
                    <p:nvSpPr>
                      <p:cNvPr id="1483" name="Freeform 22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4598988" y="1985963"/>
                        <a:ext cx="52388" cy="26988"/>
                      </a:xfrm>
                      <a:custGeom>
                        <a:avLst/>
                        <a:gdLst>
                          <a:gd name="T0" fmla="*/ 14 w 58"/>
                          <a:gd name="T1" fmla="*/ 29 h 29"/>
                          <a:gd name="T2" fmla="*/ 43 w 58"/>
                          <a:gd name="T3" fmla="*/ 29 h 29"/>
                          <a:gd name="T4" fmla="*/ 58 w 58"/>
                          <a:gd name="T5" fmla="*/ 15 h 29"/>
                          <a:gd name="T6" fmla="*/ 43 w 58"/>
                          <a:gd name="T7" fmla="*/ 0 h 29"/>
                          <a:gd name="T8" fmla="*/ 14 w 58"/>
                          <a:gd name="T9" fmla="*/ 0 h 29"/>
                          <a:gd name="T10" fmla="*/ 0 w 58"/>
                          <a:gd name="T11" fmla="*/ 15 h 29"/>
                          <a:gd name="T12" fmla="*/ 14 w 58"/>
                          <a:gd name="T13" fmla="*/ 29 h 29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</a:cxnLst>
                        <a:rect l="0" t="0" r="r" b="b"/>
                        <a:pathLst>
                          <a:path w="58" h="29">
                            <a:moveTo>
                              <a:pt x="14" y="29"/>
                            </a:moveTo>
                            <a:cubicBezTo>
                              <a:pt x="43" y="29"/>
                              <a:pt x="43" y="29"/>
                              <a:pt x="43" y="29"/>
                            </a:cubicBezTo>
                            <a:cubicBezTo>
                              <a:pt x="51" y="29"/>
                              <a:pt x="58" y="23"/>
                              <a:pt x="58" y="15"/>
                            </a:cubicBezTo>
                            <a:cubicBezTo>
                              <a:pt x="58" y="7"/>
                              <a:pt x="51" y="0"/>
                              <a:pt x="43" y="0"/>
                            </a:cubicBezTo>
                            <a:cubicBezTo>
                              <a:pt x="14" y="0"/>
                              <a:pt x="14" y="0"/>
                              <a:pt x="14" y="0"/>
                            </a:cubicBezTo>
                            <a:cubicBezTo>
                              <a:pt x="6" y="0"/>
                              <a:pt x="0" y="7"/>
                              <a:pt x="0" y="15"/>
                            </a:cubicBezTo>
                            <a:cubicBezTo>
                              <a:pt x="0" y="23"/>
                              <a:pt x="6" y="29"/>
                              <a:pt x="14" y="29"/>
                            </a:cubicBezTo>
                            <a:close/>
                          </a:path>
                        </a:pathLst>
                      </a:custGeom>
                      <a:solidFill>
                        <a:srgbClr val="4D4D4F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=""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endParaRPr lang="en-US" sz="1200" dirty="0"/>
                      </a:p>
                    </p:txBody>
                  </p:sp>
                  <p:sp>
                    <p:nvSpPr>
                      <p:cNvPr id="1484" name="Freeform 23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4676776" y="1985963"/>
                        <a:ext cx="50800" cy="26988"/>
                      </a:xfrm>
                      <a:custGeom>
                        <a:avLst/>
                        <a:gdLst>
                          <a:gd name="T0" fmla="*/ 15 w 58"/>
                          <a:gd name="T1" fmla="*/ 29 h 29"/>
                          <a:gd name="T2" fmla="*/ 43 w 58"/>
                          <a:gd name="T3" fmla="*/ 29 h 29"/>
                          <a:gd name="T4" fmla="*/ 58 w 58"/>
                          <a:gd name="T5" fmla="*/ 15 h 29"/>
                          <a:gd name="T6" fmla="*/ 43 w 58"/>
                          <a:gd name="T7" fmla="*/ 0 h 29"/>
                          <a:gd name="T8" fmla="*/ 15 w 58"/>
                          <a:gd name="T9" fmla="*/ 0 h 29"/>
                          <a:gd name="T10" fmla="*/ 0 w 58"/>
                          <a:gd name="T11" fmla="*/ 15 h 29"/>
                          <a:gd name="T12" fmla="*/ 15 w 58"/>
                          <a:gd name="T13" fmla="*/ 29 h 29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</a:cxnLst>
                        <a:rect l="0" t="0" r="r" b="b"/>
                        <a:pathLst>
                          <a:path w="58" h="29">
                            <a:moveTo>
                              <a:pt x="15" y="29"/>
                            </a:moveTo>
                            <a:cubicBezTo>
                              <a:pt x="43" y="29"/>
                              <a:pt x="43" y="29"/>
                              <a:pt x="43" y="29"/>
                            </a:cubicBezTo>
                            <a:cubicBezTo>
                              <a:pt x="51" y="29"/>
                              <a:pt x="58" y="23"/>
                              <a:pt x="58" y="15"/>
                            </a:cubicBezTo>
                            <a:cubicBezTo>
                              <a:pt x="58" y="7"/>
                              <a:pt x="51" y="0"/>
                              <a:pt x="43" y="0"/>
                            </a:cubicBezTo>
                            <a:cubicBezTo>
                              <a:pt x="15" y="0"/>
                              <a:pt x="15" y="0"/>
                              <a:pt x="15" y="0"/>
                            </a:cubicBezTo>
                            <a:cubicBezTo>
                              <a:pt x="7" y="0"/>
                              <a:pt x="0" y="7"/>
                              <a:pt x="0" y="15"/>
                            </a:cubicBezTo>
                            <a:cubicBezTo>
                              <a:pt x="0" y="23"/>
                              <a:pt x="7" y="29"/>
                              <a:pt x="15" y="29"/>
                            </a:cubicBezTo>
                            <a:close/>
                          </a:path>
                        </a:pathLst>
                      </a:custGeom>
                      <a:solidFill>
                        <a:srgbClr val="4D4D4F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=""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endParaRPr lang="en-US" sz="1200" dirty="0"/>
                      </a:p>
                    </p:txBody>
                  </p:sp>
                  <p:sp>
                    <p:nvSpPr>
                      <p:cNvPr id="1485" name="Freeform 24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4752976" y="1985963"/>
                        <a:ext cx="52388" cy="26988"/>
                      </a:xfrm>
                      <a:custGeom>
                        <a:avLst/>
                        <a:gdLst>
                          <a:gd name="T0" fmla="*/ 15 w 58"/>
                          <a:gd name="T1" fmla="*/ 29 h 29"/>
                          <a:gd name="T2" fmla="*/ 43 w 58"/>
                          <a:gd name="T3" fmla="*/ 29 h 29"/>
                          <a:gd name="T4" fmla="*/ 58 w 58"/>
                          <a:gd name="T5" fmla="*/ 15 h 29"/>
                          <a:gd name="T6" fmla="*/ 43 w 58"/>
                          <a:gd name="T7" fmla="*/ 0 h 29"/>
                          <a:gd name="T8" fmla="*/ 15 w 58"/>
                          <a:gd name="T9" fmla="*/ 0 h 29"/>
                          <a:gd name="T10" fmla="*/ 0 w 58"/>
                          <a:gd name="T11" fmla="*/ 15 h 29"/>
                          <a:gd name="T12" fmla="*/ 15 w 58"/>
                          <a:gd name="T13" fmla="*/ 29 h 29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</a:cxnLst>
                        <a:rect l="0" t="0" r="r" b="b"/>
                        <a:pathLst>
                          <a:path w="58" h="29">
                            <a:moveTo>
                              <a:pt x="15" y="29"/>
                            </a:moveTo>
                            <a:cubicBezTo>
                              <a:pt x="43" y="29"/>
                              <a:pt x="43" y="29"/>
                              <a:pt x="43" y="29"/>
                            </a:cubicBezTo>
                            <a:cubicBezTo>
                              <a:pt x="51" y="29"/>
                              <a:pt x="58" y="23"/>
                              <a:pt x="58" y="15"/>
                            </a:cubicBezTo>
                            <a:cubicBezTo>
                              <a:pt x="58" y="7"/>
                              <a:pt x="51" y="0"/>
                              <a:pt x="43" y="0"/>
                            </a:cubicBezTo>
                            <a:cubicBezTo>
                              <a:pt x="15" y="0"/>
                              <a:pt x="15" y="0"/>
                              <a:pt x="15" y="0"/>
                            </a:cubicBezTo>
                            <a:cubicBezTo>
                              <a:pt x="7" y="0"/>
                              <a:pt x="0" y="7"/>
                              <a:pt x="0" y="15"/>
                            </a:cubicBezTo>
                            <a:cubicBezTo>
                              <a:pt x="0" y="23"/>
                              <a:pt x="7" y="29"/>
                              <a:pt x="15" y="29"/>
                            </a:cubicBezTo>
                            <a:close/>
                          </a:path>
                        </a:pathLst>
                      </a:custGeom>
                      <a:solidFill>
                        <a:srgbClr val="4D4D4F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=""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endParaRPr lang="en-US" sz="1200" dirty="0"/>
                      </a:p>
                    </p:txBody>
                  </p:sp>
                  <p:sp>
                    <p:nvSpPr>
                      <p:cNvPr id="1486" name="Freeform 25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4471988" y="2349500"/>
                        <a:ext cx="26988" cy="52388"/>
                      </a:xfrm>
                      <a:custGeom>
                        <a:avLst/>
                        <a:gdLst>
                          <a:gd name="T0" fmla="*/ 30 w 31"/>
                          <a:gd name="T1" fmla="*/ 42 h 58"/>
                          <a:gd name="T2" fmla="*/ 29 w 31"/>
                          <a:gd name="T3" fmla="*/ 28 h 58"/>
                          <a:gd name="T4" fmla="*/ 29 w 31"/>
                          <a:gd name="T5" fmla="*/ 15 h 58"/>
                          <a:gd name="T6" fmla="*/ 14 w 31"/>
                          <a:gd name="T7" fmla="*/ 0 h 58"/>
                          <a:gd name="T8" fmla="*/ 0 w 31"/>
                          <a:gd name="T9" fmla="*/ 15 h 58"/>
                          <a:gd name="T10" fmla="*/ 0 w 31"/>
                          <a:gd name="T11" fmla="*/ 28 h 58"/>
                          <a:gd name="T12" fmla="*/ 1 w 31"/>
                          <a:gd name="T13" fmla="*/ 45 h 58"/>
                          <a:gd name="T14" fmla="*/ 15 w 31"/>
                          <a:gd name="T15" fmla="*/ 58 h 58"/>
                          <a:gd name="T16" fmla="*/ 17 w 31"/>
                          <a:gd name="T17" fmla="*/ 58 h 58"/>
                          <a:gd name="T18" fmla="*/ 30 w 31"/>
                          <a:gd name="T19" fmla="*/ 42 h 58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  <a:cxn ang="0">
                            <a:pos x="T14" y="T15"/>
                          </a:cxn>
                          <a:cxn ang="0">
                            <a:pos x="T16" y="T17"/>
                          </a:cxn>
                          <a:cxn ang="0">
                            <a:pos x="T18" y="T19"/>
                          </a:cxn>
                        </a:cxnLst>
                        <a:rect l="0" t="0" r="r" b="b"/>
                        <a:pathLst>
                          <a:path w="31" h="58">
                            <a:moveTo>
                              <a:pt x="30" y="42"/>
                            </a:moveTo>
                            <a:cubicBezTo>
                              <a:pt x="29" y="37"/>
                              <a:pt x="29" y="33"/>
                              <a:pt x="29" y="28"/>
                            </a:cubicBezTo>
                            <a:cubicBezTo>
                              <a:pt x="29" y="15"/>
                              <a:pt x="29" y="15"/>
                              <a:pt x="29" y="15"/>
                            </a:cubicBezTo>
                            <a:cubicBezTo>
                              <a:pt x="29" y="7"/>
                              <a:pt x="22" y="0"/>
                              <a:pt x="14" y="0"/>
                            </a:cubicBezTo>
                            <a:cubicBezTo>
                              <a:pt x="7" y="0"/>
                              <a:pt x="0" y="7"/>
                              <a:pt x="0" y="15"/>
                            </a:cubicBezTo>
                            <a:cubicBezTo>
                              <a:pt x="0" y="28"/>
                              <a:pt x="0" y="28"/>
                              <a:pt x="0" y="28"/>
                            </a:cubicBezTo>
                            <a:cubicBezTo>
                              <a:pt x="0" y="34"/>
                              <a:pt x="0" y="39"/>
                              <a:pt x="1" y="45"/>
                            </a:cubicBezTo>
                            <a:cubicBezTo>
                              <a:pt x="2" y="52"/>
                              <a:pt x="8" y="58"/>
                              <a:pt x="15" y="58"/>
                            </a:cubicBezTo>
                            <a:cubicBezTo>
                              <a:pt x="16" y="58"/>
                              <a:pt x="17" y="58"/>
                              <a:pt x="17" y="58"/>
                            </a:cubicBezTo>
                            <a:cubicBezTo>
                              <a:pt x="25" y="57"/>
                              <a:pt x="31" y="50"/>
                              <a:pt x="30" y="42"/>
                            </a:cubicBezTo>
                            <a:close/>
                          </a:path>
                        </a:pathLst>
                      </a:custGeom>
                      <a:solidFill>
                        <a:srgbClr val="4D4D4F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=""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endParaRPr lang="en-US" sz="1200" dirty="0"/>
                      </a:p>
                    </p:txBody>
                  </p:sp>
                  <p:sp>
                    <p:nvSpPr>
                      <p:cNvPr id="1487" name="Freeform 26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4973638" y="2282825"/>
                        <a:ext cx="25400" cy="52388"/>
                      </a:xfrm>
                      <a:custGeom>
                        <a:avLst/>
                        <a:gdLst>
                          <a:gd name="T0" fmla="*/ 14 w 29"/>
                          <a:gd name="T1" fmla="*/ 0 h 58"/>
                          <a:gd name="T2" fmla="*/ 0 w 29"/>
                          <a:gd name="T3" fmla="*/ 15 h 58"/>
                          <a:gd name="T4" fmla="*/ 0 w 29"/>
                          <a:gd name="T5" fmla="*/ 44 h 58"/>
                          <a:gd name="T6" fmla="*/ 14 w 29"/>
                          <a:gd name="T7" fmla="*/ 58 h 58"/>
                          <a:gd name="T8" fmla="*/ 29 w 29"/>
                          <a:gd name="T9" fmla="*/ 44 h 58"/>
                          <a:gd name="T10" fmla="*/ 29 w 29"/>
                          <a:gd name="T11" fmla="*/ 15 h 58"/>
                          <a:gd name="T12" fmla="*/ 14 w 29"/>
                          <a:gd name="T13" fmla="*/ 0 h 58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</a:cxnLst>
                        <a:rect l="0" t="0" r="r" b="b"/>
                        <a:pathLst>
                          <a:path w="29" h="58">
                            <a:moveTo>
                              <a:pt x="14" y="0"/>
                            </a:moveTo>
                            <a:cubicBezTo>
                              <a:pt x="6" y="0"/>
                              <a:pt x="0" y="7"/>
                              <a:pt x="0" y="15"/>
                            </a:cubicBezTo>
                            <a:cubicBezTo>
                              <a:pt x="0" y="44"/>
                              <a:pt x="0" y="44"/>
                              <a:pt x="0" y="44"/>
                            </a:cubicBezTo>
                            <a:cubicBezTo>
                              <a:pt x="0" y="52"/>
                              <a:pt x="6" y="58"/>
                              <a:pt x="14" y="58"/>
                            </a:cubicBezTo>
                            <a:cubicBezTo>
                              <a:pt x="22" y="58"/>
                              <a:pt x="29" y="52"/>
                              <a:pt x="29" y="44"/>
                            </a:cubicBezTo>
                            <a:cubicBezTo>
                              <a:pt x="29" y="15"/>
                              <a:pt x="29" y="15"/>
                              <a:pt x="29" y="15"/>
                            </a:cubicBezTo>
                            <a:cubicBezTo>
                              <a:pt x="29" y="7"/>
                              <a:pt x="22" y="0"/>
                              <a:pt x="14" y="0"/>
                            </a:cubicBezTo>
                            <a:close/>
                          </a:path>
                        </a:pathLst>
                      </a:custGeom>
                      <a:solidFill>
                        <a:srgbClr val="4D4D4F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=""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endParaRPr lang="en-US" sz="1200" dirty="0"/>
                      </a:p>
                    </p:txBody>
                  </p:sp>
                  <p:sp>
                    <p:nvSpPr>
                      <p:cNvPr id="1488" name="Freeform 28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4927601" y="2432050"/>
                        <a:ext cx="47625" cy="46038"/>
                      </a:xfrm>
                      <a:custGeom>
                        <a:avLst/>
                        <a:gdLst>
                          <a:gd name="T0" fmla="*/ 25 w 53"/>
                          <a:gd name="T1" fmla="*/ 7 h 51"/>
                          <a:gd name="T2" fmla="*/ 7 w 53"/>
                          <a:gd name="T3" fmla="*/ 25 h 51"/>
                          <a:gd name="T4" fmla="*/ 5 w 53"/>
                          <a:gd name="T5" fmla="*/ 45 h 51"/>
                          <a:gd name="T6" fmla="*/ 16 w 53"/>
                          <a:gd name="T7" fmla="*/ 51 h 51"/>
                          <a:gd name="T8" fmla="*/ 25 w 53"/>
                          <a:gd name="T9" fmla="*/ 47 h 51"/>
                          <a:gd name="T10" fmla="*/ 48 w 53"/>
                          <a:gd name="T11" fmla="*/ 25 h 51"/>
                          <a:gd name="T12" fmla="*/ 45 w 53"/>
                          <a:gd name="T13" fmla="*/ 5 h 51"/>
                          <a:gd name="T14" fmla="*/ 25 w 53"/>
                          <a:gd name="T15" fmla="*/ 7 h 51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  <a:cxn ang="0">
                            <a:pos x="T14" y="T15"/>
                          </a:cxn>
                        </a:cxnLst>
                        <a:rect l="0" t="0" r="r" b="b"/>
                        <a:pathLst>
                          <a:path w="53" h="51">
                            <a:moveTo>
                              <a:pt x="25" y="7"/>
                            </a:moveTo>
                            <a:cubicBezTo>
                              <a:pt x="20" y="14"/>
                              <a:pt x="14" y="20"/>
                              <a:pt x="7" y="25"/>
                            </a:cubicBezTo>
                            <a:cubicBezTo>
                              <a:pt x="1" y="30"/>
                              <a:pt x="0" y="39"/>
                              <a:pt x="5" y="45"/>
                            </a:cubicBezTo>
                            <a:cubicBezTo>
                              <a:pt x="8" y="49"/>
                              <a:pt x="12" y="51"/>
                              <a:pt x="16" y="51"/>
                            </a:cubicBezTo>
                            <a:cubicBezTo>
                              <a:pt x="20" y="51"/>
                              <a:pt x="23" y="50"/>
                              <a:pt x="25" y="47"/>
                            </a:cubicBezTo>
                            <a:cubicBezTo>
                              <a:pt x="34" y="41"/>
                              <a:pt x="41" y="33"/>
                              <a:pt x="48" y="25"/>
                            </a:cubicBezTo>
                            <a:cubicBezTo>
                              <a:pt x="53" y="19"/>
                              <a:pt x="52" y="9"/>
                              <a:pt x="45" y="5"/>
                            </a:cubicBezTo>
                            <a:cubicBezTo>
                              <a:pt x="39" y="0"/>
                              <a:pt x="30" y="1"/>
                              <a:pt x="25" y="7"/>
                            </a:cubicBezTo>
                            <a:close/>
                          </a:path>
                        </a:pathLst>
                      </a:custGeom>
                      <a:solidFill>
                        <a:srgbClr val="4D4D4F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=""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endParaRPr lang="en-US" sz="1200" dirty="0"/>
                      </a:p>
                    </p:txBody>
                  </p:sp>
                  <p:sp>
                    <p:nvSpPr>
                      <p:cNvPr id="1489" name="Freeform 29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4968876" y="2360613"/>
                        <a:ext cx="30163" cy="52388"/>
                      </a:xfrm>
                      <a:custGeom>
                        <a:avLst/>
                        <a:gdLst>
                          <a:gd name="T0" fmla="*/ 19 w 34"/>
                          <a:gd name="T1" fmla="*/ 0 h 58"/>
                          <a:gd name="T2" fmla="*/ 5 w 34"/>
                          <a:gd name="T3" fmla="*/ 15 h 58"/>
                          <a:gd name="T4" fmla="*/ 2 w 34"/>
                          <a:gd name="T5" fmla="*/ 40 h 58"/>
                          <a:gd name="T6" fmla="*/ 13 w 34"/>
                          <a:gd name="T7" fmla="*/ 58 h 58"/>
                          <a:gd name="T8" fmla="*/ 16 w 34"/>
                          <a:gd name="T9" fmla="*/ 58 h 58"/>
                          <a:gd name="T10" fmla="*/ 30 w 34"/>
                          <a:gd name="T11" fmla="*/ 47 h 58"/>
                          <a:gd name="T12" fmla="*/ 34 w 34"/>
                          <a:gd name="T13" fmla="*/ 15 h 58"/>
                          <a:gd name="T14" fmla="*/ 34 w 34"/>
                          <a:gd name="T15" fmla="*/ 14 h 58"/>
                          <a:gd name="T16" fmla="*/ 19 w 34"/>
                          <a:gd name="T17" fmla="*/ 0 h 58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  <a:cxn ang="0">
                            <a:pos x="T14" y="T15"/>
                          </a:cxn>
                          <a:cxn ang="0">
                            <a:pos x="T16" y="T17"/>
                          </a:cxn>
                        </a:cxnLst>
                        <a:rect l="0" t="0" r="r" b="b"/>
                        <a:pathLst>
                          <a:path w="34" h="58">
                            <a:moveTo>
                              <a:pt x="19" y="0"/>
                            </a:moveTo>
                            <a:cubicBezTo>
                              <a:pt x="11" y="0"/>
                              <a:pt x="5" y="7"/>
                              <a:pt x="5" y="15"/>
                            </a:cubicBezTo>
                            <a:cubicBezTo>
                              <a:pt x="5" y="24"/>
                              <a:pt x="4" y="32"/>
                              <a:pt x="2" y="40"/>
                            </a:cubicBezTo>
                            <a:cubicBezTo>
                              <a:pt x="0" y="48"/>
                              <a:pt x="5" y="56"/>
                              <a:pt x="13" y="58"/>
                            </a:cubicBezTo>
                            <a:cubicBezTo>
                              <a:pt x="14" y="58"/>
                              <a:pt x="15" y="58"/>
                              <a:pt x="16" y="58"/>
                            </a:cubicBezTo>
                            <a:cubicBezTo>
                              <a:pt x="23" y="58"/>
                              <a:pt x="29" y="53"/>
                              <a:pt x="30" y="47"/>
                            </a:cubicBezTo>
                            <a:cubicBezTo>
                              <a:pt x="32" y="36"/>
                              <a:pt x="34" y="26"/>
                              <a:pt x="34" y="15"/>
                            </a:cubicBezTo>
                            <a:cubicBezTo>
                              <a:pt x="34" y="14"/>
                              <a:pt x="34" y="14"/>
                              <a:pt x="34" y="14"/>
                            </a:cubicBezTo>
                            <a:cubicBezTo>
                              <a:pt x="34" y="6"/>
                              <a:pt x="27" y="0"/>
                              <a:pt x="19" y="0"/>
                            </a:cubicBezTo>
                            <a:close/>
                          </a:path>
                        </a:pathLst>
                      </a:custGeom>
                      <a:solidFill>
                        <a:srgbClr val="4D4D4F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=""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endParaRPr lang="en-US" sz="1200" dirty="0"/>
                      </a:p>
                    </p:txBody>
                  </p:sp>
                  <p:sp>
                    <p:nvSpPr>
                      <p:cNvPr id="1490" name="Freeform 30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4973638" y="2205038"/>
                        <a:ext cx="25400" cy="52388"/>
                      </a:xfrm>
                      <a:custGeom>
                        <a:avLst/>
                        <a:gdLst>
                          <a:gd name="T0" fmla="*/ 14 w 29"/>
                          <a:gd name="T1" fmla="*/ 0 h 58"/>
                          <a:gd name="T2" fmla="*/ 0 w 29"/>
                          <a:gd name="T3" fmla="*/ 15 h 58"/>
                          <a:gd name="T4" fmla="*/ 0 w 29"/>
                          <a:gd name="T5" fmla="*/ 43 h 58"/>
                          <a:gd name="T6" fmla="*/ 14 w 29"/>
                          <a:gd name="T7" fmla="*/ 58 h 58"/>
                          <a:gd name="T8" fmla="*/ 29 w 29"/>
                          <a:gd name="T9" fmla="*/ 43 h 58"/>
                          <a:gd name="T10" fmla="*/ 29 w 29"/>
                          <a:gd name="T11" fmla="*/ 15 h 58"/>
                          <a:gd name="T12" fmla="*/ 14 w 29"/>
                          <a:gd name="T13" fmla="*/ 0 h 58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</a:cxnLst>
                        <a:rect l="0" t="0" r="r" b="b"/>
                        <a:pathLst>
                          <a:path w="29" h="58">
                            <a:moveTo>
                              <a:pt x="14" y="0"/>
                            </a:moveTo>
                            <a:cubicBezTo>
                              <a:pt x="6" y="0"/>
                              <a:pt x="0" y="7"/>
                              <a:pt x="0" y="15"/>
                            </a:cubicBezTo>
                            <a:cubicBezTo>
                              <a:pt x="0" y="43"/>
                              <a:pt x="0" y="43"/>
                              <a:pt x="0" y="43"/>
                            </a:cubicBezTo>
                            <a:cubicBezTo>
                              <a:pt x="0" y="51"/>
                              <a:pt x="6" y="58"/>
                              <a:pt x="14" y="58"/>
                            </a:cubicBezTo>
                            <a:cubicBezTo>
                              <a:pt x="22" y="58"/>
                              <a:pt x="29" y="51"/>
                              <a:pt x="29" y="43"/>
                            </a:cubicBezTo>
                            <a:cubicBezTo>
                              <a:pt x="29" y="15"/>
                              <a:pt x="29" y="15"/>
                              <a:pt x="29" y="15"/>
                            </a:cubicBezTo>
                            <a:cubicBezTo>
                              <a:pt x="29" y="7"/>
                              <a:pt x="22" y="0"/>
                              <a:pt x="14" y="0"/>
                            </a:cubicBezTo>
                            <a:close/>
                          </a:path>
                        </a:pathLst>
                      </a:custGeom>
                      <a:solidFill>
                        <a:srgbClr val="4D4D4F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=""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endParaRPr lang="en-US" sz="1200" dirty="0"/>
                      </a:p>
                    </p:txBody>
                  </p:sp>
                  <p:sp>
                    <p:nvSpPr>
                      <p:cNvPr id="1491" name="Freeform 31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4973638" y="2127250"/>
                        <a:ext cx="25400" cy="52388"/>
                      </a:xfrm>
                      <a:custGeom>
                        <a:avLst/>
                        <a:gdLst>
                          <a:gd name="T0" fmla="*/ 14 w 29"/>
                          <a:gd name="T1" fmla="*/ 0 h 58"/>
                          <a:gd name="T2" fmla="*/ 0 w 29"/>
                          <a:gd name="T3" fmla="*/ 15 h 58"/>
                          <a:gd name="T4" fmla="*/ 0 w 29"/>
                          <a:gd name="T5" fmla="*/ 43 h 58"/>
                          <a:gd name="T6" fmla="*/ 14 w 29"/>
                          <a:gd name="T7" fmla="*/ 58 h 58"/>
                          <a:gd name="T8" fmla="*/ 29 w 29"/>
                          <a:gd name="T9" fmla="*/ 43 h 58"/>
                          <a:gd name="T10" fmla="*/ 29 w 29"/>
                          <a:gd name="T11" fmla="*/ 15 h 58"/>
                          <a:gd name="T12" fmla="*/ 14 w 29"/>
                          <a:gd name="T13" fmla="*/ 0 h 58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</a:cxnLst>
                        <a:rect l="0" t="0" r="r" b="b"/>
                        <a:pathLst>
                          <a:path w="29" h="58">
                            <a:moveTo>
                              <a:pt x="14" y="0"/>
                            </a:moveTo>
                            <a:cubicBezTo>
                              <a:pt x="6" y="0"/>
                              <a:pt x="0" y="7"/>
                              <a:pt x="0" y="15"/>
                            </a:cubicBezTo>
                            <a:cubicBezTo>
                              <a:pt x="0" y="43"/>
                              <a:pt x="0" y="43"/>
                              <a:pt x="0" y="43"/>
                            </a:cubicBezTo>
                            <a:cubicBezTo>
                              <a:pt x="0" y="51"/>
                              <a:pt x="6" y="58"/>
                              <a:pt x="14" y="58"/>
                            </a:cubicBezTo>
                            <a:cubicBezTo>
                              <a:pt x="22" y="58"/>
                              <a:pt x="29" y="51"/>
                              <a:pt x="29" y="43"/>
                            </a:cubicBezTo>
                            <a:cubicBezTo>
                              <a:pt x="29" y="15"/>
                              <a:pt x="29" y="15"/>
                              <a:pt x="29" y="15"/>
                            </a:cubicBezTo>
                            <a:cubicBezTo>
                              <a:pt x="29" y="7"/>
                              <a:pt x="22" y="0"/>
                              <a:pt x="14" y="0"/>
                            </a:cubicBezTo>
                            <a:close/>
                          </a:path>
                        </a:pathLst>
                      </a:custGeom>
                      <a:solidFill>
                        <a:srgbClr val="4D4D4F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=""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endParaRPr lang="en-US" sz="1200" dirty="0"/>
                      </a:p>
                    </p:txBody>
                  </p:sp>
                  <p:sp>
                    <p:nvSpPr>
                      <p:cNvPr id="1492" name="Freeform 32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4546601" y="2470150"/>
                        <a:ext cx="53975" cy="33338"/>
                      </a:xfrm>
                      <a:custGeom>
                        <a:avLst/>
                        <a:gdLst>
                          <a:gd name="T0" fmla="*/ 46 w 60"/>
                          <a:gd name="T1" fmla="*/ 8 h 37"/>
                          <a:gd name="T2" fmla="*/ 21 w 60"/>
                          <a:gd name="T3" fmla="*/ 2 h 37"/>
                          <a:gd name="T4" fmla="*/ 3 w 60"/>
                          <a:gd name="T5" fmla="*/ 11 h 37"/>
                          <a:gd name="T6" fmla="*/ 12 w 60"/>
                          <a:gd name="T7" fmla="*/ 30 h 37"/>
                          <a:gd name="T8" fmla="*/ 43 w 60"/>
                          <a:gd name="T9" fmla="*/ 37 h 37"/>
                          <a:gd name="T10" fmla="*/ 44 w 60"/>
                          <a:gd name="T11" fmla="*/ 37 h 37"/>
                          <a:gd name="T12" fmla="*/ 59 w 60"/>
                          <a:gd name="T13" fmla="*/ 24 h 37"/>
                          <a:gd name="T14" fmla="*/ 46 w 60"/>
                          <a:gd name="T15" fmla="*/ 8 h 37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  <a:cxn ang="0">
                            <a:pos x="T14" y="T15"/>
                          </a:cxn>
                        </a:cxnLst>
                        <a:rect l="0" t="0" r="r" b="b"/>
                        <a:pathLst>
                          <a:path w="60" h="37">
                            <a:moveTo>
                              <a:pt x="46" y="8"/>
                            </a:moveTo>
                            <a:cubicBezTo>
                              <a:pt x="38" y="7"/>
                              <a:pt x="29" y="5"/>
                              <a:pt x="21" y="2"/>
                            </a:cubicBezTo>
                            <a:cubicBezTo>
                              <a:pt x="14" y="0"/>
                              <a:pt x="6" y="4"/>
                              <a:pt x="3" y="11"/>
                            </a:cubicBezTo>
                            <a:cubicBezTo>
                              <a:pt x="0" y="19"/>
                              <a:pt x="4" y="27"/>
                              <a:pt x="12" y="30"/>
                            </a:cubicBezTo>
                            <a:cubicBezTo>
                              <a:pt x="22" y="33"/>
                              <a:pt x="32" y="36"/>
                              <a:pt x="43" y="37"/>
                            </a:cubicBezTo>
                            <a:cubicBezTo>
                              <a:pt x="43" y="37"/>
                              <a:pt x="44" y="37"/>
                              <a:pt x="44" y="37"/>
                            </a:cubicBezTo>
                            <a:cubicBezTo>
                              <a:pt x="51" y="37"/>
                              <a:pt x="58" y="32"/>
                              <a:pt x="59" y="24"/>
                            </a:cubicBezTo>
                            <a:cubicBezTo>
                              <a:pt x="60" y="16"/>
                              <a:pt x="54" y="9"/>
                              <a:pt x="46" y="8"/>
                            </a:cubicBezTo>
                            <a:close/>
                          </a:path>
                        </a:pathLst>
                      </a:custGeom>
                      <a:solidFill>
                        <a:srgbClr val="4D4D4F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=""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endParaRPr lang="en-US" sz="1200" dirty="0"/>
                      </a:p>
                    </p:txBody>
                  </p:sp>
                  <p:sp>
                    <p:nvSpPr>
                      <p:cNvPr id="1493" name="Freeform 33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4781551" y="2478088"/>
                        <a:ext cx="50800" cy="25400"/>
                      </a:xfrm>
                      <a:custGeom>
                        <a:avLst/>
                        <a:gdLst>
                          <a:gd name="T0" fmla="*/ 43 w 57"/>
                          <a:gd name="T1" fmla="*/ 0 h 29"/>
                          <a:gd name="T2" fmla="*/ 14 w 57"/>
                          <a:gd name="T3" fmla="*/ 0 h 29"/>
                          <a:gd name="T4" fmla="*/ 0 w 57"/>
                          <a:gd name="T5" fmla="*/ 15 h 29"/>
                          <a:gd name="T6" fmla="*/ 14 w 57"/>
                          <a:gd name="T7" fmla="*/ 29 h 29"/>
                          <a:gd name="T8" fmla="*/ 43 w 57"/>
                          <a:gd name="T9" fmla="*/ 29 h 29"/>
                          <a:gd name="T10" fmla="*/ 57 w 57"/>
                          <a:gd name="T11" fmla="*/ 15 h 29"/>
                          <a:gd name="T12" fmla="*/ 43 w 57"/>
                          <a:gd name="T13" fmla="*/ 0 h 29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</a:cxnLst>
                        <a:rect l="0" t="0" r="r" b="b"/>
                        <a:pathLst>
                          <a:path w="57" h="29">
                            <a:moveTo>
                              <a:pt x="43" y="0"/>
                            </a:moveTo>
                            <a:cubicBezTo>
                              <a:pt x="14" y="0"/>
                              <a:pt x="14" y="0"/>
                              <a:pt x="14" y="0"/>
                            </a:cubicBezTo>
                            <a:cubicBezTo>
                              <a:pt x="6" y="0"/>
                              <a:pt x="0" y="7"/>
                              <a:pt x="0" y="15"/>
                            </a:cubicBezTo>
                            <a:cubicBezTo>
                              <a:pt x="0" y="23"/>
                              <a:pt x="6" y="29"/>
                              <a:pt x="14" y="29"/>
                            </a:cubicBezTo>
                            <a:cubicBezTo>
                              <a:pt x="43" y="29"/>
                              <a:pt x="43" y="29"/>
                              <a:pt x="43" y="29"/>
                            </a:cubicBezTo>
                            <a:cubicBezTo>
                              <a:pt x="51" y="29"/>
                              <a:pt x="57" y="23"/>
                              <a:pt x="57" y="15"/>
                            </a:cubicBezTo>
                            <a:cubicBezTo>
                              <a:pt x="57" y="7"/>
                              <a:pt x="51" y="0"/>
                              <a:pt x="43" y="0"/>
                            </a:cubicBezTo>
                            <a:close/>
                          </a:path>
                        </a:pathLst>
                      </a:custGeom>
                      <a:solidFill>
                        <a:srgbClr val="4D4D4F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=""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endParaRPr lang="en-US" sz="1200" dirty="0"/>
                      </a:p>
                    </p:txBody>
                  </p:sp>
                  <p:sp>
                    <p:nvSpPr>
                      <p:cNvPr id="1494" name="Freeform 34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4703763" y="2478088"/>
                        <a:ext cx="50800" cy="25400"/>
                      </a:xfrm>
                      <a:custGeom>
                        <a:avLst/>
                        <a:gdLst>
                          <a:gd name="T0" fmla="*/ 44 w 58"/>
                          <a:gd name="T1" fmla="*/ 0 h 29"/>
                          <a:gd name="T2" fmla="*/ 15 w 58"/>
                          <a:gd name="T3" fmla="*/ 0 h 29"/>
                          <a:gd name="T4" fmla="*/ 0 w 58"/>
                          <a:gd name="T5" fmla="*/ 15 h 29"/>
                          <a:gd name="T6" fmla="*/ 15 w 58"/>
                          <a:gd name="T7" fmla="*/ 29 h 29"/>
                          <a:gd name="T8" fmla="*/ 44 w 58"/>
                          <a:gd name="T9" fmla="*/ 29 h 29"/>
                          <a:gd name="T10" fmla="*/ 58 w 58"/>
                          <a:gd name="T11" fmla="*/ 15 h 29"/>
                          <a:gd name="T12" fmla="*/ 44 w 58"/>
                          <a:gd name="T13" fmla="*/ 0 h 29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</a:cxnLst>
                        <a:rect l="0" t="0" r="r" b="b"/>
                        <a:pathLst>
                          <a:path w="58" h="29">
                            <a:moveTo>
                              <a:pt x="44" y="0"/>
                            </a:moveTo>
                            <a:cubicBezTo>
                              <a:pt x="15" y="0"/>
                              <a:pt x="15" y="0"/>
                              <a:pt x="15" y="0"/>
                            </a:cubicBezTo>
                            <a:cubicBezTo>
                              <a:pt x="7" y="0"/>
                              <a:pt x="0" y="7"/>
                              <a:pt x="0" y="15"/>
                            </a:cubicBezTo>
                            <a:cubicBezTo>
                              <a:pt x="0" y="23"/>
                              <a:pt x="7" y="29"/>
                              <a:pt x="15" y="29"/>
                            </a:cubicBezTo>
                            <a:cubicBezTo>
                              <a:pt x="44" y="29"/>
                              <a:pt x="44" y="29"/>
                              <a:pt x="44" y="29"/>
                            </a:cubicBezTo>
                            <a:cubicBezTo>
                              <a:pt x="51" y="29"/>
                              <a:pt x="58" y="23"/>
                              <a:pt x="58" y="15"/>
                            </a:cubicBezTo>
                            <a:cubicBezTo>
                              <a:pt x="58" y="7"/>
                              <a:pt x="51" y="0"/>
                              <a:pt x="44" y="0"/>
                            </a:cubicBezTo>
                            <a:close/>
                          </a:path>
                        </a:pathLst>
                      </a:custGeom>
                      <a:solidFill>
                        <a:srgbClr val="4D4D4F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=""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endParaRPr lang="en-US" sz="1200" dirty="0"/>
                      </a:p>
                    </p:txBody>
                  </p:sp>
                  <p:sp>
                    <p:nvSpPr>
                      <p:cNvPr id="1495" name="Freeform 35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4625976" y="2478088"/>
                        <a:ext cx="52388" cy="25400"/>
                      </a:xfrm>
                      <a:custGeom>
                        <a:avLst/>
                        <a:gdLst>
                          <a:gd name="T0" fmla="*/ 43 w 58"/>
                          <a:gd name="T1" fmla="*/ 0 h 29"/>
                          <a:gd name="T2" fmla="*/ 15 w 58"/>
                          <a:gd name="T3" fmla="*/ 0 h 29"/>
                          <a:gd name="T4" fmla="*/ 0 w 58"/>
                          <a:gd name="T5" fmla="*/ 15 h 29"/>
                          <a:gd name="T6" fmla="*/ 15 w 58"/>
                          <a:gd name="T7" fmla="*/ 29 h 29"/>
                          <a:gd name="T8" fmla="*/ 43 w 58"/>
                          <a:gd name="T9" fmla="*/ 29 h 29"/>
                          <a:gd name="T10" fmla="*/ 58 w 58"/>
                          <a:gd name="T11" fmla="*/ 15 h 29"/>
                          <a:gd name="T12" fmla="*/ 43 w 58"/>
                          <a:gd name="T13" fmla="*/ 0 h 29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</a:cxnLst>
                        <a:rect l="0" t="0" r="r" b="b"/>
                        <a:pathLst>
                          <a:path w="58" h="29">
                            <a:moveTo>
                              <a:pt x="43" y="0"/>
                            </a:moveTo>
                            <a:cubicBezTo>
                              <a:pt x="15" y="0"/>
                              <a:pt x="15" y="0"/>
                              <a:pt x="15" y="0"/>
                            </a:cubicBezTo>
                            <a:cubicBezTo>
                              <a:pt x="7" y="0"/>
                              <a:pt x="0" y="7"/>
                              <a:pt x="0" y="15"/>
                            </a:cubicBezTo>
                            <a:cubicBezTo>
                              <a:pt x="0" y="23"/>
                              <a:pt x="7" y="29"/>
                              <a:pt x="15" y="29"/>
                            </a:cubicBezTo>
                            <a:cubicBezTo>
                              <a:pt x="43" y="29"/>
                              <a:pt x="43" y="29"/>
                              <a:pt x="43" y="29"/>
                            </a:cubicBezTo>
                            <a:cubicBezTo>
                              <a:pt x="51" y="29"/>
                              <a:pt x="58" y="23"/>
                              <a:pt x="58" y="15"/>
                            </a:cubicBezTo>
                            <a:cubicBezTo>
                              <a:pt x="58" y="7"/>
                              <a:pt x="51" y="0"/>
                              <a:pt x="43" y="0"/>
                            </a:cubicBezTo>
                            <a:close/>
                          </a:path>
                        </a:pathLst>
                      </a:custGeom>
                      <a:solidFill>
                        <a:srgbClr val="4D4D4F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=""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endParaRPr lang="en-US" sz="1200" dirty="0"/>
                      </a:p>
                    </p:txBody>
                  </p:sp>
                  <p:sp>
                    <p:nvSpPr>
                      <p:cNvPr id="1496" name="Freeform 38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4859338" y="2473325"/>
                        <a:ext cx="52388" cy="30163"/>
                      </a:xfrm>
                      <a:custGeom>
                        <a:avLst/>
                        <a:gdLst>
                          <a:gd name="T0" fmla="*/ 39 w 58"/>
                          <a:gd name="T1" fmla="*/ 2 h 34"/>
                          <a:gd name="T2" fmla="*/ 14 w 58"/>
                          <a:gd name="T3" fmla="*/ 5 h 34"/>
                          <a:gd name="T4" fmla="*/ 0 w 58"/>
                          <a:gd name="T5" fmla="*/ 20 h 34"/>
                          <a:gd name="T6" fmla="*/ 14 w 58"/>
                          <a:gd name="T7" fmla="*/ 34 h 34"/>
                          <a:gd name="T8" fmla="*/ 14 w 58"/>
                          <a:gd name="T9" fmla="*/ 34 h 34"/>
                          <a:gd name="T10" fmla="*/ 46 w 58"/>
                          <a:gd name="T11" fmla="*/ 30 h 34"/>
                          <a:gd name="T12" fmla="*/ 56 w 58"/>
                          <a:gd name="T13" fmla="*/ 12 h 34"/>
                          <a:gd name="T14" fmla="*/ 39 w 58"/>
                          <a:gd name="T15" fmla="*/ 2 h 34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  <a:cxn ang="0">
                            <a:pos x="T14" y="T15"/>
                          </a:cxn>
                        </a:cxnLst>
                        <a:rect l="0" t="0" r="r" b="b"/>
                        <a:pathLst>
                          <a:path w="58" h="34">
                            <a:moveTo>
                              <a:pt x="39" y="2"/>
                            </a:moveTo>
                            <a:cubicBezTo>
                              <a:pt x="31" y="4"/>
                              <a:pt x="22" y="5"/>
                              <a:pt x="14" y="5"/>
                            </a:cubicBezTo>
                            <a:cubicBezTo>
                              <a:pt x="6" y="5"/>
                              <a:pt x="0" y="12"/>
                              <a:pt x="0" y="20"/>
                            </a:cubicBezTo>
                            <a:cubicBezTo>
                              <a:pt x="0" y="28"/>
                              <a:pt x="6" y="34"/>
                              <a:pt x="14" y="34"/>
                            </a:cubicBezTo>
                            <a:cubicBezTo>
                              <a:pt x="14" y="34"/>
                              <a:pt x="14" y="34"/>
                              <a:pt x="14" y="34"/>
                            </a:cubicBezTo>
                            <a:cubicBezTo>
                              <a:pt x="25" y="34"/>
                              <a:pt x="36" y="32"/>
                              <a:pt x="46" y="30"/>
                            </a:cubicBezTo>
                            <a:cubicBezTo>
                              <a:pt x="54" y="28"/>
                              <a:pt x="58" y="20"/>
                              <a:pt x="56" y="12"/>
                            </a:cubicBezTo>
                            <a:cubicBezTo>
                              <a:pt x="55" y="5"/>
                              <a:pt x="47" y="0"/>
                              <a:pt x="39" y="2"/>
                            </a:cubicBezTo>
                            <a:close/>
                          </a:path>
                        </a:pathLst>
                      </a:custGeom>
                      <a:solidFill>
                        <a:srgbClr val="4D4D4F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=""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endParaRPr lang="en-US" sz="1200" dirty="0"/>
                      </a:p>
                    </p:txBody>
                  </p:sp>
                </p:grpSp>
                <p:sp>
                  <p:nvSpPr>
                    <p:cNvPr id="1473" name="Freeform 12"/>
                    <p:cNvSpPr>
                      <a:spLocks noEditPoints="1"/>
                    </p:cNvSpPr>
                    <p:nvPr/>
                  </p:nvSpPr>
                  <p:spPr bwMode="auto">
                    <a:xfrm>
                      <a:off x="5406483" y="2446478"/>
                      <a:ext cx="214941" cy="191168"/>
                    </a:xfrm>
                    <a:custGeom>
                      <a:avLst/>
                      <a:gdLst>
                        <a:gd name="T0" fmla="*/ 419 w 494"/>
                        <a:gd name="T1" fmla="*/ 299 h 448"/>
                        <a:gd name="T2" fmla="*/ 403 w 494"/>
                        <a:gd name="T3" fmla="*/ 301 h 448"/>
                        <a:gd name="T4" fmla="*/ 302 w 494"/>
                        <a:gd name="T5" fmla="*/ 126 h 448"/>
                        <a:gd name="T6" fmla="*/ 322 w 494"/>
                        <a:gd name="T7" fmla="*/ 75 h 448"/>
                        <a:gd name="T8" fmla="*/ 247 w 494"/>
                        <a:gd name="T9" fmla="*/ 0 h 448"/>
                        <a:gd name="T10" fmla="*/ 173 w 494"/>
                        <a:gd name="T11" fmla="*/ 75 h 448"/>
                        <a:gd name="T12" fmla="*/ 193 w 494"/>
                        <a:gd name="T13" fmla="*/ 126 h 448"/>
                        <a:gd name="T14" fmla="*/ 91 w 494"/>
                        <a:gd name="T15" fmla="*/ 301 h 448"/>
                        <a:gd name="T16" fmla="*/ 75 w 494"/>
                        <a:gd name="T17" fmla="*/ 299 h 448"/>
                        <a:gd name="T18" fmla="*/ 0 w 494"/>
                        <a:gd name="T19" fmla="*/ 373 h 448"/>
                        <a:gd name="T20" fmla="*/ 75 w 494"/>
                        <a:gd name="T21" fmla="*/ 448 h 448"/>
                        <a:gd name="T22" fmla="*/ 146 w 494"/>
                        <a:gd name="T23" fmla="*/ 395 h 448"/>
                        <a:gd name="T24" fmla="*/ 349 w 494"/>
                        <a:gd name="T25" fmla="*/ 395 h 448"/>
                        <a:gd name="T26" fmla="*/ 419 w 494"/>
                        <a:gd name="T27" fmla="*/ 448 h 448"/>
                        <a:gd name="T28" fmla="*/ 494 w 494"/>
                        <a:gd name="T29" fmla="*/ 373 h 448"/>
                        <a:gd name="T30" fmla="*/ 419 w 494"/>
                        <a:gd name="T31" fmla="*/ 299 h 448"/>
                        <a:gd name="T32" fmla="*/ 349 w 494"/>
                        <a:gd name="T33" fmla="*/ 351 h 448"/>
                        <a:gd name="T34" fmla="*/ 146 w 494"/>
                        <a:gd name="T35" fmla="*/ 351 h 448"/>
                        <a:gd name="T36" fmla="*/ 130 w 494"/>
                        <a:gd name="T37" fmla="*/ 323 h 448"/>
                        <a:gd name="T38" fmla="*/ 231 w 494"/>
                        <a:gd name="T39" fmla="*/ 148 h 448"/>
                        <a:gd name="T40" fmla="*/ 247 w 494"/>
                        <a:gd name="T41" fmla="*/ 150 h 448"/>
                        <a:gd name="T42" fmla="*/ 264 w 494"/>
                        <a:gd name="T43" fmla="*/ 148 h 448"/>
                        <a:gd name="T44" fmla="*/ 365 w 494"/>
                        <a:gd name="T45" fmla="*/ 323 h 448"/>
                        <a:gd name="T46" fmla="*/ 349 w 494"/>
                        <a:gd name="T47" fmla="*/ 351 h 44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</a:cxnLst>
                      <a:rect l="0" t="0" r="r" b="b"/>
                      <a:pathLst>
                        <a:path w="494" h="448">
                          <a:moveTo>
                            <a:pt x="419" y="299"/>
                          </a:moveTo>
                          <a:cubicBezTo>
                            <a:pt x="414" y="299"/>
                            <a:pt x="408" y="300"/>
                            <a:pt x="403" y="301"/>
                          </a:cubicBezTo>
                          <a:cubicBezTo>
                            <a:pt x="302" y="126"/>
                            <a:pt x="302" y="126"/>
                            <a:pt x="302" y="126"/>
                          </a:cubicBezTo>
                          <a:cubicBezTo>
                            <a:pt x="314" y="112"/>
                            <a:pt x="322" y="95"/>
                            <a:pt x="322" y="75"/>
                          </a:cubicBezTo>
                          <a:cubicBezTo>
                            <a:pt x="322" y="34"/>
                            <a:pt x="288" y="0"/>
                            <a:pt x="247" y="0"/>
                          </a:cubicBezTo>
                          <a:cubicBezTo>
                            <a:pt x="206" y="0"/>
                            <a:pt x="173" y="34"/>
                            <a:pt x="173" y="75"/>
                          </a:cubicBezTo>
                          <a:cubicBezTo>
                            <a:pt x="173" y="95"/>
                            <a:pt x="180" y="112"/>
                            <a:pt x="193" y="126"/>
                          </a:cubicBezTo>
                          <a:cubicBezTo>
                            <a:pt x="91" y="301"/>
                            <a:pt x="91" y="301"/>
                            <a:pt x="91" y="301"/>
                          </a:cubicBezTo>
                          <a:cubicBezTo>
                            <a:pt x="86" y="300"/>
                            <a:pt x="81" y="299"/>
                            <a:pt x="75" y="299"/>
                          </a:cubicBezTo>
                          <a:cubicBezTo>
                            <a:pt x="34" y="299"/>
                            <a:pt x="0" y="332"/>
                            <a:pt x="0" y="373"/>
                          </a:cubicBezTo>
                          <a:cubicBezTo>
                            <a:pt x="0" y="415"/>
                            <a:pt x="34" y="448"/>
                            <a:pt x="75" y="448"/>
                          </a:cubicBezTo>
                          <a:cubicBezTo>
                            <a:pt x="108" y="448"/>
                            <a:pt x="136" y="426"/>
                            <a:pt x="146" y="395"/>
                          </a:cubicBezTo>
                          <a:cubicBezTo>
                            <a:pt x="349" y="395"/>
                            <a:pt x="349" y="395"/>
                            <a:pt x="349" y="395"/>
                          </a:cubicBezTo>
                          <a:cubicBezTo>
                            <a:pt x="358" y="426"/>
                            <a:pt x="386" y="448"/>
                            <a:pt x="419" y="448"/>
                          </a:cubicBezTo>
                          <a:cubicBezTo>
                            <a:pt x="461" y="448"/>
                            <a:pt x="494" y="415"/>
                            <a:pt x="494" y="373"/>
                          </a:cubicBezTo>
                          <a:cubicBezTo>
                            <a:pt x="494" y="332"/>
                            <a:pt x="461" y="299"/>
                            <a:pt x="419" y="299"/>
                          </a:cubicBezTo>
                          <a:close/>
                          <a:moveTo>
                            <a:pt x="349" y="351"/>
                          </a:moveTo>
                          <a:cubicBezTo>
                            <a:pt x="146" y="351"/>
                            <a:pt x="146" y="351"/>
                            <a:pt x="146" y="351"/>
                          </a:cubicBezTo>
                          <a:cubicBezTo>
                            <a:pt x="142" y="341"/>
                            <a:pt x="137" y="331"/>
                            <a:pt x="130" y="323"/>
                          </a:cubicBezTo>
                          <a:cubicBezTo>
                            <a:pt x="231" y="148"/>
                            <a:pt x="231" y="148"/>
                            <a:pt x="231" y="148"/>
                          </a:cubicBezTo>
                          <a:cubicBezTo>
                            <a:pt x="236" y="149"/>
                            <a:pt x="242" y="150"/>
                            <a:pt x="247" y="150"/>
                          </a:cubicBezTo>
                          <a:cubicBezTo>
                            <a:pt x="253" y="150"/>
                            <a:pt x="258" y="149"/>
                            <a:pt x="264" y="148"/>
                          </a:cubicBezTo>
                          <a:cubicBezTo>
                            <a:pt x="365" y="323"/>
                            <a:pt x="365" y="323"/>
                            <a:pt x="365" y="323"/>
                          </a:cubicBezTo>
                          <a:cubicBezTo>
                            <a:pt x="358" y="331"/>
                            <a:pt x="352" y="341"/>
                            <a:pt x="349" y="351"/>
                          </a:cubicBezTo>
                          <a:close/>
                        </a:path>
                      </a:pathLst>
                    </a:custGeom>
                    <a:solidFill>
                      <a:schemeClr val="bg1"/>
                    </a:solidFill>
                    <a:ln>
                      <a:noFill/>
                    </a:ln>
                    <a:extLst/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 sz="1200" dirty="0"/>
                    </a:p>
                  </p:txBody>
                </p:sp>
              </p:grpSp>
            </p:grpSp>
            <p:grpSp>
              <p:nvGrpSpPr>
                <p:cNvPr id="1386" name="Group 1385"/>
                <p:cNvGrpSpPr/>
                <p:nvPr/>
              </p:nvGrpSpPr>
              <p:grpSpPr>
                <a:xfrm>
                  <a:off x="3436473" y="3274323"/>
                  <a:ext cx="309857" cy="268010"/>
                  <a:chOff x="5310724" y="2352924"/>
                  <a:chExt cx="398754" cy="374816"/>
                </a:xfrm>
              </p:grpSpPr>
              <p:sp>
                <p:nvSpPr>
                  <p:cNvPr id="1443" name="Rounded Rectangle 1442"/>
                  <p:cNvSpPr/>
                  <p:nvPr/>
                </p:nvSpPr>
                <p:spPr>
                  <a:xfrm>
                    <a:off x="5351561" y="2386601"/>
                    <a:ext cx="308105" cy="310923"/>
                  </a:xfrm>
                  <a:prstGeom prst="roundRect">
                    <a:avLst/>
                  </a:prstGeom>
                  <a:solidFill>
                    <a:srgbClr val="948A54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grpSp>
                <p:nvGrpSpPr>
                  <p:cNvPr id="1444" name="Group 1443"/>
                  <p:cNvGrpSpPr/>
                  <p:nvPr/>
                </p:nvGrpSpPr>
                <p:grpSpPr>
                  <a:xfrm>
                    <a:off x="5310724" y="2352924"/>
                    <a:ext cx="398754" cy="374816"/>
                    <a:chOff x="5310724" y="2352924"/>
                    <a:chExt cx="398754" cy="374816"/>
                  </a:xfrm>
                </p:grpSpPr>
                <p:grpSp>
                  <p:nvGrpSpPr>
                    <p:cNvPr id="1445" name="Group 1444"/>
                    <p:cNvGrpSpPr/>
                    <p:nvPr/>
                  </p:nvGrpSpPr>
                  <p:grpSpPr>
                    <a:xfrm rot="5400000">
                      <a:off x="5322693" y="2340955"/>
                      <a:ext cx="374816" cy="398754"/>
                      <a:chOff x="4471988" y="1985963"/>
                      <a:chExt cx="527051" cy="517525"/>
                    </a:xfrm>
                  </p:grpSpPr>
                  <p:sp>
                    <p:nvSpPr>
                      <p:cNvPr id="1447" name="Freeform 13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4471988" y="2117725"/>
                        <a:ext cx="25400" cy="50800"/>
                      </a:xfrm>
                      <a:custGeom>
                        <a:avLst/>
                        <a:gdLst>
                          <a:gd name="T0" fmla="*/ 14 w 29"/>
                          <a:gd name="T1" fmla="*/ 57 h 57"/>
                          <a:gd name="T2" fmla="*/ 29 w 29"/>
                          <a:gd name="T3" fmla="*/ 43 h 57"/>
                          <a:gd name="T4" fmla="*/ 29 w 29"/>
                          <a:gd name="T5" fmla="*/ 14 h 57"/>
                          <a:gd name="T6" fmla="*/ 14 w 29"/>
                          <a:gd name="T7" fmla="*/ 0 h 57"/>
                          <a:gd name="T8" fmla="*/ 0 w 29"/>
                          <a:gd name="T9" fmla="*/ 14 h 57"/>
                          <a:gd name="T10" fmla="*/ 0 w 29"/>
                          <a:gd name="T11" fmla="*/ 43 h 57"/>
                          <a:gd name="T12" fmla="*/ 14 w 29"/>
                          <a:gd name="T13" fmla="*/ 57 h 57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</a:cxnLst>
                        <a:rect l="0" t="0" r="r" b="b"/>
                        <a:pathLst>
                          <a:path w="29" h="57">
                            <a:moveTo>
                              <a:pt x="14" y="57"/>
                            </a:moveTo>
                            <a:cubicBezTo>
                              <a:pt x="22" y="57"/>
                              <a:pt x="29" y="51"/>
                              <a:pt x="29" y="43"/>
                            </a:cubicBezTo>
                            <a:cubicBezTo>
                              <a:pt x="29" y="14"/>
                              <a:pt x="29" y="14"/>
                              <a:pt x="29" y="14"/>
                            </a:cubicBezTo>
                            <a:cubicBezTo>
                              <a:pt x="29" y="6"/>
                              <a:pt x="22" y="0"/>
                              <a:pt x="14" y="0"/>
                            </a:cubicBezTo>
                            <a:cubicBezTo>
                              <a:pt x="7" y="0"/>
                              <a:pt x="0" y="6"/>
                              <a:pt x="0" y="14"/>
                            </a:cubicBezTo>
                            <a:cubicBezTo>
                              <a:pt x="0" y="43"/>
                              <a:pt x="0" y="43"/>
                              <a:pt x="0" y="43"/>
                            </a:cubicBezTo>
                            <a:cubicBezTo>
                              <a:pt x="0" y="51"/>
                              <a:pt x="7" y="57"/>
                              <a:pt x="14" y="57"/>
                            </a:cubicBezTo>
                            <a:close/>
                          </a:path>
                        </a:pathLst>
                      </a:custGeom>
                      <a:solidFill>
                        <a:srgbClr val="4D4D4F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=""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endParaRPr lang="en-US" sz="1200" dirty="0"/>
                      </a:p>
                    </p:txBody>
                  </p:sp>
                  <p:sp>
                    <p:nvSpPr>
                      <p:cNvPr id="1448" name="Freeform 14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4471988" y="2271713"/>
                        <a:ext cx="25400" cy="52388"/>
                      </a:xfrm>
                      <a:custGeom>
                        <a:avLst/>
                        <a:gdLst>
                          <a:gd name="T0" fmla="*/ 14 w 29"/>
                          <a:gd name="T1" fmla="*/ 58 h 58"/>
                          <a:gd name="T2" fmla="*/ 29 w 29"/>
                          <a:gd name="T3" fmla="*/ 43 h 58"/>
                          <a:gd name="T4" fmla="*/ 29 w 29"/>
                          <a:gd name="T5" fmla="*/ 15 h 58"/>
                          <a:gd name="T6" fmla="*/ 14 w 29"/>
                          <a:gd name="T7" fmla="*/ 0 h 58"/>
                          <a:gd name="T8" fmla="*/ 0 w 29"/>
                          <a:gd name="T9" fmla="*/ 15 h 58"/>
                          <a:gd name="T10" fmla="*/ 0 w 29"/>
                          <a:gd name="T11" fmla="*/ 43 h 58"/>
                          <a:gd name="T12" fmla="*/ 14 w 29"/>
                          <a:gd name="T13" fmla="*/ 58 h 58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</a:cxnLst>
                        <a:rect l="0" t="0" r="r" b="b"/>
                        <a:pathLst>
                          <a:path w="29" h="58">
                            <a:moveTo>
                              <a:pt x="14" y="58"/>
                            </a:moveTo>
                            <a:cubicBezTo>
                              <a:pt x="22" y="58"/>
                              <a:pt x="29" y="51"/>
                              <a:pt x="29" y="43"/>
                            </a:cubicBezTo>
                            <a:cubicBezTo>
                              <a:pt x="29" y="15"/>
                              <a:pt x="29" y="15"/>
                              <a:pt x="29" y="15"/>
                            </a:cubicBezTo>
                            <a:cubicBezTo>
                              <a:pt x="29" y="7"/>
                              <a:pt x="22" y="0"/>
                              <a:pt x="14" y="0"/>
                            </a:cubicBezTo>
                            <a:cubicBezTo>
                              <a:pt x="7" y="0"/>
                              <a:pt x="0" y="7"/>
                              <a:pt x="0" y="15"/>
                            </a:cubicBezTo>
                            <a:cubicBezTo>
                              <a:pt x="0" y="43"/>
                              <a:pt x="0" y="43"/>
                              <a:pt x="0" y="43"/>
                            </a:cubicBezTo>
                            <a:cubicBezTo>
                              <a:pt x="0" y="51"/>
                              <a:pt x="7" y="58"/>
                              <a:pt x="14" y="58"/>
                            </a:cubicBezTo>
                            <a:close/>
                          </a:path>
                        </a:pathLst>
                      </a:custGeom>
                      <a:solidFill>
                        <a:srgbClr val="4D4D4F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=""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endParaRPr lang="en-US" sz="1200" dirty="0"/>
                      </a:p>
                    </p:txBody>
                  </p:sp>
                  <p:sp>
                    <p:nvSpPr>
                      <p:cNvPr id="1449" name="Freeform 15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4487863" y="2422525"/>
                        <a:ext cx="44450" cy="47625"/>
                      </a:xfrm>
                      <a:custGeom>
                        <a:avLst/>
                        <a:gdLst>
                          <a:gd name="T0" fmla="*/ 29 w 50"/>
                          <a:gd name="T1" fmla="*/ 8 h 53"/>
                          <a:gd name="T2" fmla="*/ 9 w 50"/>
                          <a:gd name="T3" fmla="*/ 4 h 53"/>
                          <a:gd name="T4" fmla="*/ 4 w 50"/>
                          <a:gd name="T5" fmla="*/ 24 h 53"/>
                          <a:gd name="T6" fmla="*/ 24 w 50"/>
                          <a:gd name="T7" fmla="*/ 49 h 53"/>
                          <a:gd name="T8" fmla="*/ 34 w 50"/>
                          <a:gd name="T9" fmla="*/ 53 h 53"/>
                          <a:gd name="T10" fmla="*/ 45 w 50"/>
                          <a:gd name="T11" fmla="*/ 49 h 53"/>
                          <a:gd name="T12" fmla="*/ 45 w 50"/>
                          <a:gd name="T13" fmla="*/ 28 h 53"/>
                          <a:gd name="T14" fmla="*/ 29 w 50"/>
                          <a:gd name="T15" fmla="*/ 8 h 53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  <a:cxn ang="0">
                            <a:pos x="T14" y="T15"/>
                          </a:cxn>
                        </a:cxnLst>
                        <a:rect l="0" t="0" r="r" b="b"/>
                        <a:pathLst>
                          <a:path w="50" h="53">
                            <a:moveTo>
                              <a:pt x="29" y="8"/>
                            </a:moveTo>
                            <a:cubicBezTo>
                              <a:pt x="24" y="2"/>
                              <a:pt x="15" y="0"/>
                              <a:pt x="9" y="4"/>
                            </a:cubicBezTo>
                            <a:cubicBezTo>
                              <a:pt x="2" y="8"/>
                              <a:pt x="0" y="17"/>
                              <a:pt x="4" y="24"/>
                            </a:cubicBezTo>
                            <a:cubicBezTo>
                              <a:pt x="10" y="33"/>
                              <a:pt x="17" y="41"/>
                              <a:pt x="24" y="49"/>
                            </a:cubicBezTo>
                            <a:cubicBezTo>
                              <a:pt x="27" y="51"/>
                              <a:pt x="31" y="53"/>
                              <a:pt x="34" y="53"/>
                            </a:cubicBezTo>
                            <a:cubicBezTo>
                              <a:pt x="38" y="53"/>
                              <a:pt x="42" y="51"/>
                              <a:pt x="45" y="49"/>
                            </a:cubicBezTo>
                            <a:cubicBezTo>
                              <a:pt x="50" y="43"/>
                              <a:pt x="50" y="34"/>
                              <a:pt x="45" y="28"/>
                            </a:cubicBezTo>
                            <a:cubicBezTo>
                              <a:pt x="39" y="22"/>
                              <a:pt x="33" y="15"/>
                              <a:pt x="29" y="8"/>
                            </a:cubicBezTo>
                            <a:close/>
                          </a:path>
                        </a:pathLst>
                      </a:custGeom>
                      <a:solidFill>
                        <a:srgbClr val="4D4D4F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=""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endParaRPr lang="en-US" sz="1200" dirty="0"/>
                      </a:p>
                    </p:txBody>
                  </p:sp>
                  <p:sp>
                    <p:nvSpPr>
                      <p:cNvPr id="1450" name="Freeform 16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4471988" y="2193925"/>
                        <a:ext cx="25400" cy="52388"/>
                      </a:xfrm>
                      <a:custGeom>
                        <a:avLst/>
                        <a:gdLst>
                          <a:gd name="T0" fmla="*/ 14 w 29"/>
                          <a:gd name="T1" fmla="*/ 58 h 58"/>
                          <a:gd name="T2" fmla="*/ 29 w 29"/>
                          <a:gd name="T3" fmla="*/ 43 h 58"/>
                          <a:gd name="T4" fmla="*/ 29 w 29"/>
                          <a:gd name="T5" fmla="*/ 14 h 58"/>
                          <a:gd name="T6" fmla="*/ 14 w 29"/>
                          <a:gd name="T7" fmla="*/ 0 h 58"/>
                          <a:gd name="T8" fmla="*/ 0 w 29"/>
                          <a:gd name="T9" fmla="*/ 14 h 58"/>
                          <a:gd name="T10" fmla="*/ 0 w 29"/>
                          <a:gd name="T11" fmla="*/ 43 h 58"/>
                          <a:gd name="T12" fmla="*/ 14 w 29"/>
                          <a:gd name="T13" fmla="*/ 58 h 58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</a:cxnLst>
                        <a:rect l="0" t="0" r="r" b="b"/>
                        <a:pathLst>
                          <a:path w="29" h="58">
                            <a:moveTo>
                              <a:pt x="14" y="58"/>
                            </a:moveTo>
                            <a:cubicBezTo>
                              <a:pt x="22" y="58"/>
                              <a:pt x="29" y="51"/>
                              <a:pt x="29" y="43"/>
                            </a:cubicBezTo>
                            <a:cubicBezTo>
                              <a:pt x="29" y="14"/>
                              <a:pt x="29" y="14"/>
                              <a:pt x="29" y="14"/>
                            </a:cubicBezTo>
                            <a:cubicBezTo>
                              <a:pt x="29" y="6"/>
                              <a:pt x="22" y="0"/>
                              <a:pt x="14" y="0"/>
                            </a:cubicBezTo>
                            <a:cubicBezTo>
                              <a:pt x="7" y="0"/>
                              <a:pt x="0" y="6"/>
                              <a:pt x="0" y="14"/>
                            </a:cubicBezTo>
                            <a:cubicBezTo>
                              <a:pt x="0" y="43"/>
                              <a:pt x="0" y="43"/>
                              <a:pt x="0" y="43"/>
                            </a:cubicBezTo>
                            <a:cubicBezTo>
                              <a:pt x="0" y="51"/>
                              <a:pt x="7" y="58"/>
                              <a:pt x="14" y="58"/>
                            </a:cubicBezTo>
                            <a:close/>
                          </a:path>
                        </a:pathLst>
                      </a:custGeom>
                      <a:solidFill>
                        <a:srgbClr val="4D4D4F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=""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endParaRPr lang="en-US" sz="1200" dirty="0"/>
                      </a:p>
                    </p:txBody>
                  </p:sp>
                  <p:sp>
                    <p:nvSpPr>
                      <p:cNvPr id="1451" name="Freeform 17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4830763" y="1985963"/>
                        <a:ext cx="50800" cy="26988"/>
                      </a:xfrm>
                      <a:custGeom>
                        <a:avLst/>
                        <a:gdLst>
                          <a:gd name="T0" fmla="*/ 15 w 57"/>
                          <a:gd name="T1" fmla="*/ 29 h 29"/>
                          <a:gd name="T2" fmla="*/ 44 w 57"/>
                          <a:gd name="T3" fmla="*/ 29 h 29"/>
                          <a:gd name="T4" fmla="*/ 57 w 57"/>
                          <a:gd name="T5" fmla="*/ 15 h 29"/>
                          <a:gd name="T6" fmla="*/ 43 w 57"/>
                          <a:gd name="T7" fmla="*/ 0 h 29"/>
                          <a:gd name="T8" fmla="*/ 15 w 57"/>
                          <a:gd name="T9" fmla="*/ 0 h 29"/>
                          <a:gd name="T10" fmla="*/ 0 w 57"/>
                          <a:gd name="T11" fmla="*/ 15 h 29"/>
                          <a:gd name="T12" fmla="*/ 15 w 57"/>
                          <a:gd name="T13" fmla="*/ 29 h 29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</a:cxnLst>
                        <a:rect l="0" t="0" r="r" b="b"/>
                        <a:pathLst>
                          <a:path w="57" h="29">
                            <a:moveTo>
                              <a:pt x="15" y="29"/>
                            </a:moveTo>
                            <a:cubicBezTo>
                              <a:pt x="44" y="29"/>
                              <a:pt x="44" y="29"/>
                              <a:pt x="44" y="29"/>
                            </a:cubicBezTo>
                            <a:cubicBezTo>
                              <a:pt x="51" y="29"/>
                              <a:pt x="57" y="23"/>
                              <a:pt x="57" y="15"/>
                            </a:cubicBezTo>
                            <a:cubicBezTo>
                              <a:pt x="57" y="7"/>
                              <a:pt x="50" y="0"/>
                              <a:pt x="43" y="0"/>
                            </a:cubicBezTo>
                            <a:cubicBezTo>
                              <a:pt x="15" y="0"/>
                              <a:pt x="15" y="0"/>
                              <a:pt x="15" y="0"/>
                            </a:cubicBezTo>
                            <a:cubicBezTo>
                              <a:pt x="7" y="0"/>
                              <a:pt x="0" y="7"/>
                              <a:pt x="0" y="15"/>
                            </a:cubicBezTo>
                            <a:cubicBezTo>
                              <a:pt x="0" y="23"/>
                              <a:pt x="7" y="29"/>
                              <a:pt x="15" y="29"/>
                            </a:cubicBezTo>
                            <a:close/>
                          </a:path>
                        </a:pathLst>
                      </a:custGeom>
                      <a:solidFill>
                        <a:srgbClr val="4D4D4F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=""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endParaRPr lang="en-US" sz="1200" dirty="0"/>
                      </a:p>
                    </p:txBody>
                  </p:sp>
                  <p:sp>
                    <p:nvSpPr>
                      <p:cNvPr id="1452" name="Freeform 18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4905376" y="1997075"/>
                        <a:ext cx="50800" cy="41275"/>
                      </a:xfrm>
                      <a:custGeom>
                        <a:avLst/>
                        <a:gdLst>
                          <a:gd name="T0" fmla="*/ 10 w 56"/>
                          <a:gd name="T1" fmla="*/ 30 h 47"/>
                          <a:gd name="T2" fmla="*/ 31 w 56"/>
                          <a:gd name="T3" fmla="*/ 43 h 47"/>
                          <a:gd name="T4" fmla="*/ 40 w 56"/>
                          <a:gd name="T5" fmla="*/ 47 h 47"/>
                          <a:gd name="T6" fmla="*/ 51 w 56"/>
                          <a:gd name="T7" fmla="*/ 41 h 47"/>
                          <a:gd name="T8" fmla="*/ 49 w 56"/>
                          <a:gd name="T9" fmla="*/ 21 h 47"/>
                          <a:gd name="T10" fmla="*/ 22 w 56"/>
                          <a:gd name="T11" fmla="*/ 4 h 47"/>
                          <a:gd name="T12" fmla="*/ 3 w 56"/>
                          <a:gd name="T13" fmla="*/ 11 h 47"/>
                          <a:gd name="T14" fmla="*/ 10 w 56"/>
                          <a:gd name="T15" fmla="*/ 30 h 47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  <a:cxn ang="0">
                            <a:pos x="T14" y="T15"/>
                          </a:cxn>
                        </a:cxnLst>
                        <a:rect l="0" t="0" r="r" b="b"/>
                        <a:pathLst>
                          <a:path w="56" h="47">
                            <a:moveTo>
                              <a:pt x="10" y="30"/>
                            </a:moveTo>
                            <a:cubicBezTo>
                              <a:pt x="17" y="33"/>
                              <a:pt x="25" y="38"/>
                              <a:pt x="31" y="43"/>
                            </a:cubicBezTo>
                            <a:cubicBezTo>
                              <a:pt x="34" y="46"/>
                              <a:pt x="37" y="47"/>
                              <a:pt x="40" y="47"/>
                            </a:cubicBezTo>
                            <a:cubicBezTo>
                              <a:pt x="44" y="47"/>
                              <a:pt x="49" y="45"/>
                              <a:pt x="51" y="41"/>
                            </a:cubicBezTo>
                            <a:cubicBezTo>
                              <a:pt x="56" y="35"/>
                              <a:pt x="55" y="26"/>
                              <a:pt x="49" y="21"/>
                            </a:cubicBezTo>
                            <a:cubicBezTo>
                              <a:pt x="41" y="14"/>
                              <a:pt x="32" y="9"/>
                              <a:pt x="22" y="4"/>
                            </a:cubicBezTo>
                            <a:cubicBezTo>
                              <a:pt x="15" y="0"/>
                              <a:pt x="7" y="3"/>
                              <a:pt x="3" y="11"/>
                            </a:cubicBezTo>
                            <a:cubicBezTo>
                              <a:pt x="0" y="18"/>
                              <a:pt x="3" y="26"/>
                              <a:pt x="10" y="30"/>
                            </a:cubicBezTo>
                            <a:close/>
                          </a:path>
                        </a:pathLst>
                      </a:custGeom>
                      <a:solidFill>
                        <a:srgbClr val="4D4D4F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=""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endParaRPr lang="en-US" sz="1200" dirty="0"/>
                      </a:p>
                    </p:txBody>
                  </p:sp>
                  <p:sp>
                    <p:nvSpPr>
                      <p:cNvPr id="1453" name="Freeform 19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4476751" y="2039938"/>
                        <a:ext cx="39688" cy="52388"/>
                      </a:xfrm>
                      <a:custGeom>
                        <a:avLst/>
                        <a:gdLst>
                          <a:gd name="T0" fmla="*/ 12 w 45"/>
                          <a:gd name="T1" fmla="*/ 56 h 57"/>
                          <a:gd name="T2" fmla="*/ 16 w 45"/>
                          <a:gd name="T3" fmla="*/ 57 h 57"/>
                          <a:gd name="T4" fmla="*/ 30 w 45"/>
                          <a:gd name="T5" fmla="*/ 47 h 57"/>
                          <a:gd name="T6" fmla="*/ 41 w 45"/>
                          <a:gd name="T7" fmla="*/ 24 h 57"/>
                          <a:gd name="T8" fmla="*/ 36 w 45"/>
                          <a:gd name="T9" fmla="*/ 4 h 57"/>
                          <a:gd name="T10" fmla="*/ 16 w 45"/>
                          <a:gd name="T11" fmla="*/ 9 h 57"/>
                          <a:gd name="T12" fmla="*/ 3 w 45"/>
                          <a:gd name="T13" fmla="*/ 38 h 57"/>
                          <a:gd name="T14" fmla="*/ 12 w 45"/>
                          <a:gd name="T15" fmla="*/ 56 h 57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  <a:cxn ang="0">
                            <a:pos x="T14" y="T15"/>
                          </a:cxn>
                        </a:cxnLst>
                        <a:rect l="0" t="0" r="r" b="b"/>
                        <a:pathLst>
                          <a:path w="45" h="57">
                            <a:moveTo>
                              <a:pt x="12" y="56"/>
                            </a:moveTo>
                            <a:cubicBezTo>
                              <a:pt x="13" y="57"/>
                              <a:pt x="15" y="57"/>
                              <a:pt x="16" y="57"/>
                            </a:cubicBezTo>
                            <a:cubicBezTo>
                              <a:pt x="22" y="57"/>
                              <a:pt x="28" y="53"/>
                              <a:pt x="30" y="47"/>
                            </a:cubicBezTo>
                            <a:cubicBezTo>
                              <a:pt x="33" y="39"/>
                              <a:pt x="36" y="32"/>
                              <a:pt x="41" y="24"/>
                            </a:cubicBezTo>
                            <a:cubicBezTo>
                              <a:pt x="45" y="17"/>
                              <a:pt x="43" y="9"/>
                              <a:pt x="36" y="4"/>
                            </a:cubicBezTo>
                            <a:cubicBezTo>
                              <a:pt x="29" y="0"/>
                              <a:pt x="21" y="2"/>
                              <a:pt x="16" y="9"/>
                            </a:cubicBezTo>
                            <a:cubicBezTo>
                              <a:pt x="11" y="18"/>
                              <a:pt x="6" y="28"/>
                              <a:pt x="3" y="38"/>
                            </a:cubicBezTo>
                            <a:cubicBezTo>
                              <a:pt x="0" y="45"/>
                              <a:pt x="4" y="54"/>
                              <a:pt x="12" y="56"/>
                            </a:cubicBezTo>
                            <a:close/>
                          </a:path>
                        </a:pathLst>
                      </a:custGeom>
                      <a:solidFill>
                        <a:srgbClr val="4D4D4F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=""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endParaRPr lang="en-US" sz="1200" dirty="0"/>
                      </a:p>
                    </p:txBody>
                  </p:sp>
                  <p:sp>
                    <p:nvSpPr>
                      <p:cNvPr id="1454" name="Freeform 20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4522788" y="1992313"/>
                        <a:ext cx="52388" cy="39688"/>
                      </a:xfrm>
                      <a:custGeom>
                        <a:avLst/>
                        <a:gdLst>
                          <a:gd name="T0" fmla="*/ 55 w 58"/>
                          <a:gd name="T1" fmla="*/ 11 h 43"/>
                          <a:gd name="T2" fmla="*/ 37 w 58"/>
                          <a:gd name="T3" fmla="*/ 2 h 43"/>
                          <a:gd name="T4" fmla="*/ 9 w 58"/>
                          <a:gd name="T5" fmla="*/ 17 h 43"/>
                          <a:gd name="T6" fmla="*/ 4 w 58"/>
                          <a:gd name="T7" fmla="*/ 37 h 43"/>
                          <a:gd name="T8" fmla="*/ 16 w 58"/>
                          <a:gd name="T9" fmla="*/ 43 h 43"/>
                          <a:gd name="T10" fmla="*/ 24 w 58"/>
                          <a:gd name="T11" fmla="*/ 41 h 43"/>
                          <a:gd name="T12" fmla="*/ 47 w 58"/>
                          <a:gd name="T13" fmla="*/ 29 h 43"/>
                          <a:gd name="T14" fmla="*/ 55 w 58"/>
                          <a:gd name="T15" fmla="*/ 11 h 43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  <a:cxn ang="0">
                            <a:pos x="T14" y="T15"/>
                          </a:cxn>
                        </a:cxnLst>
                        <a:rect l="0" t="0" r="r" b="b"/>
                        <a:pathLst>
                          <a:path w="58" h="43">
                            <a:moveTo>
                              <a:pt x="55" y="11"/>
                            </a:moveTo>
                            <a:cubicBezTo>
                              <a:pt x="53" y="3"/>
                              <a:pt x="44" y="0"/>
                              <a:pt x="37" y="2"/>
                            </a:cubicBezTo>
                            <a:cubicBezTo>
                              <a:pt x="27" y="6"/>
                              <a:pt x="17" y="11"/>
                              <a:pt x="9" y="17"/>
                            </a:cubicBezTo>
                            <a:cubicBezTo>
                              <a:pt x="2" y="21"/>
                              <a:pt x="0" y="30"/>
                              <a:pt x="4" y="37"/>
                            </a:cubicBezTo>
                            <a:cubicBezTo>
                              <a:pt x="7" y="41"/>
                              <a:pt x="12" y="43"/>
                              <a:pt x="16" y="43"/>
                            </a:cubicBezTo>
                            <a:cubicBezTo>
                              <a:pt x="19" y="43"/>
                              <a:pt x="22" y="43"/>
                              <a:pt x="24" y="41"/>
                            </a:cubicBezTo>
                            <a:cubicBezTo>
                              <a:pt x="31" y="36"/>
                              <a:pt x="39" y="32"/>
                              <a:pt x="47" y="29"/>
                            </a:cubicBezTo>
                            <a:cubicBezTo>
                              <a:pt x="54" y="27"/>
                              <a:pt x="58" y="18"/>
                              <a:pt x="55" y="11"/>
                            </a:cubicBezTo>
                            <a:close/>
                          </a:path>
                        </a:pathLst>
                      </a:custGeom>
                      <a:solidFill>
                        <a:srgbClr val="4D4D4F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=""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endParaRPr lang="en-US" sz="1200" dirty="0"/>
                      </a:p>
                    </p:txBody>
                  </p:sp>
                  <p:sp>
                    <p:nvSpPr>
                      <p:cNvPr id="1455" name="Freeform 21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4959351" y="2051050"/>
                        <a:ext cx="36513" cy="52388"/>
                      </a:xfrm>
                      <a:custGeom>
                        <a:avLst/>
                        <a:gdLst>
                          <a:gd name="T0" fmla="*/ 13 w 42"/>
                          <a:gd name="T1" fmla="*/ 47 h 58"/>
                          <a:gd name="T2" fmla="*/ 27 w 42"/>
                          <a:gd name="T3" fmla="*/ 58 h 58"/>
                          <a:gd name="T4" fmla="*/ 30 w 42"/>
                          <a:gd name="T5" fmla="*/ 57 h 58"/>
                          <a:gd name="T6" fmla="*/ 41 w 42"/>
                          <a:gd name="T7" fmla="*/ 40 h 58"/>
                          <a:gd name="T8" fmla="*/ 30 w 42"/>
                          <a:gd name="T9" fmla="*/ 10 h 58"/>
                          <a:gd name="T10" fmla="*/ 11 w 42"/>
                          <a:gd name="T11" fmla="*/ 4 h 58"/>
                          <a:gd name="T12" fmla="*/ 4 w 42"/>
                          <a:gd name="T13" fmla="*/ 23 h 58"/>
                          <a:gd name="T14" fmla="*/ 13 w 42"/>
                          <a:gd name="T15" fmla="*/ 47 h 58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  <a:cxn ang="0">
                            <a:pos x="T14" y="T15"/>
                          </a:cxn>
                        </a:cxnLst>
                        <a:rect l="0" t="0" r="r" b="b"/>
                        <a:pathLst>
                          <a:path w="42" h="58">
                            <a:moveTo>
                              <a:pt x="13" y="47"/>
                            </a:moveTo>
                            <a:cubicBezTo>
                              <a:pt x="14" y="53"/>
                              <a:pt x="20" y="58"/>
                              <a:pt x="27" y="58"/>
                            </a:cubicBezTo>
                            <a:cubicBezTo>
                              <a:pt x="28" y="58"/>
                              <a:pt x="29" y="58"/>
                              <a:pt x="30" y="57"/>
                            </a:cubicBezTo>
                            <a:cubicBezTo>
                              <a:pt x="38" y="56"/>
                              <a:pt x="42" y="48"/>
                              <a:pt x="41" y="40"/>
                            </a:cubicBezTo>
                            <a:cubicBezTo>
                              <a:pt x="38" y="30"/>
                              <a:pt x="35" y="20"/>
                              <a:pt x="30" y="10"/>
                            </a:cubicBezTo>
                            <a:cubicBezTo>
                              <a:pt x="26" y="3"/>
                              <a:pt x="18" y="0"/>
                              <a:pt x="11" y="4"/>
                            </a:cubicBezTo>
                            <a:cubicBezTo>
                              <a:pt x="3" y="7"/>
                              <a:pt x="0" y="16"/>
                              <a:pt x="4" y="23"/>
                            </a:cubicBezTo>
                            <a:cubicBezTo>
                              <a:pt x="8" y="31"/>
                              <a:pt x="11" y="39"/>
                              <a:pt x="13" y="47"/>
                            </a:cubicBezTo>
                            <a:close/>
                          </a:path>
                        </a:pathLst>
                      </a:custGeom>
                      <a:solidFill>
                        <a:srgbClr val="4D4D4F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=""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endParaRPr lang="en-US" sz="1200" dirty="0"/>
                      </a:p>
                    </p:txBody>
                  </p:sp>
                  <p:sp>
                    <p:nvSpPr>
                      <p:cNvPr id="1456" name="Freeform 22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4598988" y="1985963"/>
                        <a:ext cx="52388" cy="26988"/>
                      </a:xfrm>
                      <a:custGeom>
                        <a:avLst/>
                        <a:gdLst>
                          <a:gd name="T0" fmla="*/ 14 w 58"/>
                          <a:gd name="T1" fmla="*/ 29 h 29"/>
                          <a:gd name="T2" fmla="*/ 43 w 58"/>
                          <a:gd name="T3" fmla="*/ 29 h 29"/>
                          <a:gd name="T4" fmla="*/ 58 w 58"/>
                          <a:gd name="T5" fmla="*/ 15 h 29"/>
                          <a:gd name="T6" fmla="*/ 43 w 58"/>
                          <a:gd name="T7" fmla="*/ 0 h 29"/>
                          <a:gd name="T8" fmla="*/ 14 w 58"/>
                          <a:gd name="T9" fmla="*/ 0 h 29"/>
                          <a:gd name="T10" fmla="*/ 0 w 58"/>
                          <a:gd name="T11" fmla="*/ 15 h 29"/>
                          <a:gd name="T12" fmla="*/ 14 w 58"/>
                          <a:gd name="T13" fmla="*/ 29 h 29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</a:cxnLst>
                        <a:rect l="0" t="0" r="r" b="b"/>
                        <a:pathLst>
                          <a:path w="58" h="29">
                            <a:moveTo>
                              <a:pt x="14" y="29"/>
                            </a:moveTo>
                            <a:cubicBezTo>
                              <a:pt x="43" y="29"/>
                              <a:pt x="43" y="29"/>
                              <a:pt x="43" y="29"/>
                            </a:cubicBezTo>
                            <a:cubicBezTo>
                              <a:pt x="51" y="29"/>
                              <a:pt x="58" y="23"/>
                              <a:pt x="58" y="15"/>
                            </a:cubicBezTo>
                            <a:cubicBezTo>
                              <a:pt x="58" y="7"/>
                              <a:pt x="51" y="0"/>
                              <a:pt x="43" y="0"/>
                            </a:cubicBezTo>
                            <a:cubicBezTo>
                              <a:pt x="14" y="0"/>
                              <a:pt x="14" y="0"/>
                              <a:pt x="14" y="0"/>
                            </a:cubicBezTo>
                            <a:cubicBezTo>
                              <a:pt x="6" y="0"/>
                              <a:pt x="0" y="7"/>
                              <a:pt x="0" y="15"/>
                            </a:cubicBezTo>
                            <a:cubicBezTo>
                              <a:pt x="0" y="23"/>
                              <a:pt x="6" y="29"/>
                              <a:pt x="14" y="29"/>
                            </a:cubicBezTo>
                            <a:close/>
                          </a:path>
                        </a:pathLst>
                      </a:custGeom>
                      <a:solidFill>
                        <a:srgbClr val="4D4D4F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=""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endParaRPr lang="en-US" sz="1200" dirty="0"/>
                      </a:p>
                    </p:txBody>
                  </p:sp>
                  <p:sp>
                    <p:nvSpPr>
                      <p:cNvPr id="1457" name="Freeform 23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4676776" y="1985963"/>
                        <a:ext cx="50800" cy="26988"/>
                      </a:xfrm>
                      <a:custGeom>
                        <a:avLst/>
                        <a:gdLst>
                          <a:gd name="T0" fmla="*/ 15 w 58"/>
                          <a:gd name="T1" fmla="*/ 29 h 29"/>
                          <a:gd name="T2" fmla="*/ 43 w 58"/>
                          <a:gd name="T3" fmla="*/ 29 h 29"/>
                          <a:gd name="T4" fmla="*/ 58 w 58"/>
                          <a:gd name="T5" fmla="*/ 15 h 29"/>
                          <a:gd name="T6" fmla="*/ 43 w 58"/>
                          <a:gd name="T7" fmla="*/ 0 h 29"/>
                          <a:gd name="T8" fmla="*/ 15 w 58"/>
                          <a:gd name="T9" fmla="*/ 0 h 29"/>
                          <a:gd name="T10" fmla="*/ 0 w 58"/>
                          <a:gd name="T11" fmla="*/ 15 h 29"/>
                          <a:gd name="T12" fmla="*/ 15 w 58"/>
                          <a:gd name="T13" fmla="*/ 29 h 29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</a:cxnLst>
                        <a:rect l="0" t="0" r="r" b="b"/>
                        <a:pathLst>
                          <a:path w="58" h="29">
                            <a:moveTo>
                              <a:pt x="15" y="29"/>
                            </a:moveTo>
                            <a:cubicBezTo>
                              <a:pt x="43" y="29"/>
                              <a:pt x="43" y="29"/>
                              <a:pt x="43" y="29"/>
                            </a:cubicBezTo>
                            <a:cubicBezTo>
                              <a:pt x="51" y="29"/>
                              <a:pt x="58" y="23"/>
                              <a:pt x="58" y="15"/>
                            </a:cubicBezTo>
                            <a:cubicBezTo>
                              <a:pt x="58" y="7"/>
                              <a:pt x="51" y="0"/>
                              <a:pt x="43" y="0"/>
                            </a:cubicBezTo>
                            <a:cubicBezTo>
                              <a:pt x="15" y="0"/>
                              <a:pt x="15" y="0"/>
                              <a:pt x="15" y="0"/>
                            </a:cubicBezTo>
                            <a:cubicBezTo>
                              <a:pt x="7" y="0"/>
                              <a:pt x="0" y="7"/>
                              <a:pt x="0" y="15"/>
                            </a:cubicBezTo>
                            <a:cubicBezTo>
                              <a:pt x="0" y="23"/>
                              <a:pt x="7" y="29"/>
                              <a:pt x="15" y="29"/>
                            </a:cubicBezTo>
                            <a:close/>
                          </a:path>
                        </a:pathLst>
                      </a:custGeom>
                      <a:solidFill>
                        <a:srgbClr val="4D4D4F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=""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endParaRPr lang="en-US" sz="1200" dirty="0"/>
                      </a:p>
                    </p:txBody>
                  </p:sp>
                  <p:sp>
                    <p:nvSpPr>
                      <p:cNvPr id="1458" name="Freeform 24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4752976" y="1985963"/>
                        <a:ext cx="52388" cy="26988"/>
                      </a:xfrm>
                      <a:custGeom>
                        <a:avLst/>
                        <a:gdLst>
                          <a:gd name="T0" fmla="*/ 15 w 58"/>
                          <a:gd name="T1" fmla="*/ 29 h 29"/>
                          <a:gd name="T2" fmla="*/ 43 w 58"/>
                          <a:gd name="T3" fmla="*/ 29 h 29"/>
                          <a:gd name="T4" fmla="*/ 58 w 58"/>
                          <a:gd name="T5" fmla="*/ 15 h 29"/>
                          <a:gd name="T6" fmla="*/ 43 w 58"/>
                          <a:gd name="T7" fmla="*/ 0 h 29"/>
                          <a:gd name="T8" fmla="*/ 15 w 58"/>
                          <a:gd name="T9" fmla="*/ 0 h 29"/>
                          <a:gd name="T10" fmla="*/ 0 w 58"/>
                          <a:gd name="T11" fmla="*/ 15 h 29"/>
                          <a:gd name="T12" fmla="*/ 15 w 58"/>
                          <a:gd name="T13" fmla="*/ 29 h 29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</a:cxnLst>
                        <a:rect l="0" t="0" r="r" b="b"/>
                        <a:pathLst>
                          <a:path w="58" h="29">
                            <a:moveTo>
                              <a:pt x="15" y="29"/>
                            </a:moveTo>
                            <a:cubicBezTo>
                              <a:pt x="43" y="29"/>
                              <a:pt x="43" y="29"/>
                              <a:pt x="43" y="29"/>
                            </a:cubicBezTo>
                            <a:cubicBezTo>
                              <a:pt x="51" y="29"/>
                              <a:pt x="58" y="23"/>
                              <a:pt x="58" y="15"/>
                            </a:cubicBezTo>
                            <a:cubicBezTo>
                              <a:pt x="58" y="7"/>
                              <a:pt x="51" y="0"/>
                              <a:pt x="43" y="0"/>
                            </a:cubicBezTo>
                            <a:cubicBezTo>
                              <a:pt x="15" y="0"/>
                              <a:pt x="15" y="0"/>
                              <a:pt x="15" y="0"/>
                            </a:cubicBezTo>
                            <a:cubicBezTo>
                              <a:pt x="7" y="0"/>
                              <a:pt x="0" y="7"/>
                              <a:pt x="0" y="15"/>
                            </a:cubicBezTo>
                            <a:cubicBezTo>
                              <a:pt x="0" y="23"/>
                              <a:pt x="7" y="29"/>
                              <a:pt x="15" y="29"/>
                            </a:cubicBezTo>
                            <a:close/>
                          </a:path>
                        </a:pathLst>
                      </a:custGeom>
                      <a:solidFill>
                        <a:srgbClr val="4D4D4F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=""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endParaRPr lang="en-US" sz="1200" dirty="0"/>
                      </a:p>
                    </p:txBody>
                  </p:sp>
                  <p:sp>
                    <p:nvSpPr>
                      <p:cNvPr id="1459" name="Freeform 25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4471988" y="2349500"/>
                        <a:ext cx="26988" cy="52388"/>
                      </a:xfrm>
                      <a:custGeom>
                        <a:avLst/>
                        <a:gdLst>
                          <a:gd name="T0" fmla="*/ 30 w 31"/>
                          <a:gd name="T1" fmla="*/ 42 h 58"/>
                          <a:gd name="T2" fmla="*/ 29 w 31"/>
                          <a:gd name="T3" fmla="*/ 28 h 58"/>
                          <a:gd name="T4" fmla="*/ 29 w 31"/>
                          <a:gd name="T5" fmla="*/ 15 h 58"/>
                          <a:gd name="T6" fmla="*/ 14 w 31"/>
                          <a:gd name="T7" fmla="*/ 0 h 58"/>
                          <a:gd name="T8" fmla="*/ 0 w 31"/>
                          <a:gd name="T9" fmla="*/ 15 h 58"/>
                          <a:gd name="T10" fmla="*/ 0 w 31"/>
                          <a:gd name="T11" fmla="*/ 28 h 58"/>
                          <a:gd name="T12" fmla="*/ 1 w 31"/>
                          <a:gd name="T13" fmla="*/ 45 h 58"/>
                          <a:gd name="T14" fmla="*/ 15 w 31"/>
                          <a:gd name="T15" fmla="*/ 58 h 58"/>
                          <a:gd name="T16" fmla="*/ 17 w 31"/>
                          <a:gd name="T17" fmla="*/ 58 h 58"/>
                          <a:gd name="T18" fmla="*/ 30 w 31"/>
                          <a:gd name="T19" fmla="*/ 42 h 58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  <a:cxn ang="0">
                            <a:pos x="T14" y="T15"/>
                          </a:cxn>
                          <a:cxn ang="0">
                            <a:pos x="T16" y="T17"/>
                          </a:cxn>
                          <a:cxn ang="0">
                            <a:pos x="T18" y="T19"/>
                          </a:cxn>
                        </a:cxnLst>
                        <a:rect l="0" t="0" r="r" b="b"/>
                        <a:pathLst>
                          <a:path w="31" h="58">
                            <a:moveTo>
                              <a:pt x="30" y="42"/>
                            </a:moveTo>
                            <a:cubicBezTo>
                              <a:pt x="29" y="37"/>
                              <a:pt x="29" y="33"/>
                              <a:pt x="29" y="28"/>
                            </a:cubicBezTo>
                            <a:cubicBezTo>
                              <a:pt x="29" y="15"/>
                              <a:pt x="29" y="15"/>
                              <a:pt x="29" y="15"/>
                            </a:cubicBezTo>
                            <a:cubicBezTo>
                              <a:pt x="29" y="7"/>
                              <a:pt x="22" y="0"/>
                              <a:pt x="14" y="0"/>
                            </a:cubicBezTo>
                            <a:cubicBezTo>
                              <a:pt x="7" y="0"/>
                              <a:pt x="0" y="7"/>
                              <a:pt x="0" y="15"/>
                            </a:cubicBezTo>
                            <a:cubicBezTo>
                              <a:pt x="0" y="28"/>
                              <a:pt x="0" y="28"/>
                              <a:pt x="0" y="28"/>
                            </a:cubicBezTo>
                            <a:cubicBezTo>
                              <a:pt x="0" y="34"/>
                              <a:pt x="0" y="39"/>
                              <a:pt x="1" y="45"/>
                            </a:cubicBezTo>
                            <a:cubicBezTo>
                              <a:pt x="2" y="52"/>
                              <a:pt x="8" y="58"/>
                              <a:pt x="15" y="58"/>
                            </a:cubicBezTo>
                            <a:cubicBezTo>
                              <a:pt x="16" y="58"/>
                              <a:pt x="17" y="58"/>
                              <a:pt x="17" y="58"/>
                            </a:cubicBezTo>
                            <a:cubicBezTo>
                              <a:pt x="25" y="57"/>
                              <a:pt x="31" y="50"/>
                              <a:pt x="30" y="42"/>
                            </a:cubicBezTo>
                            <a:close/>
                          </a:path>
                        </a:pathLst>
                      </a:custGeom>
                      <a:solidFill>
                        <a:srgbClr val="4D4D4F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=""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endParaRPr lang="en-US" sz="1200" dirty="0"/>
                      </a:p>
                    </p:txBody>
                  </p:sp>
                  <p:sp>
                    <p:nvSpPr>
                      <p:cNvPr id="1460" name="Freeform 26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4973638" y="2282825"/>
                        <a:ext cx="25400" cy="52388"/>
                      </a:xfrm>
                      <a:custGeom>
                        <a:avLst/>
                        <a:gdLst>
                          <a:gd name="T0" fmla="*/ 14 w 29"/>
                          <a:gd name="T1" fmla="*/ 0 h 58"/>
                          <a:gd name="T2" fmla="*/ 0 w 29"/>
                          <a:gd name="T3" fmla="*/ 15 h 58"/>
                          <a:gd name="T4" fmla="*/ 0 w 29"/>
                          <a:gd name="T5" fmla="*/ 44 h 58"/>
                          <a:gd name="T6" fmla="*/ 14 w 29"/>
                          <a:gd name="T7" fmla="*/ 58 h 58"/>
                          <a:gd name="T8" fmla="*/ 29 w 29"/>
                          <a:gd name="T9" fmla="*/ 44 h 58"/>
                          <a:gd name="T10" fmla="*/ 29 w 29"/>
                          <a:gd name="T11" fmla="*/ 15 h 58"/>
                          <a:gd name="T12" fmla="*/ 14 w 29"/>
                          <a:gd name="T13" fmla="*/ 0 h 58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</a:cxnLst>
                        <a:rect l="0" t="0" r="r" b="b"/>
                        <a:pathLst>
                          <a:path w="29" h="58">
                            <a:moveTo>
                              <a:pt x="14" y="0"/>
                            </a:moveTo>
                            <a:cubicBezTo>
                              <a:pt x="6" y="0"/>
                              <a:pt x="0" y="7"/>
                              <a:pt x="0" y="15"/>
                            </a:cubicBezTo>
                            <a:cubicBezTo>
                              <a:pt x="0" y="44"/>
                              <a:pt x="0" y="44"/>
                              <a:pt x="0" y="44"/>
                            </a:cubicBezTo>
                            <a:cubicBezTo>
                              <a:pt x="0" y="52"/>
                              <a:pt x="6" y="58"/>
                              <a:pt x="14" y="58"/>
                            </a:cubicBezTo>
                            <a:cubicBezTo>
                              <a:pt x="22" y="58"/>
                              <a:pt x="29" y="52"/>
                              <a:pt x="29" y="44"/>
                            </a:cubicBezTo>
                            <a:cubicBezTo>
                              <a:pt x="29" y="15"/>
                              <a:pt x="29" y="15"/>
                              <a:pt x="29" y="15"/>
                            </a:cubicBezTo>
                            <a:cubicBezTo>
                              <a:pt x="29" y="7"/>
                              <a:pt x="22" y="0"/>
                              <a:pt x="14" y="0"/>
                            </a:cubicBezTo>
                            <a:close/>
                          </a:path>
                        </a:pathLst>
                      </a:custGeom>
                      <a:solidFill>
                        <a:srgbClr val="4D4D4F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=""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endParaRPr lang="en-US" sz="1200" dirty="0"/>
                      </a:p>
                    </p:txBody>
                  </p:sp>
                  <p:sp>
                    <p:nvSpPr>
                      <p:cNvPr id="1461" name="Freeform 28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4927601" y="2432050"/>
                        <a:ext cx="47625" cy="46038"/>
                      </a:xfrm>
                      <a:custGeom>
                        <a:avLst/>
                        <a:gdLst>
                          <a:gd name="T0" fmla="*/ 25 w 53"/>
                          <a:gd name="T1" fmla="*/ 7 h 51"/>
                          <a:gd name="T2" fmla="*/ 7 w 53"/>
                          <a:gd name="T3" fmla="*/ 25 h 51"/>
                          <a:gd name="T4" fmla="*/ 5 w 53"/>
                          <a:gd name="T5" fmla="*/ 45 h 51"/>
                          <a:gd name="T6" fmla="*/ 16 w 53"/>
                          <a:gd name="T7" fmla="*/ 51 h 51"/>
                          <a:gd name="T8" fmla="*/ 25 w 53"/>
                          <a:gd name="T9" fmla="*/ 47 h 51"/>
                          <a:gd name="T10" fmla="*/ 48 w 53"/>
                          <a:gd name="T11" fmla="*/ 25 h 51"/>
                          <a:gd name="T12" fmla="*/ 45 w 53"/>
                          <a:gd name="T13" fmla="*/ 5 h 51"/>
                          <a:gd name="T14" fmla="*/ 25 w 53"/>
                          <a:gd name="T15" fmla="*/ 7 h 51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  <a:cxn ang="0">
                            <a:pos x="T14" y="T15"/>
                          </a:cxn>
                        </a:cxnLst>
                        <a:rect l="0" t="0" r="r" b="b"/>
                        <a:pathLst>
                          <a:path w="53" h="51">
                            <a:moveTo>
                              <a:pt x="25" y="7"/>
                            </a:moveTo>
                            <a:cubicBezTo>
                              <a:pt x="20" y="14"/>
                              <a:pt x="14" y="20"/>
                              <a:pt x="7" y="25"/>
                            </a:cubicBezTo>
                            <a:cubicBezTo>
                              <a:pt x="1" y="30"/>
                              <a:pt x="0" y="39"/>
                              <a:pt x="5" y="45"/>
                            </a:cubicBezTo>
                            <a:cubicBezTo>
                              <a:pt x="8" y="49"/>
                              <a:pt x="12" y="51"/>
                              <a:pt x="16" y="51"/>
                            </a:cubicBezTo>
                            <a:cubicBezTo>
                              <a:pt x="20" y="51"/>
                              <a:pt x="23" y="50"/>
                              <a:pt x="25" y="47"/>
                            </a:cubicBezTo>
                            <a:cubicBezTo>
                              <a:pt x="34" y="41"/>
                              <a:pt x="41" y="33"/>
                              <a:pt x="48" y="25"/>
                            </a:cubicBezTo>
                            <a:cubicBezTo>
                              <a:pt x="53" y="19"/>
                              <a:pt x="52" y="9"/>
                              <a:pt x="45" y="5"/>
                            </a:cubicBezTo>
                            <a:cubicBezTo>
                              <a:pt x="39" y="0"/>
                              <a:pt x="30" y="1"/>
                              <a:pt x="25" y="7"/>
                            </a:cubicBezTo>
                            <a:close/>
                          </a:path>
                        </a:pathLst>
                      </a:custGeom>
                      <a:solidFill>
                        <a:srgbClr val="4D4D4F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=""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endParaRPr lang="en-US" sz="1200" dirty="0"/>
                      </a:p>
                    </p:txBody>
                  </p:sp>
                  <p:sp>
                    <p:nvSpPr>
                      <p:cNvPr id="1462" name="Freeform 29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4968876" y="2360613"/>
                        <a:ext cx="30163" cy="52388"/>
                      </a:xfrm>
                      <a:custGeom>
                        <a:avLst/>
                        <a:gdLst>
                          <a:gd name="T0" fmla="*/ 19 w 34"/>
                          <a:gd name="T1" fmla="*/ 0 h 58"/>
                          <a:gd name="T2" fmla="*/ 5 w 34"/>
                          <a:gd name="T3" fmla="*/ 15 h 58"/>
                          <a:gd name="T4" fmla="*/ 2 w 34"/>
                          <a:gd name="T5" fmla="*/ 40 h 58"/>
                          <a:gd name="T6" fmla="*/ 13 w 34"/>
                          <a:gd name="T7" fmla="*/ 58 h 58"/>
                          <a:gd name="T8" fmla="*/ 16 w 34"/>
                          <a:gd name="T9" fmla="*/ 58 h 58"/>
                          <a:gd name="T10" fmla="*/ 30 w 34"/>
                          <a:gd name="T11" fmla="*/ 47 h 58"/>
                          <a:gd name="T12" fmla="*/ 34 w 34"/>
                          <a:gd name="T13" fmla="*/ 15 h 58"/>
                          <a:gd name="T14" fmla="*/ 34 w 34"/>
                          <a:gd name="T15" fmla="*/ 14 h 58"/>
                          <a:gd name="T16" fmla="*/ 19 w 34"/>
                          <a:gd name="T17" fmla="*/ 0 h 58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  <a:cxn ang="0">
                            <a:pos x="T14" y="T15"/>
                          </a:cxn>
                          <a:cxn ang="0">
                            <a:pos x="T16" y="T17"/>
                          </a:cxn>
                        </a:cxnLst>
                        <a:rect l="0" t="0" r="r" b="b"/>
                        <a:pathLst>
                          <a:path w="34" h="58">
                            <a:moveTo>
                              <a:pt x="19" y="0"/>
                            </a:moveTo>
                            <a:cubicBezTo>
                              <a:pt x="11" y="0"/>
                              <a:pt x="5" y="7"/>
                              <a:pt x="5" y="15"/>
                            </a:cubicBezTo>
                            <a:cubicBezTo>
                              <a:pt x="5" y="24"/>
                              <a:pt x="4" y="32"/>
                              <a:pt x="2" y="40"/>
                            </a:cubicBezTo>
                            <a:cubicBezTo>
                              <a:pt x="0" y="48"/>
                              <a:pt x="5" y="56"/>
                              <a:pt x="13" y="58"/>
                            </a:cubicBezTo>
                            <a:cubicBezTo>
                              <a:pt x="14" y="58"/>
                              <a:pt x="15" y="58"/>
                              <a:pt x="16" y="58"/>
                            </a:cubicBezTo>
                            <a:cubicBezTo>
                              <a:pt x="23" y="58"/>
                              <a:pt x="29" y="53"/>
                              <a:pt x="30" y="47"/>
                            </a:cubicBezTo>
                            <a:cubicBezTo>
                              <a:pt x="32" y="36"/>
                              <a:pt x="34" y="26"/>
                              <a:pt x="34" y="15"/>
                            </a:cubicBezTo>
                            <a:cubicBezTo>
                              <a:pt x="34" y="14"/>
                              <a:pt x="34" y="14"/>
                              <a:pt x="34" y="14"/>
                            </a:cubicBezTo>
                            <a:cubicBezTo>
                              <a:pt x="34" y="6"/>
                              <a:pt x="27" y="0"/>
                              <a:pt x="19" y="0"/>
                            </a:cubicBezTo>
                            <a:close/>
                          </a:path>
                        </a:pathLst>
                      </a:custGeom>
                      <a:solidFill>
                        <a:srgbClr val="4D4D4F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=""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endParaRPr lang="en-US" sz="1200" dirty="0"/>
                      </a:p>
                    </p:txBody>
                  </p:sp>
                  <p:sp>
                    <p:nvSpPr>
                      <p:cNvPr id="1463" name="Freeform 30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4973638" y="2205038"/>
                        <a:ext cx="25400" cy="52388"/>
                      </a:xfrm>
                      <a:custGeom>
                        <a:avLst/>
                        <a:gdLst>
                          <a:gd name="T0" fmla="*/ 14 w 29"/>
                          <a:gd name="T1" fmla="*/ 0 h 58"/>
                          <a:gd name="T2" fmla="*/ 0 w 29"/>
                          <a:gd name="T3" fmla="*/ 15 h 58"/>
                          <a:gd name="T4" fmla="*/ 0 w 29"/>
                          <a:gd name="T5" fmla="*/ 43 h 58"/>
                          <a:gd name="T6" fmla="*/ 14 w 29"/>
                          <a:gd name="T7" fmla="*/ 58 h 58"/>
                          <a:gd name="T8" fmla="*/ 29 w 29"/>
                          <a:gd name="T9" fmla="*/ 43 h 58"/>
                          <a:gd name="T10" fmla="*/ 29 w 29"/>
                          <a:gd name="T11" fmla="*/ 15 h 58"/>
                          <a:gd name="T12" fmla="*/ 14 w 29"/>
                          <a:gd name="T13" fmla="*/ 0 h 58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</a:cxnLst>
                        <a:rect l="0" t="0" r="r" b="b"/>
                        <a:pathLst>
                          <a:path w="29" h="58">
                            <a:moveTo>
                              <a:pt x="14" y="0"/>
                            </a:moveTo>
                            <a:cubicBezTo>
                              <a:pt x="6" y="0"/>
                              <a:pt x="0" y="7"/>
                              <a:pt x="0" y="15"/>
                            </a:cubicBezTo>
                            <a:cubicBezTo>
                              <a:pt x="0" y="43"/>
                              <a:pt x="0" y="43"/>
                              <a:pt x="0" y="43"/>
                            </a:cubicBezTo>
                            <a:cubicBezTo>
                              <a:pt x="0" y="51"/>
                              <a:pt x="6" y="58"/>
                              <a:pt x="14" y="58"/>
                            </a:cubicBezTo>
                            <a:cubicBezTo>
                              <a:pt x="22" y="58"/>
                              <a:pt x="29" y="51"/>
                              <a:pt x="29" y="43"/>
                            </a:cubicBezTo>
                            <a:cubicBezTo>
                              <a:pt x="29" y="15"/>
                              <a:pt x="29" y="15"/>
                              <a:pt x="29" y="15"/>
                            </a:cubicBezTo>
                            <a:cubicBezTo>
                              <a:pt x="29" y="7"/>
                              <a:pt x="22" y="0"/>
                              <a:pt x="14" y="0"/>
                            </a:cubicBezTo>
                            <a:close/>
                          </a:path>
                        </a:pathLst>
                      </a:custGeom>
                      <a:solidFill>
                        <a:srgbClr val="4D4D4F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=""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endParaRPr lang="en-US" sz="1200" dirty="0"/>
                      </a:p>
                    </p:txBody>
                  </p:sp>
                  <p:sp>
                    <p:nvSpPr>
                      <p:cNvPr id="1464" name="Freeform 31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4973638" y="2127250"/>
                        <a:ext cx="25400" cy="52388"/>
                      </a:xfrm>
                      <a:custGeom>
                        <a:avLst/>
                        <a:gdLst>
                          <a:gd name="T0" fmla="*/ 14 w 29"/>
                          <a:gd name="T1" fmla="*/ 0 h 58"/>
                          <a:gd name="T2" fmla="*/ 0 w 29"/>
                          <a:gd name="T3" fmla="*/ 15 h 58"/>
                          <a:gd name="T4" fmla="*/ 0 w 29"/>
                          <a:gd name="T5" fmla="*/ 43 h 58"/>
                          <a:gd name="T6" fmla="*/ 14 w 29"/>
                          <a:gd name="T7" fmla="*/ 58 h 58"/>
                          <a:gd name="T8" fmla="*/ 29 w 29"/>
                          <a:gd name="T9" fmla="*/ 43 h 58"/>
                          <a:gd name="T10" fmla="*/ 29 w 29"/>
                          <a:gd name="T11" fmla="*/ 15 h 58"/>
                          <a:gd name="T12" fmla="*/ 14 w 29"/>
                          <a:gd name="T13" fmla="*/ 0 h 58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</a:cxnLst>
                        <a:rect l="0" t="0" r="r" b="b"/>
                        <a:pathLst>
                          <a:path w="29" h="58">
                            <a:moveTo>
                              <a:pt x="14" y="0"/>
                            </a:moveTo>
                            <a:cubicBezTo>
                              <a:pt x="6" y="0"/>
                              <a:pt x="0" y="7"/>
                              <a:pt x="0" y="15"/>
                            </a:cubicBezTo>
                            <a:cubicBezTo>
                              <a:pt x="0" y="43"/>
                              <a:pt x="0" y="43"/>
                              <a:pt x="0" y="43"/>
                            </a:cubicBezTo>
                            <a:cubicBezTo>
                              <a:pt x="0" y="51"/>
                              <a:pt x="6" y="58"/>
                              <a:pt x="14" y="58"/>
                            </a:cubicBezTo>
                            <a:cubicBezTo>
                              <a:pt x="22" y="58"/>
                              <a:pt x="29" y="51"/>
                              <a:pt x="29" y="43"/>
                            </a:cubicBezTo>
                            <a:cubicBezTo>
                              <a:pt x="29" y="15"/>
                              <a:pt x="29" y="15"/>
                              <a:pt x="29" y="15"/>
                            </a:cubicBezTo>
                            <a:cubicBezTo>
                              <a:pt x="29" y="7"/>
                              <a:pt x="22" y="0"/>
                              <a:pt x="14" y="0"/>
                            </a:cubicBezTo>
                            <a:close/>
                          </a:path>
                        </a:pathLst>
                      </a:custGeom>
                      <a:solidFill>
                        <a:srgbClr val="4D4D4F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=""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endParaRPr lang="en-US" sz="1200" dirty="0"/>
                      </a:p>
                    </p:txBody>
                  </p:sp>
                  <p:sp>
                    <p:nvSpPr>
                      <p:cNvPr id="1465" name="Freeform 32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4546601" y="2470150"/>
                        <a:ext cx="53975" cy="33338"/>
                      </a:xfrm>
                      <a:custGeom>
                        <a:avLst/>
                        <a:gdLst>
                          <a:gd name="T0" fmla="*/ 46 w 60"/>
                          <a:gd name="T1" fmla="*/ 8 h 37"/>
                          <a:gd name="T2" fmla="*/ 21 w 60"/>
                          <a:gd name="T3" fmla="*/ 2 h 37"/>
                          <a:gd name="T4" fmla="*/ 3 w 60"/>
                          <a:gd name="T5" fmla="*/ 11 h 37"/>
                          <a:gd name="T6" fmla="*/ 12 w 60"/>
                          <a:gd name="T7" fmla="*/ 30 h 37"/>
                          <a:gd name="T8" fmla="*/ 43 w 60"/>
                          <a:gd name="T9" fmla="*/ 37 h 37"/>
                          <a:gd name="T10" fmla="*/ 44 w 60"/>
                          <a:gd name="T11" fmla="*/ 37 h 37"/>
                          <a:gd name="T12" fmla="*/ 59 w 60"/>
                          <a:gd name="T13" fmla="*/ 24 h 37"/>
                          <a:gd name="T14" fmla="*/ 46 w 60"/>
                          <a:gd name="T15" fmla="*/ 8 h 37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  <a:cxn ang="0">
                            <a:pos x="T14" y="T15"/>
                          </a:cxn>
                        </a:cxnLst>
                        <a:rect l="0" t="0" r="r" b="b"/>
                        <a:pathLst>
                          <a:path w="60" h="37">
                            <a:moveTo>
                              <a:pt x="46" y="8"/>
                            </a:moveTo>
                            <a:cubicBezTo>
                              <a:pt x="38" y="7"/>
                              <a:pt x="29" y="5"/>
                              <a:pt x="21" y="2"/>
                            </a:cubicBezTo>
                            <a:cubicBezTo>
                              <a:pt x="14" y="0"/>
                              <a:pt x="6" y="4"/>
                              <a:pt x="3" y="11"/>
                            </a:cubicBezTo>
                            <a:cubicBezTo>
                              <a:pt x="0" y="19"/>
                              <a:pt x="4" y="27"/>
                              <a:pt x="12" y="30"/>
                            </a:cubicBezTo>
                            <a:cubicBezTo>
                              <a:pt x="22" y="33"/>
                              <a:pt x="32" y="36"/>
                              <a:pt x="43" y="37"/>
                            </a:cubicBezTo>
                            <a:cubicBezTo>
                              <a:pt x="43" y="37"/>
                              <a:pt x="44" y="37"/>
                              <a:pt x="44" y="37"/>
                            </a:cubicBezTo>
                            <a:cubicBezTo>
                              <a:pt x="51" y="37"/>
                              <a:pt x="58" y="32"/>
                              <a:pt x="59" y="24"/>
                            </a:cubicBezTo>
                            <a:cubicBezTo>
                              <a:pt x="60" y="16"/>
                              <a:pt x="54" y="9"/>
                              <a:pt x="46" y="8"/>
                            </a:cubicBezTo>
                            <a:close/>
                          </a:path>
                        </a:pathLst>
                      </a:custGeom>
                      <a:solidFill>
                        <a:srgbClr val="4D4D4F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=""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endParaRPr lang="en-US" sz="1200" dirty="0"/>
                      </a:p>
                    </p:txBody>
                  </p:sp>
                  <p:sp>
                    <p:nvSpPr>
                      <p:cNvPr id="1466" name="Freeform 33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4781551" y="2478088"/>
                        <a:ext cx="50800" cy="25400"/>
                      </a:xfrm>
                      <a:custGeom>
                        <a:avLst/>
                        <a:gdLst>
                          <a:gd name="T0" fmla="*/ 43 w 57"/>
                          <a:gd name="T1" fmla="*/ 0 h 29"/>
                          <a:gd name="T2" fmla="*/ 14 w 57"/>
                          <a:gd name="T3" fmla="*/ 0 h 29"/>
                          <a:gd name="T4" fmla="*/ 0 w 57"/>
                          <a:gd name="T5" fmla="*/ 15 h 29"/>
                          <a:gd name="T6" fmla="*/ 14 w 57"/>
                          <a:gd name="T7" fmla="*/ 29 h 29"/>
                          <a:gd name="T8" fmla="*/ 43 w 57"/>
                          <a:gd name="T9" fmla="*/ 29 h 29"/>
                          <a:gd name="T10" fmla="*/ 57 w 57"/>
                          <a:gd name="T11" fmla="*/ 15 h 29"/>
                          <a:gd name="T12" fmla="*/ 43 w 57"/>
                          <a:gd name="T13" fmla="*/ 0 h 29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</a:cxnLst>
                        <a:rect l="0" t="0" r="r" b="b"/>
                        <a:pathLst>
                          <a:path w="57" h="29">
                            <a:moveTo>
                              <a:pt x="43" y="0"/>
                            </a:moveTo>
                            <a:cubicBezTo>
                              <a:pt x="14" y="0"/>
                              <a:pt x="14" y="0"/>
                              <a:pt x="14" y="0"/>
                            </a:cubicBezTo>
                            <a:cubicBezTo>
                              <a:pt x="6" y="0"/>
                              <a:pt x="0" y="7"/>
                              <a:pt x="0" y="15"/>
                            </a:cubicBezTo>
                            <a:cubicBezTo>
                              <a:pt x="0" y="23"/>
                              <a:pt x="6" y="29"/>
                              <a:pt x="14" y="29"/>
                            </a:cubicBezTo>
                            <a:cubicBezTo>
                              <a:pt x="43" y="29"/>
                              <a:pt x="43" y="29"/>
                              <a:pt x="43" y="29"/>
                            </a:cubicBezTo>
                            <a:cubicBezTo>
                              <a:pt x="51" y="29"/>
                              <a:pt x="57" y="23"/>
                              <a:pt x="57" y="15"/>
                            </a:cubicBezTo>
                            <a:cubicBezTo>
                              <a:pt x="57" y="7"/>
                              <a:pt x="51" y="0"/>
                              <a:pt x="43" y="0"/>
                            </a:cubicBezTo>
                            <a:close/>
                          </a:path>
                        </a:pathLst>
                      </a:custGeom>
                      <a:solidFill>
                        <a:srgbClr val="4D4D4F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=""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endParaRPr lang="en-US" sz="1200" dirty="0"/>
                      </a:p>
                    </p:txBody>
                  </p:sp>
                  <p:sp>
                    <p:nvSpPr>
                      <p:cNvPr id="1467" name="Freeform 34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4703763" y="2478088"/>
                        <a:ext cx="50800" cy="25400"/>
                      </a:xfrm>
                      <a:custGeom>
                        <a:avLst/>
                        <a:gdLst>
                          <a:gd name="T0" fmla="*/ 44 w 58"/>
                          <a:gd name="T1" fmla="*/ 0 h 29"/>
                          <a:gd name="T2" fmla="*/ 15 w 58"/>
                          <a:gd name="T3" fmla="*/ 0 h 29"/>
                          <a:gd name="T4" fmla="*/ 0 w 58"/>
                          <a:gd name="T5" fmla="*/ 15 h 29"/>
                          <a:gd name="T6" fmla="*/ 15 w 58"/>
                          <a:gd name="T7" fmla="*/ 29 h 29"/>
                          <a:gd name="T8" fmla="*/ 44 w 58"/>
                          <a:gd name="T9" fmla="*/ 29 h 29"/>
                          <a:gd name="T10" fmla="*/ 58 w 58"/>
                          <a:gd name="T11" fmla="*/ 15 h 29"/>
                          <a:gd name="T12" fmla="*/ 44 w 58"/>
                          <a:gd name="T13" fmla="*/ 0 h 29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</a:cxnLst>
                        <a:rect l="0" t="0" r="r" b="b"/>
                        <a:pathLst>
                          <a:path w="58" h="29">
                            <a:moveTo>
                              <a:pt x="44" y="0"/>
                            </a:moveTo>
                            <a:cubicBezTo>
                              <a:pt x="15" y="0"/>
                              <a:pt x="15" y="0"/>
                              <a:pt x="15" y="0"/>
                            </a:cubicBezTo>
                            <a:cubicBezTo>
                              <a:pt x="7" y="0"/>
                              <a:pt x="0" y="7"/>
                              <a:pt x="0" y="15"/>
                            </a:cubicBezTo>
                            <a:cubicBezTo>
                              <a:pt x="0" y="23"/>
                              <a:pt x="7" y="29"/>
                              <a:pt x="15" y="29"/>
                            </a:cubicBezTo>
                            <a:cubicBezTo>
                              <a:pt x="44" y="29"/>
                              <a:pt x="44" y="29"/>
                              <a:pt x="44" y="29"/>
                            </a:cubicBezTo>
                            <a:cubicBezTo>
                              <a:pt x="51" y="29"/>
                              <a:pt x="58" y="23"/>
                              <a:pt x="58" y="15"/>
                            </a:cubicBezTo>
                            <a:cubicBezTo>
                              <a:pt x="58" y="7"/>
                              <a:pt x="51" y="0"/>
                              <a:pt x="44" y="0"/>
                            </a:cubicBezTo>
                            <a:close/>
                          </a:path>
                        </a:pathLst>
                      </a:custGeom>
                      <a:solidFill>
                        <a:srgbClr val="4D4D4F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=""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endParaRPr lang="en-US" sz="1200" dirty="0"/>
                      </a:p>
                    </p:txBody>
                  </p:sp>
                  <p:sp>
                    <p:nvSpPr>
                      <p:cNvPr id="1468" name="Freeform 35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4625976" y="2478088"/>
                        <a:ext cx="52388" cy="25400"/>
                      </a:xfrm>
                      <a:custGeom>
                        <a:avLst/>
                        <a:gdLst>
                          <a:gd name="T0" fmla="*/ 43 w 58"/>
                          <a:gd name="T1" fmla="*/ 0 h 29"/>
                          <a:gd name="T2" fmla="*/ 15 w 58"/>
                          <a:gd name="T3" fmla="*/ 0 h 29"/>
                          <a:gd name="T4" fmla="*/ 0 w 58"/>
                          <a:gd name="T5" fmla="*/ 15 h 29"/>
                          <a:gd name="T6" fmla="*/ 15 w 58"/>
                          <a:gd name="T7" fmla="*/ 29 h 29"/>
                          <a:gd name="T8" fmla="*/ 43 w 58"/>
                          <a:gd name="T9" fmla="*/ 29 h 29"/>
                          <a:gd name="T10" fmla="*/ 58 w 58"/>
                          <a:gd name="T11" fmla="*/ 15 h 29"/>
                          <a:gd name="T12" fmla="*/ 43 w 58"/>
                          <a:gd name="T13" fmla="*/ 0 h 29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</a:cxnLst>
                        <a:rect l="0" t="0" r="r" b="b"/>
                        <a:pathLst>
                          <a:path w="58" h="29">
                            <a:moveTo>
                              <a:pt x="43" y="0"/>
                            </a:moveTo>
                            <a:cubicBezTo>
                              <a:pt x="15" y="0"/>
                              <a:pt x="15" y="0"/>
                              <a:pt x="15" y="0"/>
                            </a:cubicBezTo>
                            <a:cubicBezTo>
                              <a:pt x="7" y="0"/>
                              <a:pt x="0" y="7"/>
                              <a:pt x="0" y="15"/>
                            </a:cubicBezTo>
                            <a:cubicBezTo>
                              <a:pt x="0" y="23"/>
                              <a:pt x="7" y="29"/>
                              <a:pt x="15" y="29"/>
                            </a:cubicBezTo>
                            <a:cubicBezTo>
                              <a:pt x="43" y="29"/>
                              <a:pt x="43" y="29"/>
                              <a:pt x="43" y="29"/>
                            </a:cubicBezTo>
                            <a:cubicBezTo>
                              <a:pt x="51" y="29"/>
                              <a:pt x="58" y="23"/>
                              <a:pt x="58" y="15"/>
                            </a:cubicBezTo>
                            <a:cubicBezTo>
                              <a:pt x="58" y="7"/>
                              <a:pt x="51" y="0"/>
                              <a:pt x="43" y="0"/>
                            </a:cubicBezTo>
                            <a:close/>
                          </a:path>
                        </a:pathLst>
                      </a:custGeom>
                      <a:solidFill>
                        <a:srgbClr val="4D4D4F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=""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endParaRPr lang="en-US" sz="1200" dirty="0"/>
                      </a:p>
                    </p:txBody>
                  </p:sp>
                  <p:sp>
                    <p:nvSpPr>
                      <p:cNvPr id="1469" name="Freeform 38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4859338" y="2473325"/>
                        <a:ext cx="52388" cy="30163"/>
                      </a:xfrm>
                      <a:custGeom>
                        <a:avLst/>
                        <a:gdLst>
                          <a:gd name="T0" fmla="*/ 39 w 58"/>
                          <a:gd name="T1" fmla="*/ 2 h 34"/>
                          <a:gd name="T2" fmla="*/ 14 w 58"/>
                          <a:gd name="T3" fmla="*/ 5 h 34"/>
                          <a:gd name="T4" fmla="*/ 0 w 58"/>
                          <a:gd name="T5" fmla="*/ 20 h 34"/>
                          <a:gd name="T6" fmla="*/ 14 w 58"/>
                          <a:gd name="T7" fmla="*/ 34 h 34"/>
                          <a:gd name="T8" fmla="*/ 14 w 58"/>
                          <a:gd name="T9" fmla="*/ 34 h 34"/>
                          <a:gd name="T10" fmla="*/ 46 w 58"/>
                          <a:gd name="T11" fmla="*/ 30 h 34"/>
                          <a:gd name="T12" fmla="*/ 56 w 58"/>
                          <a:gd name="T13" fmla="*/ 12 h 34"/>
                          <a:gd name="T14" fmla="*/ 39 w 58"/>
                          <a:gd name="T15" fmla="*/ 2 h 34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  <a:cxn ang="0">
                            <a:pos x="T14" y="T15"/>
                          </a:cxn>
                        </a:cxnLst>
                        <a:rect l="0" t="0" r="r" b="b"/>
                        <a:pathLst>
                          <a:path w="58" h="34">
                            <a:moveTo>
                              <a:pt x="39" y="2"/>
                            </a:moveTo>
                            <a:cubicBezTo>
                              <a:pt x="31" y="4"/>
                              <a:pt x="22" y="5"/>
                              <a:pt x="14" y="5"/>
                            </a:cubicBezTo>
                            <a:cubicBezTo>
                              <a:pt x="6" y="5"/>
                              <a:pt x="0" y="12"/>
                              <a:pt x="0" y="20"/>
                            </a:cubicBezTo>
                            <a:cubicBezTo>
                              <a:pt x="0" y="28"/>
                              <a:pt x="6" y="34"/>
                              <a:pt x="14" y="34"/>
                            </a:cubicBezTo>
                            <a:cubicBezTo>
                              <a:pt x="14" y="34"/>
                              <a:pt x="14" y="34"/>
                              <a:pt x="14" y="34"/>
                            </a:cubicBezTo>
                            <a:cubicBezTo>
                              <a:pt x="25" y="34"/>
                              <a:pt x="36" y="32"/>
                              <a:pt x="46" y="30"/>
                            </a:cubicBezTo>
                            <a:cubicBezTo>
                              <a:pt x="54" y="28"/>
                              <a:pt x="58" y="20"/>
                              <a:pt x="56" y="12"/>
                            </a:cubicBezTo>
                            <a:cubicBezTo>
                              <a:pt x="55" y="5"/>
                              <a:pt x="47" y="0"/>
                              <a:pt x="39" y="2"/>
                            </a:cubicBezTo>
                            <a:close/>
                          </a:path>
                        </a:pathLst>
                      </a:custGeom>
                      <a:solidFill>
                        <a:srgbClr val="4D4D4F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=""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endParaRPr lang="en-US" sz="1200" dirty="0"/>
                      </a:p>
                    </p:txBody>
                  </p:sp>
                </p:grpSp>
                <p:sp>
                  <p:nvSpPr>
                    <p:cNvPr id="1446" name="Freeform 12"/>
                    <p:cNvSpPr>
                      <a:spLocks noEditPoints="1"/>
                    </p:cNvSpPr>
                    <p:nvPr/>
                  </p:nvSpPr>
                  <p:spPr bwMode="auto">
                    <a:xfrm>
                      <a:off x="5406483" y="2446478"/>
                      <a:ext cx="214941" cy="191168"/>
                    </a:xfrm>
                    <a:custGeom>
                      <a:avLst/>
                      <a:gdLst>
                        <a:gd name="T0" fmla="*/ 419 w 494"/>
                        <a:gd name="T1" fmla="*/ 299 h 448"/>
                        <a:gd name="T2" fmla="*/ 403 w 494"/>
                        <a:gd name="T3" fmla="*/ 301 h 448"/>
                        <a:gd name="T4" fmla="*/ 302 w 494"/>
                        <a:gd name="T5" fmla="*/ 126 h 448"/>
                        <a:gd name="T6" fmla="*/ 322 w 494"/>
                        <a:gd name="T7" fmla="*/ 75 h 448"/>
                        <a:gd name="T8" fmla="*/ 247 w 494"/>
                        <a:gd name="T9" fmla="*/ 0 h 448"/>
                        <a:gd name="T10" fmla="*/ 173 w 494"/>
                        <a:gd name="T11" fmla="*/ 75 h 448"/>
                        <a:gd name="T12" fmla="*/ 193 w 494"/>
                        <a:gd name="T13" fmla="*/ 126 h 448"/>
                        <a:gd name="T14" fmla="*/ 91 w 494"/>
                        <a:gd name="T15" fmla="*/ 301 h 448"/>
                        <a:gd name="T16" fmla="*/ 75 w 494"/>
                        <a:gd name="T17" fmla="*/ 299 h 448"/>
                        <a:gd name="T18" fmla="*/ 0 w 494"/>
                        <a:gd name="T19" fmla="*/ 373 h 448"/>
                        <a:gd name="T20" fmla="*/ 75 w 494"/>
                        <a:gd name="T21" fmla="*/ 448 h 448"/>
                        <a:gd name="T22" fmla="*/ 146 w 494"/>
                        <a:gd name="T23" fmla="*/ 395 h 448"/>
                        <a:gd name="T24" fmla="*/ 349 w 494"/>
                        <a:gd name="T25" fmla="*/ 395 h 448"/>
                        <a:gd name="T26" fmla="*/ 419 w 494"/>
                        <a:gd name="T27" fmla="*/ 448 h 448"/>
                        <a:gd name="T28" fmla="*/ 494 w 494"/>
                        <a:gd name="T29" fmla="*/ 373 h 448"/>
                        <a:gd name="T30" fmla="*/ 419 w 494"/>
                        <a:gd name="T31" fmla="*/ 299 h 448"/>
                        <a:gd name="T32" fmla="*/ 349 w 494"/>
                        <a:gd name="T33" fmla="*/ 351 h 448"/>
                        <a:gd name="T34" fmla="*/ 146 w 494"/>
                        <a:gd name="T35" fmla="*/ 351 h 448"/>
                        <a:gd name="T36" fmla="*/ 130 w 494"/>
                        <a:gd name="T37" fmla="*/ 323 h 448"/>
                        <a:gd name="T38" fmla="*/ 231 w 494"/>
                        <a:gd name="T39" fmla="*/ 148 h 448"/>
                        <a:gd name="T40" fmla="*/ 247 w 494"/>
                        <a:gd name="T41" fmla="*/ 150 h 448"/>
                        <a:gd name="T42" fmla="*/ 264 w 494"/>
                        <a:gd name="T43" fmla="*/ 148 h 448"/>
                        <a:gd name="T44" fmla="*/ 365 w 494"/>
                        <a:gd name="T45" fmla="*/ 323 h 448"/>
                        <a:gd name="T46" fmla="*/ 349 w 494"/>
                        <a:gd name="T47" fmla="*/ 351 h 44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</a:cxnLst>
                      <a:rect l="0" t="0" r="r" b="b"/>
                      <a:pathLst>
                        <a:path w="494" h="448">
                          <a:moveTo>
                            <a:pt x="419" y="299"/>
                          </a:moveTo>
                          <a:cubicBezTo>
                            <a:pt x="414" y="299"/>
                            <a:pt x="408" y="300"/>
                            <a:pt x="403" y="301"/>
                          </a:cubicBezTo>
                          <a:cubicBezTo>
                            <a:pt x="302" y="126"/>
                            <a:pt x="302" y="126"/>
                            <a:pt x="302" y="126"/>
                          </a:cubicBezTo>
                          <a:cubicBezTo>
                            <a:pt x="314" y="112"/>
                            <a:pt x="322" y="95"/>
                            <a:pt x="322" y="75"/>
                          </a:cubicBezTo>
                          <a:cubicBezTo>
                            <a:pt x="322" y="34"/>
                            <a:pt x="288" y="0"/>
                            <a:pt x="247" y="0"/>
                          </a:cubicBezTo>
                          <a:cubicBezTo>
                            <a:pt x="206" y="0"/>
                            <a:pt x="173" y="34"/>
                            <a:pt x="173" y="75"/>
                          </a:cubicBezTo>
                          <a:cubicBezTo>
                            <a:pt x="173" y="95"/>
                            <a:pt x="180" y="112"/>
                            <a:pt x="193" y="126"/>
                          </a:cubicBezTo>
                          <a:cubicBezTo>
                            <a:pt x="91" y="301"/>
                            <a:pt x="91" y="301"/>
                            <a:pt x="91" y="301"/>
                          </a:cubicBezTo>
                          <a:cubicBezTo>
                            <a:pt x="86" y="300"/>
                            <a:pt x="81" y="299"/>
                            <a:pt x="75" y="299"/>
                          </a:cubicBezTo>
                          <a:cubicBezTo>
                            <a:pt x="34" y="299"/>
                            <a:pt x="0" y="332"/>
                            <a:pt x="0" y="373"/>
                          </a:cubicBezTo>
                          <a:cubicBezTo>
                            <a:pt x="0" y="415"/>
                            <a:pt x="34" y="448"/>
                            <a:pt x="75" y="448"/>
                          </a:cubicBezTo>
                          <a:cubicBezTo>
                            <a:pt x="108" y="448"/>
                            <a:pt x="136" y="426"/>
                            <a:pt x="146" y="395"/>
                          </a:cubicBezTo>
                          <a:cubicBezTo>
                            <a:pt x="349" y="395"/>
                            <a:pt x="349" y="395"/>
                            <a:pt x="349" y="395"/>
                          </a:cubicBezTo>
                          <a:cubicBezTo>
                            <a:pt x="358" y="426"/>
                            <a:pt x="386" y="448"/>
                            <a:pt x="419" y="448"/>
                          </a:cubicBezTo>
                          <a:cubicBezTo>
                            <a:pt x="461" y="448"/>
                            <a:pt x="494" y="415"/>
                            <a:pt x="494" y="373"/>
                          </a:cubicBezTo>
                          <a:cubicBezTo>
                            <a:pt x="494" y="332"/>
                            <a:pt x="461" y="299"/>
                            <a:pt x="419" y="299"/>
                          </a:cubicBezTo>
                          <a:close/>
                          <a:moveTo>
                            <a:pt x="349" y="351"/>
                          </a:moveTo>
                          <a:cubicBezTo>
                            <a:pt x="146" y="351"/>
                            <a:pt x="146" y="351"/>
                            <a:pt x="146" y="351"/>
                          </a:cubicBezTo>
                          <a:cubicBezTo>
                            <a:pt x="142" y="341"/>
                            <a:pt x="137" y="331"/>
                            <a:pt x="130" y="323"/>
                          </a:cubicBezTo>
                          <a:cubicBezTo>
                            <a:pt x="231" y="148"/>
                            <a:pt x="231" y="148"/>
                            <a:pt x="231" y="148"/>
                          </a:cubicBezTo>
                          <a:cubicBezTo>
                            <a:pt x="236" y="149"/>
                            <a:pt x="242" y="150"/>
                            <a:pt x="247" y="150"/>
                          </a:cubicBezTo>
                          <a:cubicBezTo>
                            <a:pt x="253" y="150"/>
                            <a:pt x="258" y="149"/>
                            <a:pt x="264" y="148"/>
                          </a:cubicBezTo>
                          <a:cubicBezTo>
                            <a:pt x="365" y="323"/>
                            <a:pt x="365" y="323"/>
                            <a:pt x="365" y="323"/>
                          </a:cubicBezTo>
                          <a:cubicBezTo>
                            <a:pt x="358" y="331"/>
                            <a:pt x="352" y="341"/>
                            <a:pt x="349" y="351"/>
                          </a:cubicBezTo>
                          <a:close/>
                        </a:path>
                      </a:pathLst>
                    </a:custGeom>
                    <a:solidFill>
                      <a:schemeClr val="bg1"/>
                    </a:solidFill>
                    <a:ln>
                      <a:noFill/>
                    </a:ln>
                    <a:extLst/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 sz="1200" dirty="0"/>
                    </a:p>
                  </p:txBody>
                </p:sp>
              </p:grpSp>
            </p:grpSp>
            <p:grpSp>
              <p:nvGrpSpPr>
                <p:cNvPr id="1387" name="Group 1386"/>
                <p:cNvGrpSpPr/>
                <p:nvPr/>
              </p:nvGrpSpPr>
              <p:grpSpPr>
                <a:xfrm>
                  <a:off x="3744250" y="3274323"/>
                  <a:ext cx="309857" cy="268010"/>
                  <a:chOff x="5310724" y="2352924"/>
                  <a:chExt cx="398754" cy="374816"/>
                </a:xfrm>
              </p:grpSpPr>
              <p:sp>
                <p:nvSpPr>
                  <p:cNvPr id="1416" name="Rounded Rectangle 1415"/>
                  <p:cNvSpPr/>
                  <p:nvPr/>
                </p:nvSpPr>
                <p:spPr>
                  <a:xfrm>
                    <a:off x="5351561" y="2386601"/>
                    <a:ext cx="308105" cy="310923"/>
                  </a:xfrm>
                  <a:prstGeom prst="roundRect">
                    <a:avLst/>
                  </a:prstGeom>
                  <a:solidFill>
                    <a:srgbClr val="948A54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grpSp>
                <p:nvGrpSpPr>
                  <p:cNvPr id="1417" name="Group 1416"/>
                  <p:cNvGrpSpPr/>
                  <p:nvPr/>
                </p:nvGrpSpPr>
                <p:grpSpPr>
                  <a:xfrm>
                    <a:off x="5310724" y="2352924"/>
                    <a:ext cx="398754" cy="374816"/>
                    <a:chOff x="5310724" y="2352924"/>
                    <a:chExt cx="398754" cy="374816"/>
                  </a:xfrm>
                </p:grpSpPr>
                <p:grpSp>
                  <p:nvGrpSpPr>
                    <p:cNvPr id="1418" name="Group 1417"/>
                    <p:cNvGrpSpPr/>
                    <p:nvPr/>
                  </p:nvGrpSpPr>
                  <p:grpSpPr>
                    <a:xfrm rot="5400000">
                      <a:off x="5322693" y="2340955"/>
                      <a:ext cx="374816" cy="398754"/>
                      <a:chOff x="4471988" y="1985963"/>
                      <a:chExt cx="527051" cy="517525"/>
                    </a:xfrm>
                  </p:grpSpPr>
                  <p:sp>
                    <p:nvSpPr>
                      <p:cNvPr id="1420" name="Freeform 13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4471988" y="2117725"/>
                        <a:ext cx="25400" cy="50800"/>
                      </a:xfrm>
                      <a:custGeom>
                        <a:avLst/>
                        <a:gdLst>
                          <a:gd name="T0" fmla="*/ 14 w 29"/>
                          <a:gd name="T1" fmla="*/ 57 h 57"/>
                          <a:gd name="T2" fmla="*/ 29 w 29"/>
                          <a:gd name="T3" fmla="*/ 43 h 57"/>
                          <a:gd name="T4" fmla="*/ 29 w 29"/>
                          <a:gd name="T5" fmla="*/ 14 h 57"/>
                          <a:gd name="T6" fmla="*/ 14 w 29"/>
                          <a:gd name="T7" fmla="*/ 0 h 57"/>
                          <a:gd name="T8" fmla="*/ 0 w 29"/>
                          <a:gd name="T9" fmla="*/ 14 h 57"/>
                          <a:gd name="T10" fmla="*/ 0 w 29"/>
                          <a:gd name="T11" fmla="*/ 43 h 57"/>
                          <a:gd name="T12" fmla="*/ 14 w 29"/>
                          <a:gd name="T13" fmla="*/ 57 h 57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</a:cxnLst>
                        <a:rect l="0" t="0" r="r" b="b"/>
                        <a:pathLst>
                          <a:path w="29" h="57">
                            <a:moveTo>
                              <a:pt x="14" y="57"/>
                            </a:moveTo>
                            <a:cubicBezTo>
                              <a:pt x="22" y="57"/>
                              <a:pt x="29" y="51"/>
                              <a:pt x="29" y="43"/>
                            </a:cubicBezTo>
                            <a:cubicBezTo>
                              <a:pt x="29" y="14"/>
                              <a:pt x="29" y="14"/>
                              <a:pt x="29" y="14"/>
                            </a:cubicBezTo>
                            <a:cubicBezTo>
                              <a:pt x="29" y="6"/>
                              <a:pt x="22" y="0"/>
                              <a:pt x="14" y="0"/>
                            </a:cubicBezTo>
                            <a:cubicBezTo>
                              <a:pt x="7" y="0"/>
                              <a:pt x="0" y="6"/>
                              <a:pt x="0" y="14"/>
                            </a:cubicBezTo>
                            <a:cubicBezTo>
                              <a:pt x="0" y="43"/>
                              <a:pt x="0" y="43"/>
                              <a:pt x="0" y="43"/>
                            </a:cubicBezTo>
                            <a:cubicBezTo>
                              <a:pt x="0" y="51"/>
                              <a:pt x="7" y="57"/>
                              <a:pt x="14" y="57"/>
                            </a:cubicBezTo>
                            <a:close/>
                          </a:path>
                        </a:pathLst>
                      </a:custGeom>
                      <a:solidFill>
                        <a:srgbClr val="4D4D4F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=""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endParaRPr lang="en-US" sz="1200" dirty="0"/>
                      </a:p>
                    </p:txBody>
                  </p:sp>
                  <p:sp>
                    <p:nvSpPr>
                      <p:cNvPr id="1421" name="Freeform 14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4471988" y="2271713"/>
                        <a:ext cx="25400" cy="52388"/>
                      </a:xfrm>
                      <a:custGeom>
                        <a:avLst/>
                        <a:gdLst>
                          <a:gd name="T0" fmla="*/ 14 w 29"/>
                          <a:gd name="T1" fmla="*/ 58 h 58"/>
                          <a:gd name="T2" fmla="*/ 29 w 29"/>
                          <a:gd name="T3" fmla="*/ 43 h 58"/>
                          <a:gd name="T4" fmla="*/ 29 w 29"/>
                          <a:gd name="T5" fmla="*/ 15 h 58"/>
                          <a:gd name="T6" fmla="*/ 14 w 29"/>
                          <a:gd name="T7" fmla="*/ 0 h 58"/>
                          <a:gd name="T8" fmla="*/ 0 w 29"/>
                          <a:gd name="T9" fmla="*/ 15 h 58"/>
                          <a:gd name="T10" fmla="*/ 0 w 29"/>
                          <a:gd name="T11" fmla="*/ 43 h 58"/>
                          <a:gd name="T12" fmla="*/ 14 w 29"/>
                          <a:gd name="T13" fmla="*/ 58 h 58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</a:cxnLst>
                        <a:rect l="0" t="0" r="r" b="b"/>
                        <a:pathLst>
                          <a:path w="29" h="58">
                            <a:moveTo>
                              <a:pt x="14" y="58"/>
                            </a:moveTo>
                            <a:cubicBezTo>
                              <a:pt x="22" y="58"/>
                              <a:pt x="29" y="51"/>
                              <a:pt x="29" y="43"/>
                            </a:cubicBezTo>
                            <a:cubicBezTo>
                              <a:pt x="29" y="15"/>
                              <a:pt x="29" y="15"/>
                              <a:pt x="29" y="15"/>
                            </a:cubicBezTo>
                            <a:cubicBezTo>
                              <a:pt x="29" y="7"/>
                              <a:pt x="22" y="0"/>
                              <a:pt x="14" y="0"/>
                            </a:cubicBezTo>
                            <a:cubicBezTo>
                              <a:pt x="7" y="0"/>
                              <a:pt x="0" y="7"/>
                              <a:pt x="0" y="15"/>
                            </a:cubicBezTo>
                            <a:cubicBezTo>
                              <a:pt x="0" y="43"/>
                              <a:pt x="0" y="43"/>
                              <a:pt x="0" y="43"/>
                            </a:cubicBezTo>
                            <a:cubicBezTo>
                              <a:pt x="0" y="51"/>
                              <a:pt x="7" y="58"/>
                              <a:pt x="14" y="58"/>
                            </a:cubicBezTo>
                            <a:close/>
                          </a:path>
                        </a:pathLst>
                      </a:custGeom>
                      <a:solidFill>
                        <a:srgbClr val="4D4D4F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=""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endParaRPr lang="en-US" sz="1200" dirty="0"/>
                      </a:p>
                    </p:txBody>
                  </p:sp>
                  <p:sp>
                    <p:nvSpPr>
                      <p:cNvPr id="1422" name="Freeform 15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4487863" y="2422525"/>
                        <a:ext cx="44450" cy="47625"/>
                      </a:xfrm>
                      <a:custGeom>
                        <a:avLst/>
                        <a:gdLst>
                          <a:gd name="T0" fmla="*/ 29 w 50"/>
                          <a:gd name="T1" fmla="*/ 8 h 53"/>
                          <a:gd name="T2" fmla="*/ 9 w 50"/>
                          <a:gd name="T3" fmla="*/ 4 h 53"/>
                          <a:gd name="T4" fmla="*/ 4 w 50"/>
                          <a:gd name="T5" fmla="*/ 24 h 53"/>
                          <a:gd name="T6" fmla="*/ 24 w 50"/>
                          <a:gd name="T7" fmla="*/ 49 h 53"/>
                          <a:gd name="T8" fmla="*/ 34 w 50"/>
                          <a:gd name="T9" fmla="*/ 53 h 53"/>
                          <a:gd name="T10" fmla="*/ 45 w 50"/>
                          <a:gd name="T11" fmla="*/ 49 h 53"/>
                          <a:gd name="T12" fmla="*/ 45 w 50"/>
                          <a:gd name="T13" fmla="*/ 28 h 53"/>
                          <a:gd name="T14" fmla="*/ 29 w 50"/>
                          <a:gd name="T15" fmla="*/ 8 h 53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  <a:cxn ang="0">
                            <a:pos x="T14" y="T15"/>
                          </a:cxn>
                        </a:cxnLst>
                        <a:rect l="0" t="0" r="r" b="b"/>
                        <a:pathLst>
                          <a:path w="50" h="53">
                            <a:moveTo>
                              <a:pt x="29" y="8"/>
                            </a:moveTo>
                            <a:cubicBezTo>
                              <a:pt x="24" y="2"/>
                              <a:pt x="15" y="0"/>
                              <a:pt x="9" y="4"/>
                            </a:cubicBezTo>
                            <a:cubicBezTo>
                              <a:pt x="2" y="8"/>
                              <a:pt x="0" y="17"/>
                              <a:pt x="4" y="24"/>
                            </a:cubicBezTo>
                            <a:cubicBezTo>
                              <a:pt x="10" y="33"/>
                              <a:pt x="17" y="41"/>
                              <a:pt x="24" y="49"/>
                            </a:cubicBezTo>
                            <a:cubicBezTo>
                              <a:pt x="27" y="51"/>
                              <a:pt x="31" y="53"/>
                              <a:pt x="34" y="53"/>
                            </a:cubicBezTo>
                            <a:cubicBezTo>
                              <a:pt x="38" y="53"/>
                              <a:pt x="42" y="51"/>
                              <a:pt x="45" y="49"/>
                            </a:cubicBezTo>
                            <a:cubicBezTo>
                              <a:pt x="50" y="43"/>
                              <a:pt x="50" y="34"/>
                              <a:pt x="45" y="28"/>
                            </a:cubicBezTo>
                            <a:cubicBezTo>
                              <a:pt x="39" y="22"/>
                              <a:pt x="33" y="15"/>
                              <a:pt x="29" y="8"/>
                            </a:cubicBezTo>
                            <a:close/>
                          </a:path>
                        </a:pathLst>
                      </a:custGeom>
                      <a:solidFill>
                        <a:srgbClr val="4D4D4F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=""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endParaRPr lang="en-US" sz="1200" dirty="0"/>
                      </a:p>
                    </p:txBody>
                  </p:sp>
                  <p:sp>
                    <p:nvSpPr>
                      <p:cNvPr id="1423" name="Freeform 16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4471988" y="2193925"/>
                        <a:ext cx="25400" cy="52388"/>
                      </a:xfrm>
                      <a:custGeom>
                        <a:avLst/>
                        <a:gdLst>
                          <a:gd name="T0" fmla="*/ 14 w 29"/>
                          <a:gd name="T1" fmla="*/ 58 h 58"/>
                          <a:gd name="T2" fmla="*/ 29 w 29"/>
                          <a:gd name="T3" fmla="*/ 43 h 58"/>
                          <a:gd name="T4" fmla="*/ 29 w 29"/>
                          <a:gd name="T5" fmla="*/ 14 h 58"/>
                          <a:gd name="T6" fmla="*/ 14 w 29"/>
                          <a:gd name="T7" fmla="*/ 0 h 58"/>
                          <a:gd name="T8" fmla="*/ 0 w 29"/>
                          <a:gd name="T9" fmla="*/ 14 h 58"/>
                          <a:gd name="T10" fmla="*/ 0 w 29"/>
                          <a:gd name="T11" fmla="*/ 43 h 58"/>
                          <a:gd name="T12" fmla="*/ 14 w 29"/>
                          <a:gd name="T13" fmla="*/ 58 h 58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</a:cxnLst>
                        <a:rect l="0" t="0" r="r" b="b"/>
                        <a:pathLst>
                          <a:path w="29" h="58">
                            <a:moveTo>
                              <a:pt x="14" y="58"/>
                            </a:moveTo>
                            <a:cubicBezTo>
                              <a:pt x="22" y="58"/>
                              <a:pt x="29" y="51"/>
                              <a:pt x="29" y="43"/>
                            </a:cubicBezTo>
                            <a:cubicBezTo>
                              <a:pt x="29" y="14"/>
                              <a:pt x="29" y="14"/>
                              <a:pt x="29" y="14"/>
                            </a:cubicBezTo>
                            <a:cubicBezTo>
                              <a:pt x="29" y="6"/>
                              <a:pt x="22" y="0"/>
                              <a:pt x="14" y="0"/>
                            </a:cubicBezTo>
                            <a:cubicBezTo>
                              <a:pt x="7" y="0"/>
                              <a:pt x="0" y="6"/>
                              <a:pt x="0" y="14"/>
                            </a:cubicBezTo>
                            <a:cubicBezTo>
                              <a:pt x="0" y="43"/>
                              <a:pt x="0" y="43"/>
                              <a:pt x="0" y="43"/>
                            </a:cubicBezTo>
                            <a:cubicBezTo>
                              <a:pt x="0" y="51"/>
                              <a:pt x="7" y="58"/>
                              <a:pt x="14" y="58"/>
                            </a:cubicBezTo>
                            <a:close/>
                          </a:path>
                        </a:pathLst>
                      </a:custGeom>
                      <a:solidFill>
                        <a:srgbClr val="4D4D4F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=""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endParaRPr lang="en-US" sz="1200" dirty="0"/>
                      </a:p>
                    </p:txBody>
                  </p:sp>
                  <p:sp>
                    <p:nvSpPr>
                      <p:cNvPr id="1424" name="Freeform 17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4830763" y="1985963"/>
                        <a:ext cx="50800" cy="26988"/>
                      </a:xfrm>
                      <a:custGeom>
                        <a:avLst/>
                        <a:gdLst>
                          <a:gd name="T0" fmla="*/ 15 w 57"/>
                          <a:gd name="T1" fmla="*/ 29 h 29"/>
                          <a:gd name="T2" fmla="*/ 44 w 57"/>
                          <a:gd name="T3" fmla="*/ 29 h 29"/>
                          <a:gd name="T4" fmla="*/ 57 w 57"/>
                          <a:gd name="T5" fmla="*/ 15 h 29"/>
                          <a:gd name="T6" fmla="*/ 43 w 57"/>
                          <a:gd name="T7" fmla="*/ 0 h 29"/>
                          <a:gd name="T8" fmla="*/ 15 w 57"/>
                          <a:gd name="T9" fmla="*/ 0 h 29"/>
                          <a:gd name="T10" fmla="*/ 0 w 57"/>
                          <a:gd name="T11" fmla="*/ 15 h 29"/>
                          <a:gd name="T12" fmla="*/ 15 w 57"/>
                          <a:gd name="T13" fmla="*/ 29 h 29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</a:cxnLst>
                        <a:rect l="0" t="0" r="r" b="b"/>
                        <a:pathLst>
                          <a:path w="57" h="29">
                            <a:moveTo>
                              <a:pt x="15" y="29"/>
                            </a:moveTo>
                            <a:cubicBezTo>
                              <a:pt x="44" y="29"/>
                              <a:pt x="44" y="29"/>
                              <a:pt x="44" y="29"/>
                            </a:cubicBezTo>
                            <a:cubicBezTo>
                              <a:pt x="51" y="29"/>
                              <a:pt x="57" y="23"/>
                              <a:pt x="57" y="15"/>
                            </a:cubicBezTo>
                            <a:cubicBezTo>
                              <a:pt x="57" y="7"/>
                              <a:pt x="50" y="0"/>
                              <a:pt x="43" y="0"/>
                            </a:cubicBezTo>
                            <a:cubicBezTo>
                              <a:pt x="15" y="0"/>
                              <a:pt x="15" y="0"/>
                              <a:pt x="15" y="0"/>
                            </a:cubicBezTo>
                            <a:cubicBezTo>
                              <a:pt x="7" y="0"/>
                              <a:pt x="0" y="7"/>
                              <a:pt x="0" y="15"/>
                            </a:cubicBezTo>
                            <a:cubicBezTo>
                              <a:pt x="0" y="23"/>
                              <a:pt x="7" y="29"/>
                              <a:pt x="15" y="29"/>
                            </a:cubicBezTo>
                            <a:close/>
                          </a:path>
                        </a:pathLst>
                      </a:custGeom>
                      <a:solidFill>
                        <a:srgbClr val="4D4D4F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=""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endParaRPr lang="en-US" sz="1200" dirty="0"/>
                      </a:p>
                    </p:txBody>
                  </p:sp>
                  <p:sp>
                    <p:nvSpPr>
                      <p:cNvPr id="1425" name="Freeform 18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4905376" y="1997075"/>
                        <a:ext cx="50800" cy="41275"/>
                      </a:xfrm>
                      <a:custGeom>
                        <a:avLst/>
                        <a:gdLst>
                          <a:gd name="T0" fmla="*/ 10 w 56"/>
                          <a:gd name="T1" fmla="*/ 30 h 47"/>
                          <a:gd name="T2" fmla="*/ 31 w 56"/>
                          <a:gd name="T3" fmla="*/ 43 h 47"/>
                          <a:gd name="T4" fmla="*/ 40 w 56"/>
                          <a:gd name="T5" fmla="*/ 47 h 47"/>
                          <a:gd name="T6" fmla="*/ 51 w 56"/>
                          <a:gd name="T7" fmla="*/ 41 h 47"/>
                          <a:gd name="T8" fmla="*/ 49 w 56"/>
                          <a:gd name="T9" fmla="*/ 21 h 47"/>
                          <a:gd name="T10" fmla="*/ 22 w 56"/>
                          <a:gd name="T11" fmla="*/ 4 h 47"/>
                          <a:gd name="T12" fmla="*/ 3 w 56"/>
                          <a:gd name="T13" fmla="*/ 11 h 47"/>
                          <a:gd name="T14" fmla="*/ 10 w 56"/>
                          <a:gd name="T15" fmla="*/ 30 h 47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  <a:cxn ang="0">
                            <a:pos x="T14" y="T15"/>
                          </a:cxn>
                        </a:cxnLst>
                        <a:rect l="0" t="0" r="r" b="b"/>
                        <a:pathLst>
                          <a:path w="56" h="47">
                            <a:moveTo>
                              <a:pt x="10" y="30"/>
                            </a:moveTo>
                            <a:cubicBezTo>
                              <a:pt x="17" y="33"/>
                              <a:pt x="25" y="38"/>
                              <a:pt x="31" y="43"/>
                            </a:cubicBezTo>
                            <a:cubicBezTo>
                              <a:pt x="34" y="46"/>
                              <a:pt x="37" y="47"/>
                              <a:pt x="40" y="47"/>
                            </a:cubicBezTo>
                            <a:cubicBezTo>
                              <a:pt x="44" y="47"/>
                              <a:pt x="49" y="45"/>
                              <a:pt x="51" y="41"/>
                            </a:cubicBezTo>
                            <a:cubicBezTo>
                              <a:pt x="56" y="35"/>
                              <a:pt x="55" y="26"/>
                              <a:pt x="49" y="21"/>
                            </a:cubicBezTo>
                            <a:cubicBezTo>
                              <a:pt x="41" y="14"/>
                              <a:pt x="32" y="9"/>
                              <a:pt x="22" y="4"/>
                            </a:cubicBezTo>
                            <a:cubicBezTo>
                              <a:pt x="15" y="0"/>
                              <a:pt x="7" y="3"/>
                              <a:pt x="3" y="11"/>
                            </a:cubicBezTo>
                            <a:cubicBezTo>
                              <a:pt x="0" y="18"/>
                              <a:pt x="3" y="26"/>
                              <a:pt x="10" y="30"/>
                            </a:cubicBezTo>
                            <a:close/>
                          </a:path>
                        </a:pathLst>
                      </a:custGeom>
                      <a:solidFill>
                        <a:srgbClr val="4D4D4F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=""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endParaRPr lang="en-US" sz="1200" dirty="0"/>
                      </a:p>
                    </p:txBody>
                  </p:sp>
                  <p:sp>
                    <p:nvSpPr>
                      <p:cNvPr id="1426" name="Freeform 19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4476751" y="2039938"/>
                        <a:ext cx="39688" cy="52388"/>
                      </a:xfrm>
                      <a:custGeom>
                        <a:avLst/>
                        <a:gdLst>
                          <a:gd name="T0" fmla="*/ 12 w 45"/>
                          <a:gd name="T1" fmla="*/ 56 h 57"/>
                          <a:gd name="T2" fmla="*/ 16 w 45"/>
                          <a:gd name="T3" fmla="*/ 57 h 57"/>
                          <a:gd name="T4" fmla="*/ 30 w 45"/>
                          <a:gd name="T5" fmla="*/ 47 h 57"/>
                          <a:gd name="T6" fmla="*/ 41 w 45"/>
                          <a:gd name="T7" fmla="*/ 24 h 57"/>
                          <a:gd name="T8" fmla="*/ 36 w 45"/>
                          <a:gd name="T9" fmla="*/ 4 h 57"/>
                          <a:gd name="T10" fmla="*/ 16 w 45"/>
                          <a:gd name="T11" fmla="*/ 9 h 57"/>
                          <a:gd name="T12" fmla="*/ 3 w 45"/>
                          <a:gd name="T13" fmla="*/ 38 h 57"/>
                          <a:gd name="T14" fmla="*/ 12 w 45"/>
                          <a:gd name="T15" fmla="*/ 56 h 57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  <a:cxn ang="0">
                            <a:pos x="T14" y="T15"/>
                          </a:cxn>
                        </a:cxnLst>
                        <a:rect l="0" t="0" r="r" b="b"/>
                        <a:pathLst>
                          <a:path w="45" h="57">
                            <a:moveTo>
                              <a:pt x="12" y="56"/>
                            </a:moveTo>
                            <a:cubicBezTo>
                              <a:pt x="13" y="57"/>
                              <a:pt x="15" y="57"/>
                              <a:pt x="16" y="57"/>
                            </a:cubicBezTo>
                            <a:cubicBezTo>
                              <a:pt x="22" y="57"/>
                              <a:pt x="28" y="53"/>
                              <a:pt x="30" y="47"/>
                            </a:cubicBezTo>
                            <a:cubicBezTo>
                              <a:pt x="33" y="39"/>
                              <a:pt x="36" y="32"/>
                              <a:pt x="41" y="24"/>
                            </a:cubicBezTo>
                            <a:cubicBezTo>
                              <a:pt x="45" y="17"/>
                              <a:pt x="43" y="9"/>
                              <a:pt x="36" y="4"/>
                            </a:cubicBezTo>
                            <a:cubicBezTo>
                              <a:pt x="29" y="0"/>
                              <a:pt x="21" y="2"/>
                              <a:pt x="16" y="9"/>
                            </a:cubicBezTo>
                            <a:cubicBezTo>
                              <a:pt x="11" y="18"/>
                              <a:pt x="6" y="28"/>
                              <a:pt x="3" y="38"/>
                            </a:cubicBezTo>
                            <a:cubicBezTo>
                              <a:pt x="0" y="45"/>
                              <a:pt x="4" y="54"/>
                              <a:pt x="12" y="56"/>
                            </a:cubicBezTo>
                            <a:close/>
                          </a:path>
                        </a:pathLst>
                      </a:custGeom>
                      <a:solidFill>
                        <a:srgbClr val="4D4D4F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=""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endParaRPr lang="en-US" sz="1200" dirty="0"/>
                      </a:p>
                    </p:txBody>
                  </p:sp>
                  <p:sp>
                    <p:nvSpPr>
                      <p:cNvPr id="1427" name="Freeform 20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4522788" y="1992313"/>
                        <a:ext cx="52388" cy="39688"/>
                      </a:xfrm>
                      <a:custGeom>
                        <a:avLst/>
                        <a:gdLst>
                          <a:gd name="T0" fmla="*/ 55 w 58"/>
                          <a:gd name="T1" fmla="*/ 11 h 43"/>
                          <a:gd name="T2" fmla="*/ 37 w 58"/>
                          <a:gd name="T3" fmla="*/ 2 h 43"/>
                          <a:gd name="T4" fmla="*/ 9 w 58"/>
                          <a:gd name="T5" fmla="*/ 17 h 43"/>
                          <a:gd name="T6" fmla="*/ 4 w 58"/>
                          <a:gd name="T7" fmla="*/ 37 h 43"/>
                          <a:gd name="T8" fmla="*/ 16 w 58"/>
                          <a:gd name="T9" fmla="*/ 43 h 43"/>
                          <a:gd name="T10" fmla="*/ 24 w 58"/>
                          <a:gd name="T11" fmla="*/ 41 h 43"/>
                          <a:gd name="T12" fmla="*/ 47 w 58"/>
                          <a:gd name="T13" fmla="*/ 29 h 43"/>
                          <a:gd name="T14" fmla="*/ 55 w 58"/>
                          <a:gd name="T15" fmla="*/ 11 h 43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  <a:cxn ang="0">
                            <a:pos x="T14" y="T15"/>
                          </a:cxn>
                        </a:cxnLst>
                        <a:rect l="0" t="0" r="r" b="b"/>
                        <a:pathLst>
                          <a:path w="58" h="43">
                            <a:moveTo>
                              <a:pt x="55" y="11"/>
                            </a:moveTo>
                            <a:cubicBezTo>
                              <a:pt x="53" y="3"/>
                              <a:pt x="44" y="0"/>
                              <a:pt x="37" y="2"/>
                            </a:cubicBezTo>
                            <a:cubicBezTo>
                              <a:pt x="27" y="6"/>
                              <a:pt x="17" y="11"/>
                              <a:pt x="9" y="17"/>
                            </a:cubicBezTo>
                            <a:cubicBezTo>
                              <a:pt x="2" y="21"/>
                              <a:pt x="0" y="30"/>
                              <a:pt x="4" y="37"/>
                            </a:cubicBezTo>
                            <a:cubicBezTo>
                              <a:pt x="7" y="41"/>
                              <a:pt x="12" y="43"/>
                              <a:pt x="16" y="43"/>
                            </a:cubicBezTo>
                            <a:cubicBezTo>
                              <a:pt x="19" y="43"/>
                              <a:pt x="22" y="43"/>
                              <a:pt x="24" y="41"/>
                            </a:cubicBezTo>
                            <a:cubicBezTo>
                              <a:pt x="31" y="36"/>
                              <a:pt x="39" y="32"/>
                              <a:pt x="47" y="29"/>
                            </a:cubicBezTo>
                            <a:cubicBezTo>
                              <a:pt x="54" y="27"/>
                              <a:pt x="58" y="18"/>
                              <a:pt x="55" y="11"/>
                            </a:cubicBezTo>
                            <a:close/>
                          </a:path>
                        </a:pathLst>
                      </a:custGeom>
                      <a:solidFill>
                        <a:srgbClr val="4D4D4F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=""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endParaRPr lang="en-US" sz="1200" dirty="0"/>
                      </a:p>
                    </p:txBody>
                  </p:sp>
                  <p:sp>
                    <p:nvSpPr>
                      <p:cNvPr id="1428" name="Freeform 21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4959351" y="2051050"/>
                        <a:ext cx="36513" cy="52388"/>
                      </a:xfrm>
                      <a:custGeom>
                        <a:avLst/>
                        <a:gdLst>
                          <a:gd name="T0" fmla="*/ 13 w 42"/>
                          <a:gd name="T1" fmla="*/ 47 h 58"/>
                          <a:gd name="T2" fmla="*/ 27 w 42"/>
                          <a:gd name="T3" fmla="*/ 58 h 58"/>
                          <a:gd name="T4" fmla="*/ 30 w 42"/>
                          <a:gd name="T5" fmla="*/ 57 h 58"/>
                          <a:gd name="T6" fmla="*/ 41 w 42"/>
                          <a:gd name="T7" fmla="*/ 40 h 58"/>
                          <a:gd name="T8" fmla="*/ 30 w 42"/>
                          <a:gd name="T9" fmla="*/ 10 h 58"/>
                          <a:gd name="T10" fmla="*/ 11 w 42"/>
                          <a:gd name="T11" fmla="*/ 4 h 58"/>
                          <a:gd name="T12" fmla="*/ 4 w 42"/>
                          <a:gd name="T13" fmla="*/ 23 h 58"/>
                          <a:gd name="T14" fmla="*/ 13 w 42"/>
                          <a:gd name="T15" fmla="*/ 47 h 58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  <a:cxn ang="0">
                            <a:pos x="T14" y="T15"/>
                          </a:cxn>
                        </a:cxnLst>
                        <a:rect l="0" t="0" r="r" b="b"/>
                        <a:pathLst>
                          <a:path w="42" h="58">
                            <a:moveTo>
                              <a:pt x="13" y="47"/>
                            </a:moveTo>
                            <a:cubicBezTo>
                              <a:pt x="14" y="53"/>
                              <a:pt x="20" y="58"/>
                              <a:pt x="27" y="58"/>
                            </a:cubicBezTo>
                            <a:cubicBezTo>
                              <a:pt x="28" y="58"/>
                              <a:pt x="29" y="58"/>
                              <a:pt x="30" y="57"/>
                            </a:cubicBezTo>
                            <a:cubicBezTo>
                              <a:pt x="38" y="56"/>
                              <a:pt x="42" y="48"/>
                              <a:pt x="41" y="40"/>
                            </a:cubicBezTo>
                            <a:cubicBezTo>
                              <a:pt x="38" y="30"/>
                              <a:pt x="35" y="20"/>
                              <a:pt x="30" y="10"/>
                            </a:cubicBezTo>
                            <a:cubicBezTo>
                              <a:pt x="26" y="3"/>
                              <a:pt x="18" y="0"/>
                              <a:pt x="11" y="4"/>
                            </a:cubicBezTo>
                            <a:cubicBezTo>
                              <a:pt x="3" y="7"/>
                              <a:pt x="0" y="16"/>
                              <a:pt x="4" y="23"/>
                            </a:cubicBezTo>
                            <a:cubicBezTo>
                              <a:pt x="8" y="31"/>
                              <a:pt x="11" y="39"/>
                              <a:pt x="13" y="47"/>
                            </a:cubicBezTo>
                            <a:close/>
                          </a:path>
                        </a:pathLst>
                      </a:custGeom>
                      <a:solidFill>
                        <a:srgbClr val="4D4D4F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=""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endParaRPr lang="en-US" sz="1200" dirty="0"/>
                      </a:p>
                    </p:txBody>
                  </p:sp>
                  <p:sp>
                    <p:nvSpPr>
                      <p:cNvPr id="1429" name="Freeform 22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4598988" y="1985963"/>
                        <a:ext cx="52388" cy="26988"/>
                      </a:xfrm>
                      <a:custGeom>
                        <a:avLst/>
                        <a:gdLst>
                          <a:gd name="T0" fmla="*/ 14 w 58"/>
                          <a:gd name="T1" fmla="*/ 29 h 29"/>
                          <a:gd name="T2" fmla="*/ 43 w 58"/>
                          <a:gd name="T3" fmla="*/ 29 h 29"/>
                          <a:gd name="T4" fmla="*/ 58 w 58"/>
                          <a:gd name="T5" fmla="*/ 15 h 29"/>
                          <a:gd name="T6" fmla="*/ 43 w 58"/>
                          <a:gd name="T7" fmla="*/ 0 h 29"/>
                          <a:gd name="T8" fmla="*/ 14 w 58"/>
                          <a:gd name="T9" fmla="*/ 0 h 29"/>
                          <a:gd name="T10" fmla="*/ 0 w 58"/>
                          <a:gd name="T11" fmla="*/ 15 h 29"/>
                          <a:gd name="T12" fmla="*/ 14 w 58"/>
                          <a:gd name="T13" fmla="*/ 29 h 29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</a:cxnLst>
                        <a:rect l="0" t="0" r="r" b="b"/>
                        <a:pathLst>
                          <a:path w="58" h="29">
                            <a:moveTo>
                              <a:pt x="14" y="29"/>
                            </a:moveTo>
                            <a:cubicBezTo>
                              <a:pt x="43" y="29"/>
                              <a:pt x="43" y="29"/>
                              <a:pt x="43" y="29"/>
                            </a:cubicBezTo>
                            <a:cubicBezTo>
                              <a:pt x="51" y="29"/>
                              <a:pt x="58" y="23"/>
                              <a:pt x="58" y="15"/>
                            </a:cubicBezTo>
                            <a:cubicBezTo>
                              <a:pt x="58" y="7"/>
                              <a:pt x="51" y="0"/>
                              <a:pt x="43" y="0"/>
                            </a:cubicBezTo>
                            <a:cubicBezTo>
                              <a:pt x="14" y="0"/>
                              <a:pt x="14" y="0"/>
                              <a:pt x="14" y="0"/>
                            </a:cubicBezTo>
                            <a:cubicBezTo>
                              <a:pt x="6" y="0"/>
                              <a:pt x="0" y="7"/>
                              <a:pt x="0" y="15"/>
                            </a:cubicBezTo>
                            <a:cubicBezTo>
                              <a:pt x="0" y="23"/>
                              <a:pt x="6" y="29"/>
                              <a:pt x="14" y="29"/>
                            </a:cubicBezTo>
                            <a:close/>
                          </a:path>
                        </a:pathLst>
                      </a:custGeom>
                      <a:solidFill>
                        <a:srgbClr val="4D4D4F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=""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endParaRPr lang="en-US" sz="1200" dirty="0"/>
                      </a:p>
                    </p:txBody>
                  </p:sp>
                  <p:sp>
                    <p:nvSpPr>
                      <p:cNvPr id="1430" name="Freeform 23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4676776" y="1985963"/>
                        <a:ext cx="50800" cy="26988"/>
                      </a:xfrm>
                      <a:custGeom>
                        <a:avLst/>
                        <a:gdLst>
                          <a:gd name="T0" fmla="*/ 15 w 58"/>
                          <a:gd name="T1" fmla="*/ 29 h 29"/>
                          <a:gd name="T2" fmla="*/ 43 w 58"/>
                          <a:gd name="T3" fmla="*/ 29 h 29"/>
                          <a:gd name="T4" fmla="*/ 58 w 58"/>
                          <a:gd name="T5" fmla="*/ 15 h 29"/>
                          <a:gd name="T6" fmla="*/ 43 w 58"/>
                          <a:gd name="T7" fmla="*/ 0 h 29"/>
                          <a:gd name="T8" fmla="*/ 15 w 58"/>
                          <a:gd name="T9" fmla="*/ 0 h 29"/>
                          <a:gd name="T10" fmla="*/ 0 w 58"/>
                          <a:gd name="T11" fmla="*/ 15 h 29"/>
                          <a:gd name="T12" fmla="*/ 15 w 58"/>
                          <a:gd name="T13" fmla="*/ 29 h 29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</a:cxnLst>
                        <a:rect l="0" t="0" r="r" b="b"/>
                        <a:pathLst>
                          <a:path w="58" h="29">
                            <a:moveTo>
                              <a:pt x="15" y="29"/>
                            </a:moveTo>
                            <a:cubicBezTo>
                              <a:pt x="43" y="29"/>
                              <a:pt x="43" y="29"/>
                              <a:pt x="43" y="29"/>
                            </a:cubicBezTo>
                            <a:cubicBezTo>
                              <a:pt x="51" y="29"/>
                              <a:pt x="58" y="23"/>
                              <a:pt x="58" y="15"/>
                            </a:cubicBezTo>
                            <a:cubicBezTo>
                              <a:pt x="58" y="7"/>
                              <a:pt x="51" y="0"/>
                              <a:pt x="43" y="0"/>
                            </a:cubicBezTo>
                            <a:cubicBezTo>
                              <a:pt x="15" y="0"/>
                              <a:pt x="15" y="0"/>
                              <a:pt x="15" y="0"/>
                            </a:cubicBezTo>
                            <a:cubicBezTo>
                              <a:pt x="7" y="0"/>
                              <a:pt x="0" y="7"/>
                              <a:pt x="0" y="15"/>
                            </a:cubicBezTo>
                            <a:cubicBezTo>
                              <a:pt x="0" y="23"/>
                              <a:pt x="7" y="29"/>
                              <a:pt x="15" y="29"/>
                            </a:cubicBezTo>
                            <a:close/>
                          </a:path>
                        </a:pathLst>
                      </a:custGeom>
                      <a:solidFill>
                        <a:srgbClr val="4D4D4F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=""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endParaRPr lang="en-US" sz="1200" dirty="0"/>
                      </a:p>
                    </p:txBody>
                  </p:sp>
                  <p:sp>
                    <p:nvSpPr>
                      <p:cNvPr id="1431" name="Freeform 24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4752976" y="1985963"/>
                        <a:ext cx="52388" cy="26988"/>
                      </a:xfrm>
                      <a:custGeom>
                        <a:avLst/>
                        <a:gdLst>
                          <a:gd name="T0" fmla="*/ 15 w 58"/>
                          <a:gd name="T1" fmla="*/ 29 h 29"/>
                          <a:gd name="T2" fmla="*/ 43 w 58"/>
                          <a:gd name="T3" fmla="*/ 29 h 29"/>
                          <a:gd name="T4" fmla="*/ 58 w 58"/>
                          <a:gd name="T5" fmla="*/ 15 h 29"/>
                          <a:gd name="T6" fmla="*/ 43 w 58"/>
                          <a:gd name="T7" fmla="*/ 0 h 29"/>
                          <a:gd name="T8" fmla="*/ 15 w 58"/>
                          <a:gd name="T9" fmla="*/ 0 h 29"/>
                          <a:gd name="T10" fmla="*/ 0 w 58"/>
                          <a:gd name="T11" fmla="*/ 15 h 29"/>
                          <a:gd name="T12" fmla="*/ 15 w 58"/>
                          <a:gd name="T13" fmla="*/ 29 h 29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</a:cxnLst>
                        <a:rect l="0" t="0" r="r" b="b"/>
                        <a:pathLst>
                          <a:path w="58" h="29">
                            <a:moveTo>
                              <a:pt x="15" y="29"/>
                            </a:moveTo>
                            <a:cubicBezTo>
                              <a:pt x="43" y="29"/>
                              <a:pt x="43" y="29"/>
                              <a:pt x="43" y="29"/>
                            </a:cubicBezTo>
                            <a:cubicBezTo>
                              <a:pt x="51" y="29"/>
                              <a:pt x="58" y="23"/>
                              <a:pt x="58" y="15"/>
                            </a:cubicBezTo>
                            <a:cubicBezTo>
                              <a:pt x="58" y="7"/>
                              <a:pt x="51" y="0"/>
                              <a:pt x="43" y="0"/>
                            </a:cubicBezTo>
                            <a:cubicBezTo>
                              <a:pt x="15" y="0"/>
                              <a:pt x="15" y="0"/>
                              <a:pt x="15" y="0"/>
                            </a:cubicBezTo>
                            <a:cubicBezTo>
                              <a:pt x="7" y="0"/>
                              <a:pt x="0" y="7"/>
                              <a:pt x="0" y="15"/>
                            </a:cubicBezTo>
                            <a:cubicBezTo>
                              <a:pt x="0" y="23"/>
                              <a:pt x="7" y="29"/>
                              <a:pt x="15" y="29"/>
                            </a:cubicBezTo>
                            <a:close/>
                          </a:path>
                        </a:pathLst>
                      </a:custGeom>
                      <a:solidFill>
                        <a:srgbClr val="4D4D4F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=""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endParaRPr lang="en-US" sz="1200" dirty="0"/>
                      </a:p>
                    </p:txBody>
                  </p:sp>
                  <p:sp>
                    <p:nvSpPr>
                      <p:cNvPr id="1432" name="Freeform 25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4471988" y="2349500"/>
                        <a:ext cx="26988" cy="52388"/>
                      </a:xfrm>
                      <a:custGeom>
                        <a:avLst/>
                        <a:gdLst>
                          <a:gd name="T0" fmla="*/ 30 w 31"/>
                          <a:gd name="T1" fmla="*/ 42 h 58"/>
                          <a:gd name="T2" fmla="*/ 29 w 31"/>
                          <a:gd name="T3" fmla="*/ 28 h 58"/>
                          <a:gd name="T4" fmla="*/ 29 w 31"/>
                          <a:gd name="T5" fmla="*/ 15 h 58"/>
                          <a:gd name="T6" fmla="*/ 14 w 31"/>
                          <a:gd name="T7" fmla="*/ 0 h 58"/>
                          <a:gd name="T8" fmla="*/ 0 w 31"/>
                          <a:gd name="T9" fmla="*/ 15 h 58"/>
                          <a:gd name="T10" fmla="*/ 0 w 31"/>
                          <a:gd name="T11" fmla="*/ 28 h 58"/>
                          <a:gd name="T12" fmla="*/ 1 w 31"/>
                          <a:gd name="T13" fmla="*/ 45 h 58"/>
                          <a:gd name="T14" fmla="*/ 15 w 31"/>
                          <a:gd name="T15" fmla="*/ 58 h 58"/>
                          <a:gd name="T16" fmla="*/ 17 w 31"/>
                          <a:gd name="T17" fmla="*/ 58 h 58"/>
                          <a:gd name="T18" fmla="*/ 30 w 31"/>
                          <a:gd name="T19" fmla="*/ 42 h 58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  <a:cxn ang="0">
                            <a:pos x="T14" y="T15"/>
                          </a:cxn>
                          <a:cxn ang="0">
                            <a:pos x="T16" y="T17"/>
                          </a:cxn>
                          <a:cxn ang="0">
                            <a:pos x="T18" y="T19"/>
                          </a:cxn>
                        </a:cxnLst>
                        <a:rect l="0" t="0" r="r" b="b"/>
                        <a:pathLst>
                          <a:path w="31" h="58">
                            <a:moveTo>
                              <a:pt x="30" y="42"/>
                            </a:moveTo>
                            <a:cubicBezTo>
                              <a:pt x="29" y="37"/>
                              <a:pt x="29" y="33"/>
                              <a:pt x="29" y="28"/>
                            </a:cubicBezTo>
                            <a:cubicBezTo>
                              <a:pt x="29" y="15"/>
                              <a:pt x="29" y="15"/>
                              <a:pt x="29" y="15"/>
                            </a:cubicBezTo>
                            <a:cubicBezTo>
                              <a:pt x="29" y="7"/>
                              <a:pt x="22" y="0"/>
                              <a:pt x="14" y="0"/>
                            </a:cubicBezTo>
                            <a:cubicBezTo>
                              <a:pt x="7" y="0"/>
                              <a:pt x="0" y="7"/>
                              <a:pt x="0" y="15"/>
                            </a:cubicBezTo>
                            <a:cubicBezTo>
                              <a:pt x="0" y="28"/>
                              <a:pt x="0" y="28"/>
                              <a:pt x="0" y="28"/>
                            </a:cubicBezTo>
                            <a:cubicBezTo>
                              <a:pt x="0" y="34"/>
                              <a:pt x="0" y="39"/>
                              <a:pt x="1" y="45"/>
                            </a:cubicBezTo>
                            <a:cubicBezTo>
                              <a:pt x="2" y="52"/>
                              <a:pt x="8" y="58"/>
                              <a:pt x="15" y="58"/>
                            </a:cubicBezTo>
                            <a:cubicBezTo>
                              <a:pt x="16" y="58"/>
                              <a:pt x="17" y="58"/>
                              <a:pt x="17" y="58"/>
                            </a:cubicBezTo>
                            <a:cubicBezTo>
                              <a:pt x="25" y="57"/>
                              <a:pt x="31" y="50"/>
                              <a:pt x="30" y="42"/>
                            </a:cubicBezTo>
                            <a:close/>
                          </a:path>
                        </a:pathLst>
                      </a:custGeom>
                      <a:solidFill>
                        <a:srgbClr val="4D4D4F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=""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endParaRPr lang="en-US" sz="1200" dirty="0"/>
                      </a:p>
                    </p:txBody>
                  </p:sp>
                  <p:sp>
                    <p:nvSpPr>
                      <p:cNvPr id="1433" name="Freeform 26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4973638" y="2282825"/>
                        <a:ext cx="25400" cy="52388"/>
                      </a:xfrm>
                      <a:custGeom>
                        <a:avLst/>
                        <a:gdLst>
                          <a:gd name="T0" fmla="*/ 14 w 29"/>
                          <a:gd name="T1" fmla="*/ 0 h 58"/>
                          <a:gd name="T2" fmla="*/ 0 w 29"/>
                          <a:gd name="T3" fmla="*/ 15 h 58"/>
                          <a:gd name="T4" fmla="*/ 0 w 29"/>
                          <a:gd name="T5" fmla="*/ 44 h 58"/>
                          <a:gd name="T6" fmla="*/ 14 w 29"/>
                          <a:gd name="T7" fmla="*/ 58 h 58"/>
                          <a:gd name="T8" fmla="*/ 29 w 29"/>
                          <a:gd name="T9" fmla="*/ 44 h 58"/>
                          <a:gd name="T10" fmla="*/ 29 w 29"/>
                          <a:gd name="T11" fmla="*/ 15 h 58"/>
                          <a:gd name="T12" fmla="*/ 14 w 29"/>
                          <a:gd name="T13" fmla="*/ 0 h 58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</a:cxnLst>
                        <a:rect l="0" t="0" r="r" b="b"/>
                        <a:pathLst>
                          <a:path w="29" h="58">
                            <a:moveTo>
                              <a:pt x="14" y="0"/>
                            </a:moveTo>
                            <a:cubicBezTo>
                              <a:pt x="6" y="0"/>
                              <a:pt x="0" y="7"/>
                              <a:pt x="0" y="15"/>
                            </a:cubicBezTo>
                            <a:cubicBezTo>
                              <a:pt x="0" y="44"/>
                              <a:pt x="0" y="44"/>
                              <a:pt x="0" y="44"/>
                            </a:cubicBezTo>
                            <a:cubicBezTo>
                              <a:pt x="0" y="52"/>
                              <a:pt x="6" y="58"/>
                              <a:pt x="14" y="58"/>
                            </a:cubicBezTo>
                            <a:cubicBezTo>
                              <a:pt x="22" y="58"/>
                              <a:pt x="29" y="52"/>
                              <a:pt x="29" y="44"/>
                            </a:cubicBezTo>
                            <a:cubicBezTo>
                              <a:pt x="29" y="15"/>
                              <a:pt x="29" y="15"/>
                              <a:pt x="29" y="15"/>
                            </a:cubicBezTo>
                            <a:cubicBezTo>
                              <a:pt x="29" y="7"/>
                              <a:pt x="22" y="0"/>
                              <a:pt x="14" y="0"/>
                            </a:cubicBezTo>
                            <a:close/>
                          </a:path>
                        </a:pathLst>
                      </a:custGeom>
                      <a:solidFill>
                        <a:srgbClr val="4D4D4F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=""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endParaRPr lang="en-US" sz="1200" dirty="0"/>
                      </a:p>
                    </p:txBody>
                  </p:sp>
                  <p:sp>
                    <p:nvSpPr>
                      <p:cNvPr id="1434" name="Freeform 28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4927601" y="2432050"/>
                        <a:ext cx="47625" cy="46038"/>
                      </a:xfrm>
                      <a:custGeom>
                        <a:avLst/>
                        <a:gdLst>
                          <a:gd name="T0" fmla="*/ 25 w 53"/>
                          <a:gd name="T1" fmla="*/ 7 h 51"/>
                          <a:gd name="T2" fmla="*/ 7 w 53"/>
                          <a:gd name="T3" fmla="*/ 25 h 51"/>
                          <a:gd name="T4" fmla="*/ 5 w 53"/>
                          <a:gd name="T5" fmla="*/ 45 h 51"/>
                          <a:gd name="T6" fmla="*/ 16 w 53"/>
                          <a:gd name="T7" fmla="*/ 51 h 51"/>
                          <a:gd name="T8" fmla="*/ 25 w 53"/>
                          <a:gd name="T9" fmla="*/ 47 h 51"/>
                          <a:gd name="T10" fmla="*/ 48 w 53"/>
                          <a:gd name="T11" fmla="*/ 25 h 51"/>
                          <a:gd name="T12" fmla="*/ 45 w 53"/>
                          <a:gd name="T13" fmla="*/ 5 h 51"/>
                          <a:gd name="T14" fmla="*/ 25 w 53"/>
                          <a:gd name="T15" fmla="*/ 7 h 51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  <a:cxn ang="0">
                            <a:pos x="T14" y="T15"/>
                          </a:cxn>
                        </a:cxnLst>
                        <a:rect l="0" t="0" r="r" b="b"/>
                        <a:pathLst>
                          <a:path w="53" h="51">
                            <a:moveTo>
                              <a:pt x="25" y="7"/>
                            </a:moveTo>
                            <a:cubicBezTo>
                              <a:pt x="20" y="14"/>
                              <a:pt x="14" y="20"/>
                              <a:pt x="7" y="25"/>
                            </a:cubicBezTo>
                            <a:cubicBezTo>
                              <a:pt x="1" y="30"/>
                              <a:pt x="0" y="39"/>
                              <a:pt x="5" y="45"/>
                            </a:cubicBezTo>
                            <a:cubicBezTo>
                              <a:pt x="8" y="49"/>
                              <a:pt x="12" y="51"/>
                              <a:pt x="16" y="51"/>
                            </a:cubicBezTo>
                            <a:cubicBezTo>
                              <a:pt x="20" y="51"/>
                              <a:pt x="23" y="50"/>
                              <a:pt x="25" y="47"/>
                            </a:cubicBezTo>
                            <a:cubicBezTo>
                              <a:pt x="34" y="41"/>
                              <a:pt x="41" y="33"/>
                              <a:pt x="48" y="25"/>
                            </a:cubicBezTo>
                            <a:cubicBezTo>
                              <a:pt x="53" y="19"/>
                              <a:pt x="52" y="9"/>
                              <a:pt x="45" y="5"/>
                            </a:cubicBezTo>
                            <a:cubicBezTo>
                              <a:pt x="39" y="0"/>
                              <a:pt x="30" y="1"/>
                              <a:pt x="25" y="7"/>
                            </a:cubicBezTo>
                            <a:close/>
                          </a:path>
                        </a:pathLst>
                      </a:custGeom>
                      <a:solidFill>
                        <a:srgbClr val="4D4D4F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=""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endParaRPr lang="en-US" sz="1200" dirty="0"/>
                      </a:p>
                    </p:txBody>
                  </p:sp>
                  <p:sp>
                    <p:nvSpPr>
                      <p:cNvPr id="1435" name="Freeform 29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4968876" y="2360613"/>
                        <a:ext cx="30163" cy="52388"/>
                      </a:xfrm>
                      <a:custGeom>
                        <a:avLst/>
                        <a:gdLst>
                          <a:gd name="T0" fmla="*/ 19 w 34"/>
                          <a:gd name="T1" fmla="*/ 0 h 58"/>
                          <a:gd name="T2" fmla="*/ 5 w 34"/>
                          <a:gd name="T3" fmla="*/ 15 h 58"/>
                          <a:gd name="T4" fmla="*/ 2 w 34"/>
                          <a:gd name="T5" fmla="*/ 40 h 58"/>
                          <a:gd name="T6" fmla="*/ 13 w 34"/>
                          <a:gd name="T7" fmla="*/ 58 h 58"/>
                          <a:gd name="T8" fmla="*/ 16 w 34"/>
                          <a:gd name="T9" fmla="*/ 58 h 58"/>
                          <a:gd name="T10" fmla="*/ 30 w 34"/>
                          <a:gd name="T11" fmla="*/ 47 h 58"/>
                          <a:gd name="T12" fmla="*/ 34 w 34"/>
                          <a:gd name="T13" fmla="*/ 15 h 58"/>
                          <a:gd name="T14" fmla="*/ 34 w 34"/>
                          <a:gd name="T15" fmla="*/ 14 h 58"/>
                          <a:gd name="T16" fmla="*/ 19 w 34"/>
                          <a:gd name="T17" fmla="*/ 0 h 58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  <a:cxn ang="0">
                            <a:pos x="T14" y="T15"/>
                          </a:cxn>
                          <a:cxn ang="0">
                            <a:pos x="T16" y="T17"/>
                          </a:cxn>
                        </a:cxnLst>
                        <a:rect l="0" t="0" r="r" b="b"/>
                        <a:pathLst>
                          <a:path w="34" h="58">
                            <a:moveTo>
                              <a:pt x="19" y="0"/>
                            </a:moveTo>
                            <a:cubicBezTo>
                              <a:pt x="11" y="0"/>
                              <a:pt x="5" y="7"/>
                              <a:pt x="5" y="15"/>
                            </a:cubicBezTo>
                            <a:cubicBezTo>
                              <a:pt x="5" y="24"/>
                              <a:pt x="4" y="32"/>
                              <a:pt x="2" y="40"/>
                            </a:cubicBezTo>
                            <a:cubicBezTo>
                              <a:pt x="0" y="48"/>
                              <a:pt x="5" y="56"/>
                              <a:pt x="13" y="58"/>
                            </a:cubicBezTo>
                            <a:cubicBezTo>
                              <a:pt x="14" y="58"/>
                              <a:pt x="15" y="58"/>
                              <a:pt x="16" y="58"/>
                            </a:cubicBezTo>
                            <a:cubicBezTo>
                              <a:pt x="23" y="58"/>
                              <a:pt x="29" y="53"/>
                              <a:pt x="30" y="47"/>
                            </a:cubicBezTo>
                            <a:cubicBezTo>
                              <a:pt x="32" y="36"/>
                              <a:pt x="34" y="26"/>
                              <a:pt x="34" y="15"/>
                            </a:cubicBezTo>
                            <a:cubicBezTo>
                              <a:pt x="34" y="14"/>
                              <a:pt x="34" y="14"/>
                              <a:pt x="34" y="14"/>
                            </a:cubicBezTo>
                            <a:cubicBezTo>
                              <a:pt x="34" y="6"/>
                              <a:pt x="27" y="0"/>
                              <a:pt x="19" y="0"/>
                            </a:cubicBezTo>
                            <a:close/>
                          </a:path>
                        </a:pathLst>
                      </a:custGeom>
                      <a:solidFill>
                        <a:srgbClr val="4D4D4F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=""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endParaRPr lang="en-US" sz="1200" dirty="0"/>
                      </a:p>
                    </p:txBody>
                  </p:sp>
                  <p:sp>
                    <p:nvSpPr>
                      <p:cNvPr id="1436" name="Freeform 30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4973638" y="2205038"/>
                        <a:ext cx="25400" cy="52388"/>
                      </a:xfrm>
                      <a:custGeom>
                        <a:avLst/>
                        <a:gdLst>
                          <a:gd name="T0" fmla="*/ 14 w 29"/>
                          <a:gd name="T1" fmla="*/ 0 h 58"/>
                          <a:gd name="T2" fmla="*/ 0 w 29"/>
                          <a:gd name="T3" fmla="*/ 15 h 58"/>
                          <a:gd name="T4" fmla="*/ 0 w 29"/>
                          <a:gd name="T5" fmla="*/ 43 h 58"/>
                          <a:gd name="T6" fmla="*/ 14 w 29"/>
                          <a:gd name="T7" fmla="*/ 58 h 58"/>
                          <a:gd name="T8" fmla="*/ 29 w 29"/>
                          <a:gd name="T9" fmla="*/ 43 h 58"/>
                          <a:gd name="T10" fmla="*/ 29 w 29"/>
                          <a:gd name="T11" fmla="*/ 15 h 58"/>
                          <a:gd name="T12" fmla="*/ 14 w 29"/>
                          <a:gd name="T13" fmla="*/ 0 h 58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</a:cxnLst>
                        <a:rect l="0" t="0" r="r" b="b"/>
                        <a:pathLst>
                          <a:path w="29" h="58">
                            <a:moveTo>
                              <a:pt x="14" y="0"/>
                            </a:moveTo>
                            <a:cubicBezTo>
                              <a:pt x="6" y="0"/>
                              <a:pt x="0" y="7"/>
                              <a:pt x="0" y="15"/>
                            </a:cubicBezTo>
                            <a:cubicBezTo>
                              <a:pt x="0" y="43"/>
                              <a:pt x="0" y="43"/>
                              <a:pt x="0" y="43"/>
                            </a:cubicBezTo>
                            <a:cubicBezTo>
                              <a:pt x="0" y="51"/>
                              <a:pt x="6" y="58"/>
                              <a:pt x="14" y="58"/>
                            </a:cubicBezTo>
                            <a:cubicBezTo>
                              <a:pt x="22" y="58"/>
                              <a:pt x="29" y="51"/>
                              <a:pt x="29" y="43"/>
                            </a:cubicBezTo>
                            <a:cubicBezTo>
                              <a:pt x="29" y="15"/>
                              <a:pt x="29" y="15"/>
                              <a:pt x="29" y="15"/>
                            </a:cubicBezTo>
                            <a:cubicBezTo>
                              <a:pt x="29" y="7"/>
                              <a:pt x="22" y="0"/>
                              <a:pt x="14" y="0"/>
                            </a:cubicBezTo>
                            <a:close/>
                          </a:path>
                        </a:pathLst>
                      </a:custGeom>
                      <a:solidFill>
                        <a:srgbClr val="4D4D4F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=""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endParaRPr lang="en-US" sz="1200" dirty="0"/>
                      </a:p>
                    </p:txBody>
                  </p:sp>
                  <p:sp>
                    <p:nvSpPr>
                      <p:cNvPr id="1437" name="Freeform 31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4973638" y="2127250"/>
                        <a:ext cx="25400" cy="52388"/>
                      </a:xfrm>
                      <a:custGeom>
                        <a:avLst/>
                        <a:gdLst>
                          <a:gd name="T0" fmla="*/ 14 w 29"/>
                          <a:gd name="T1" fmla="*/ 0 h 58"/>
                          <a:gd name="T2" fmla="*/ 0 w 29"/>
                          <a:gd name="T3" fmla="*/ 15 h 58"/>
                          <a:gd name="T4" fmla="*/ 0 w 29"/>
                          <a:gd name="T5" fmla="*/ 43 h 58"/>
                          <a:gd name="T6" fmla="*/ 14 w 29"/>
                          <a:gd name="T7" fmla="*/ 58 h 58"/>
                          <a:gd name="T8" fmla="*/ 29 w 29"/>
                          <a:gd name="T9" fmla="*/ 43 h 58"/>
                          <a:gd name="T10" fmla="*/ 29 w 29"/>
                          <a:gd name="T11" fmla="*/ 15 h 58"/>
                          <a:gd name="T12" fmla="*/ 14 w 29"/>
                          <a:gd name="T13" fmla="*/ 0 h 58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</a:cxnLst>
                        <a:rect l="0" t="0" r="r" b="b"/>
                        <a:pathLst>
                          <a:path w="29" h="58">
                            <a:moveTo>
                              <a:pt x="14" y="0"/>
                            </a:moveTo>
                            <a:cubicBezTo>
                              <a:pt x="6" y="0"/>
                              <a:pt x="0" y="7"/>
                              <a:pt x="0" y="15"/>
                            </a:cubicBezTo>
                            <a:cubicBezTo>
                              <a:pt x="0" y="43"/>
                              <a:pt x="0" y="43"/>
                              <a:pt x="0" y="43"/>
                            </a:cubicBezTo>
                            <a:cubicBezTo>
                              <a:pt x="0" y="51"/>
                              <a:pt x="6" y="58"/>
                              <a:pt x="14" y="58"/>
                            </a:cubicBezTo>
                            <a:cubicBezTo>
                              <a:pt x="22" y="58"/>
                              <a:pt x="29" y="51"/>
                              <a:pt x="29" y="43"/>
                            </a:cubicBezTo>
                            <a:cubicBezTo>
                              <a:pt x="29" y="15"/>
                              <a:pt x="29" y="15"/>
                              <a:pt x="29" y="15"/>
                            </a:cubicBezTo>
                            <a:cubicBezTo>
                              <a:pt x="29" y="7"/>
                              <a:pt x="22" y="0"/>
                              <a:pt x="14" y="0"/>
                            </a:cubicBezTo>
                            <a:close/>
                          </a:path>
                        </a:pathLst>
                      </a:custGeom>
                      <a:solidFill>
                        <a:srgbClr val="4D4D4F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=""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endParaRPr lang="en-US" sz="1200" dirty="0"/>
                      </a:p>
                    </p:txBody>
                  </p:sp>
                  <p:sp>
                    <p:nvSpPr>
                      <p:cNvPr id="1438" name="Freeform 32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4546601" y="2470150"/>
                        <a:ext cx="53975" cy="33338"/>
                      </a:xfrm>
                      <a:custGeom>
                        <a:avLst/>
                        <a:gdLst>
                          <a:gd name="T0" fmla="*/ 46 w 60"/>
                          <a:gd name="T1" fmla="*/ 8 h 37"/>
                          <a:gd name="T2" fmla="*/ 21 w 60"/>
                          <a:gd name="T3" fmla="*/ 2 h 37"/>
                          <a:gd name="T4" fmla="*/ 3 w 60"/>
                          <a:gd name="T5" fmla="*/ 11 h 37"/>
                          <a:gd name="T6" fmla="*/ 12 w 60"/>
                          <a:gd name="T7" fmla="*/ 30 h 37"/>
                          <a:gd name="T8" fmla="*/ 43 w 60"/>
                          <a:gd name="T9" fmla="*/ 37 h 37"/>
                          <a:gd name="T10" fmla="*/ 44 w 60"/>
                          <a:gd name="T11" fmla="*/ 37 h 37"/>
                          <a:gd name="T12" fmla="*/ 59 w 60"/>
                          <a:gd name="T13" fmla="*/ 24 h 37"/>
                          <a:gd name="T14" fmla="*/ 46 w 60"/>
                          <a:gd name="T15" fmla="*/ 8 h 37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  <a:cxn ang="0">
                            <a:pos x="T14" y="T15"/>
                          </a:cxn>
                        </a:cxnLst>
                        <a:rect l="0" t="0" r="r" b="b"/>
                        <a:pathLst>
                          <a:path w="60" h="37">
                            <a:moveTo>
                              <a:pt x="46" y="8"/>
                            </a:moveTo>
                            <a:cubicBezTo>
                              <a:pt x="38" y="7"/>
                              <a:pt x="29" y="5"/>
                              <a:pt x="21" y="2"/>
                            </a:cubicBezTo>
                            <a:cubicBezTo>
                              <a:pt x="14" y="0"/>
                              <a:pt x="6" y="4"/>
                              <a:pt x="3" y="11"/>
                            </a:cubicBezTo>
                            <a:cubicBezTo>
                              <a:pt x="0" y="19"/>
                              <a:pt x="4" y="27"/>
                              <a:pt x="12" y="30"/>
                            </a:cubicBezTo>
                            <a:cubicBezTo>
                              <a:pt x="22" y="33"/>
                              <a:pt x="32" y="36"/>
                              <a:pt x="43" y="37"/>
                            </a:cubicBezTo>
                            <a:cubicBezTo>
                              <a:pt x="43" y="37"/>
                              <a:pt x="44" y="37"/>
                              <a:pt x="44" y="37"/>
                            </a:cubicBezTo>
                            <a:cubicBezTo>
                              <a:pt x="51" y="37"/>
                              <a:pt x="58" y="32"/>
                              <a:pt x="59" y="24"/>
                            </a:cubicBezTo>
                            <a:cubicBezTo>
                              <a:pt x="60" y="16"/>
                              <a:pt x="54" y="9"/>
                              <a:pt x="46" y="8"/>
                            </a:cubicBezTo>
                            <a:close/>
                          </a:path>
                        </a:pathLst>
                      </a:custGeom>
                      <a:solidFill>
                        <a:srgbClr val="4D4D4F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=""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endParaRPr lang="en-US" sz="1200" dirty="0"/>
                      </a:p>
                    </p:txBody>
                  </p:sp>
                  <p:sp>
                    <p:nvSpPr>
                      <p:cNvPr id="1439" name="Freeform 33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4781551" y="2478088"/>
                        <a:ext cx="50800" cy="25400"/>
                      </a:xfrm>
                      <a:custGeom>
                        <a:avLst/>
                        <a:gdLst>
                          <a:gd name="T0" fmla="*/ 43 w 57"/>
                          <a:gd name="T1" fmla="*/ 0 h 29"/>
                          <a:gd name="T2" fmla="*/ 14 w 57"/>
                          <a:gd name="T3" fmla="*/ 0 h 29"/>
                          <a:gd name="T4" fmla="*/ 0 w 57"/>
                          <a:gd name="T5" fmla="*/ 15 h 29"/>
                          <a:gd name="T6" fmla="*/ 14 w 57"/>
                          <a:gd name="T7" fmla="*/ 29 h 29"/>
                          <a:gd name="T8" fmla="*/ 43 w 57"/>
                          <a:gd name="T9" fmla="*/ 29 h 29"/>
                          <a:gd name="T10" fmla="*/ 57 w 57"/>
                          <a:gd name="T11" fmla="*/ 15 h 29"/>
                          <a:gd name="T12" fmla="*/ 43 w 57"/>
                          <a:gd name="T13" fmla="*/ 0 h 29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</a:cxnLst>
                        <a:rect l="0" t="0" r="r" b="b"/>
                        <a:pathLst>
                          <a:path w="57" h="29">
                            <a:moveTo>
                              <a:pt x="43" y="0"/>
                            </a:moveTo>
                            <a:cubicBezTo>
                              <a:pt x="14" y="0"/>
                              <a:pt x="14" y="0"/>
                              <a:pt x="14" y="0"/>
                            </a:cubicBezTo>
                            <a:cubicBezTo>
                              <a:pt x="6" y="0"/>
                              <a:pt x="0" y="7"/>
                              <a:pt x="0" y="15"/>
                            </a:cubicBezTo>
                            <a:cubicBezTo>
                              <a:pt x="0" y="23"/>
                              <a:pt x="6" y="29"/>
                              <a:pt x="14" y="29"/>
                            </a:cubicBezTo>
                            <a:cubicBezTo>
                              <a:pt x="43" y="29"/>
                              <a:pt x="43" y="29"/>
                              <a:pt x="43" y="29"/>
                            </a:cubicBezTo>
                            <a:cubicBezTo>
                              <a:pt x="51" y="29"/>
                              <a:pt x="57" y="23"/>
                              <a:pt x="57" y="15"/>
                            </a:cubicBezTo>
                            <a:cubicBezTo>
                              <a:pt x="57" y="7"/>
                              <a:pt x="51" y="0"/>
                              <a:pt x="43" y="0"/>
                            </a:cubicBezTo>
                            <a:close/>
                          </a:path>
                        </a:pathLst>
                      </a:custGeom>
                      <a:solidFill>
                        <a:srgbClr val="4D4D4F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=""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endParaRPr lang="en-US" sz="1200" dirty="0"/>
                      </a:p>
                    </p:txBody>
                  </p:sp>
                  <p:sp>
                    <p:nvSpPr>
                      <p:cNvPr id="1440" name="Freeform 34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4703763" y="2478088"/>
                        <a:ext cx="50800" cy="25400"/>
                      </a:xfrm>
                      <a:custGeom>
                        <a:avLst/>
                        <a:gdLst>
                          <a:gd name="T0" fmla="*/ 44 w 58"/>
                          <a:gd name="T1" fmla="*/ 0 h 29"/>
                          <a:gd name="T2" fmla="*/ 15 w 58"/>
                          <a:gd name="T3" fmla="*/ 0 h 29"/>
                          <a:gd name="T4" fmla="*/ 0 w 58"/>
                          <a:gd name="T5" fmla="*/ 15 h 29"/>
                          <a:gd name="T6" fmla="*/ 15 w 58"/>
                          <a:gd name="T7" fmla="*/ 29 h 29"/>
                          <a:gd name="T8" fmla="*/ 44 w 58"/>
                          <a:gd name="T9" fmla="*/ 29 h 29"/>
                          <a:gd name="T10" fmla="*/ 58 w 58"/>
                          <a:gd name="T11" fmla="*/ 15 h 29"/>
                          <a:gd name="T12" fmla="*/ 44 w 58"/>
                          <a:gd name="T13" fmla="*/ 0 h 29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</a:cxnLst>
                        <a:rect l="0" t="0" r="r" b="b"/>
                        <a:pathLst>
                          <a:path w="58" h="29">
                            <a:moveTo>
                              <a:pt x="44" y="0"/>
                            </a:moveTo>
                            <a:cubicBezTo>
                              <a:pt x="15" y="0"/>
                              <a:pt x="15" y="0"/>
                              <a:pt x="15" y="0"/>
                            </a:cubicBezTo>
                            <a:cubicBezTo>
                              <a:pt x="7" y="0"/>
                              <a:pt x="0" y="7"/>
                              <a:pt x="0" y="15"/>
                            </a:cubicBezTo>
                            <a:cubicBezTo>
                              <a:pt x="0" y="23"/>
                              <a:pt x="7" y="29"/>
                              <a:pt x="15" y="29"/>
                            </a:cubicBezTo>
                            <a:cubicBezTo>
                              <a:pt x="44" y="29"/>
                              <a:pt x="44" y="29"/>
                              <a:pt x="44" y="29"/>
                            </a:cubicBezTo>
                            <a:cubicBezTo>
                              <a:pt x="51" y="29"/>
                              <a:pt x="58" y="23"/>
                              <a:pt x="58" y="15"/>
                            </a:cubicBezTo>
                            <a:cubicBezTo>
                              <a:pt x="58" y="7"/>
                              <a:pt x="51" y="0"/>
                              <a:pt x="44" y="0"/>
                            </a:cubicBezTo>
                            <a:close/>
                          </a:path>
                        </a:pathLst>
                      </a:custGeom>
                      <a:solidFill>
                        <a:srgbClr val="4D4D4F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=""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endParaRPr lang="en-US" sz="1200" dirty="0"/>
                      </a:p>
                    </p:txBody>
                  </p:sp>
                  <p:sp>
                    <p:nvSpPr>
                      <p:cNvPr id="1441" name="Freeform 35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4625976" y="2478088"/>
                        <a:ext cx="52388" cy="25400"/>
                      </a:xfrm>
                      <a:custGeom>
                        <a:avLst/>
                        <a:gdLst>
                          <a:gd name="T0" fmla="*/ 43 w 58"/>
                          <a:gd name="T1" fmla="*/ 0 h 29"/>
                          <a:gd name="T2" fmla="*/ 15 w 58"/>
                          <a:gd name="T3" fmla="*/ 0 h 29"/>
                          <a:gd name="T4" fmla="*/ 0 w 58"/>
                          <a:gd name="T5" fmla="*/ 15 h 29"/>
                          <a:gd name="T6" fmla="*/ 15 w 58"/>
                          <a:gd name="T7" fmla="*/ 29 h 29"/>
                          <a:gd name="T8" fmla="*/ 43 w 58"/>
                          <a:gd name="T9" fmla="*/ 29 h 29"/>
                          <a:gd name="T10" fmla="*/ 58 w 58"/>
                          <a:gd name="T11" fmla="*/ 15 h 29"/>
                          <a:gd name="T12" fmla="*/ 43 w 58"/>
                          <a:gd name="T13" fmla="*/ 0 h 29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</a:cxnLst>
                        <a:rect l="0" t="0" r="r" b="b"/>
                        <a:pathLst>
                          <a:path w="58" h="29">
                            <a:moveTo>
                              <a:pt x="43" y="0"/>
                            </a:moveTo>
                            <a:cubicBezTo>
                              <a:pt x="15" y="0"/>
                              <a:pt x="15" y="0"/>
                              <a:pt x="15" y="0"/>
                            </a:cubicBezTo>
                            <a:cubicBezTo>
                              <a:pt x="7" y="0"/>
                              <a:pt x="0" y="7"/>
                              <a:pt x="0" y="15"/>
                            </a:cubicBezTo>
                            <a:cubicBezTo>
                              <a:pt x="0" y="23"/>
                              <a:pt x="7" y="29"/>
                              <a:pt x="15" y="29"/>
                            </a:cubicBezTo>
                            <a:cubicBezTo>
                              <a:pt x="43" y="29"/>
                              <a:pt x="43" y="29"/>
                              <a:pt x="43" y="29"/>
                            </a:cubicBezTo>
                            <a:cubicBezTo>
                              <a:pt x="51" y="29"/>
                              <a:pt x="58" y="23"/>
                              <a:pt x="58" y="15"/>
                            </a:cubicBezTo>
                            <a:cubicBezTo>
                              <a:pt x="58" y="7"/>
                              <a:pt x="51" y="0"/>
                              <a:pt x="43" y="0"/>
                            </a:cubicBezTo>
                            <a:close/>
                          </a:path>
                        </a:pathLst>
                      </a:custGeom>
                      <a:solidFill>
                        <a:srgbClr val="4D4D4F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=""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endParaRPr lang="en-US" sz="1200" dirty="0"/>
                      </a:p>
                    </p:txBody>
                  </p:sp>
                  <p:sp>
                    <p:nvSpPr>
                      <p:cNvPr id="1442" name="Freeform 38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4859338" y="2473325"/>
                        <a:ext cx="52388" cy="30163"/>
                      </a:xfrm>
                      <a:custGeom>
                        <a:avLst/>
                        <a:gdLst>
                          <a:gd name="T0" fmla="*/ 39 w 58"/>
                          <a:gd name="T1" fmla="*/ 2 h 34"/>
                          <a:gd name="T2" fmla="*/ 14 w 58"/>
                          <a:gd name="T3" fmla="*/ 5 h 34"/>
                          <a:gd name="T4" fmla="*/ 0 w 58"/>
                          <a:gd name="T5" fmla="*/ 20 h 34"/>
                          <a:gd name="T6" fmla="*/ 14 w 58"/>
                          <a:gd name="T7" fmla="*/ 34 h 34"/>
                          <a:gd name="T8" fmla="*/ 14 w 58"/>
                          <a:gd name="T9" fmla="*/ 34 h 34"/>
                          <a:gd name="T10" fmla="*/ 46 w 58"/>
                          <a:gd name="T11" fmla="*/ 30 h 34"/>
                          <a:gd name="T12" fmla="*/ 56 w 58"/>
                          <a:gd name="T13" fmla="*/ 12 h 34"/>
                          <a:gd name="T14" fmla="*/ 39 w 58"/>
                          <a:gd name="T15" fmla="*/ 2 h 34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  <a:cxn ang="0">
                            <a:pos x="T14" y="T15"/>
                          </a:cxn>
                        </a:cxnLst>
                        <a:rect l="0" t="0" r="r" b="b"/>
                        <a:pathLst>
                          <a:path w="58" h="34">
                            <a:moveTo>
                              <a:pt x="39" y="2"/>
                            </a:moveTo>
                            <a:cubicBezTo>
                              <a:pt x="31" y="4"/>
                              <a:pt x="22" y="5"/>
                              <a:pt x="14" y="5"/>
                            </a:cubicBezTo>
                            <a:cubicBezTo>
                              <a:pt x="6" y="5"/>
                              <a:pt x="0" y="12"/>
                              <a:pt x="0" y="20"/>
                            </a:cubicBezTo>
                            <a:cubicBezTo>
                              <a:pt x="0" y="28"/>
                              <a:pt x="6" y="34"/>
                              <a:pt x="14" y="34"/>
                            </a:cubicBezTo>
                            <a:cubicBezTo>
                              <a:pt x="14" y="34"/>
                              <a:pt x="14" y="34"/>
                              <a:pt x="14" y="34"/>
                            </a:cubicBezTo>
                            <a:cubicBezTo>
                              <a:pt x="25" y="34"/>
                              <a:pt x="36" y="32"/>
                              <a:pt x="46" y="30"/>
                            </a:cubicBezTo>
                            <a:cubicBezTo>
                              <a:pt x="54" y="28"/>
                              <a:pt x="58" y="20"/>
                              <a:pt x="56" y="12"/>
                            </a:cubicBezTo>
                            <a:cubicBezTo>
                              <a:pt x="55" y="5"/>
                              <a:pt x="47" y="0"/>
                              <a:pt x="39" y="2"/>
                            </a:cubicBezTo>
                            <a:close/>
                          </a:path>
                        </a:pathLst>
                      </a:custGeom>
                      <a:solidFill>
                        <a:srgbClr val="4D4D4F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=""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endParaRPr lang="en-US" sz="1200" dirty="0"/>
                      </a:p>
                    </p:txBody>
                  </p:sp>
                </p:grpSp>
                <p:sp>
                  <p:nvSpPr>
                    <p:cNvPr id="1419" name="Freeform 12"/>
                    <p:cNvSpPr>
                      <a:spLocks noEditPoints="1"/>
                    </p:cNvSpPr>
                    <p:nvPr/>
                  </p:nvSpPr>
                  <p:spPr bwMode="auto">
                    <a:xfrm>
                      <a:off x="5406483" y="2446478"/>
                      <a:ext cx="214941" cy="191168"/>
                    </a:xfrm>
                    <a:custGeom>
                      <a:avLst/>
                      <a:gdLst>
                        <a:gd name="T0" fmla="*/ 419 w 494"/>
                        <a:gd name="T1" fmla="*/ 299 h 448"/>
                        <a:gd name="T2" fmla="*/ 403 w 494"/>
                        <a:gd name="T3" fmla="*/ 301 h 448"/>
                        <a:gd name="T4" fmla="*/ 302 w 494"/>
                        <a:gd name="T5" fmla="*/ 126 h 448"/>
                        <a:gd name="T6" fmla="*/ 322 w 494"/>
                        <a:gd name="T7" fmla="*/ 75 h 448"/>
                        <a:gd name="T8" fmla="*/ 247 w 494"/>
                        <a:gd name="T9" fmla="*/ 0 h 448"/>
                        <a:gd name="T10" fmla="*/ 173 w 494"/>
                        <a:gd name="T11" fmla="*/ 75 h 448"/>
                        <a:gd name="T12" fmla="*/ 193 w 494"/>
                        <a:gd name="T13" fmla="*/ 126 h 448"/>
                        <a:gd name="T14" fmla="*/ 91 w 494"/>
                        <a:gd name="T15" fmla="*/ 301 h 448"/>
                        <a:gd name="T16" fmla="*/ 75 w 494"/>
                        <a:gd name="T17" fmla="*/ 299 h 448"/>
                        <a:gd name="T18" fmla="*/ 0 w 494"/>
                        <a:gd name="T19" fmla="*/ 373 h 448"/>
                        <a:gd name="T20" fmla="*/ 75 w 494"/>
                        <a:gd name="T21" fmla="*/ 448 h 448"/>
                        <a:gd name="T22" fmla="*/ 146 w 494"/>
                        <a:gd name="T23" fmla="*/ 395 h 448"/>
                        <a:gd name="T24" fmla="*/ 349 w 494"/>
                        <a:gd name="T25" fmla="*/ 395 h 448"/>
                        <a:gd name="T26" fmla="*/ 419 w 494"/>
                        <a:gd name="T27" fmla="*/ 448 h 448"/>
                        <a:gd name="T28" fmla="*/ 494 w 494"/>
                        <a:gd name="T29" fmla="*/ 373 h 448"/>
                        <a:gd name="T30" fmla="*/ 419 w 494"/>
                        <a:gd name="T31" fmla="*/ 299 h 448"/>
                        <a:gd name="T32" fmla="*/ 349 w 494"/>
                        <a:gd name="T33" fmla="*/ 351 h 448"/>
                        <a:gd name="T34" fmla="*/ 146 w 494"/>
                        <a:gd name="T35" fmla="*/ 351 h 448"/>
                        <a:gd name="T36" fmla="*/ 130 w 494"/>
                        <a:gd name="T37" fmla="*/ 323 h 448"/>
                        <a:gd name="T38" fmla="*/ 231 w 494"/>
                        <a:gd name="T39" fmla="*/ 148 h 448"/>
                        <a:gd name="T40" fmla="*/ 247 w 494"/>
                        <a:gd name="T41" fmla="*/ 150 h 448"/>
                        <a:gd name="T42" fmla="*/ 264 w 494"/>
                        <a:gd name="T43" fmla="*/ 148 h 448"/>
                        <a:gd name="T44" fmla="*/ 365 w 494"/>
                        <a:gd name="T45" fmla="*/ 323 h 448"/>
                        <a:gd name="T46" fmla="*/ 349 w 494"/>
                        <a:gd name="T47" fmla="*/ 351 h 44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</a:cxnLst>
                      <a:rect l="0" t="0" r="r" b="b"/>
                      <a:pathLst>
                        <a:path w="494" h="448">
                          <a:moveTo>
                            <a:pt x="419" y="299"/>
                          </a:moveTo>
                          <a:cubicBezTo>
                            <a:pt x="414" y="299"/>
                            <a:pt x="408" y="300"/>
                            <a:pt x="403" y="301"/>
                          </a:cubicBezTo>
                          <a:cubicBezTo>
                            <a:pt x="302" y="126"/>
                            <a:pt x="302" y="126"/>
                            <a:pt x="302" y="126"/>
                          </a:cubicBezTo>
                          <a:cubicBezTo>
                            <a:pt x="314" y="112"/>
                            <a:pt x="322" y="95"/>
                            <a:pt x="322" y="75"/>
                          </a:cubicBezTo>
                          <a:cubicBezTo>
                            <a:pt x="322" y="34"/>
                            <a:pt x="288" y="0"/>
                            <a:pt x="247" y="0"/>
                          </a:cubicBezTo>
                          <a:cubicBezTo>
                            <a:pt x="206" y="0"/>
                            <a:pt x="173" y="34"/>
                            <a:pt x="173" y="75"/>
                          </a:cubicBezTo>
                          <a:cubicBezTo>
                            <a:pt x="173" y="95"/>
                            <a:pt x="180" y="112"/>
                            <a:pt x="193" y="126"/>
                          </a:cubicBezTo>
                          <a:cubicBezTo>
                            <a:pt x="91" y="301"/>
                            <a:pt x="91" y="301"/>
                            <a:pt x="91" y="301"/>
                          </a:cubicBezTo>
                          <a:cubicBezTo>
                            <a:pt x="86" y="300"/>
                            <a:pt x="81" y="299"/>
                            <a:pt x="75" y="299"/>
                          </a:cubicBezTo>
                          <a:cubicBezTo>
                            <a:pt x="34" y="299"/>
                            <a:pt x="0" y="332"/>
                            <a:pt x="0" y="373"/>
                          </a:cubicBezTo>
                          <a:cubicBezTo>
                            <a:pt x="0" y="415"/>
                            <a:pt x="34" y="448"/>
                            <a:pt x="75" y="448"/>
                          </a:cubicBezTo>
                          <a:cubicBezTo>
                            <a:pt x="108" y="448"/>
                            <a:pt x="136" y="426"/>
                            <a:pt x="146" y="395"/>
                          </a:cubicBezTo>
                          <a:cubicBezTo>
                            <a:pt x="349" y="395"/>
                            <a:pt x="349" y="395"/>
                            <a:pt x="349" y="395"/>
                          </a:cubicBezTo>
                          <a:cubicBezTo>
                            <a:pt x="358" y="426"/>
                            <a:pt x="386" y="448"/>
                            <a:pt x="419" y="448"/>
                          </a:cubicBezTo>
                          <a:cubicBezTo>
                            <a:pt x="461" y="448"/>
                            <a:pt x="494" y="415"/>
                            <a:pt x="494" y="373"/>
                          </a:cubicBezTo>
                          <a:cubicBezTo>
                            <a:pt x="494" y="332"/>
                            <a:pt x="461" y="299"/>
                            <a:pt x="419" y="299"/>
                          </a:cubicBezTo>
                          <a:close/>
                          <a:moveTo>
                            <a:pt x="349" y="351"/>
                          </a:moveTo>
                          <a:cubicBezTo>
                            <a:pt x="146" y="351"/>
                            <a:pt x="146" y="351"/>
                            <a:pt x="146" y="351"/>
                          </a:cubicBezTo>
                          <a:cubicBezTo>
                            <a:pt x="142" y="341"/>
                            <a:pt x="137" y="331"/>
                            <a:pt x="130" y="323"/>
                          </a:cubicBezTo>
                          <a:cubicBezTo>
                            <a:pt x="231" y="148"/>
                            <a:pt x="231" y="148"/>
                            <a:pt x="231" y="148"/>
                          </a:cubicBezTo>
                          <a:cubicBezTo>
                            <a:pt x="236" y="149"/>
                            <a:pt x="242" y="150"/>
                            <a:pt x="247" y="150"/>
                          </a:cubicBezTo>
                          <a:cubicBezTo>
                            <a:pt x="253" y="150"/>
                            <a:pt x="258" y="149"/>
                            <a:pt x="264" y="148"/>
                          </a:cubicBezTo>
                          <a:cubicBezTo>
                            <a:pt x="365" y="323"/>
                            <a:pt x="365" y="323"/>
                            <a:pt x="365" y="323"/>
                          </a:cubicBezTo>
                          <a:cubicBezTo>
                            <a:pt x="358" y="331"/>
                            <a:pt x="352" y="341"/>
                            <a:pt x="349" y="351"/>
                          </a:cubicBezTo>
                          <a:close/>
                        </a:path>
                      </a:pathLst>
                    </a:custGeom>
                    <a:solidFill>
                      <a:schemeClr val="bg1"/>
                    </a:solidFill>
                    <a:ln>
                      <a:noFill/>
                    </a:ln>
                    <a:extLst/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 sz="1200" dirty="0"/>
                    </a:p>
                  </p:txBody>
                </p:sp>
              </p:grpSp>
            </p:grpSp>
            <p:grpSp>
              <p:nvGrpSpPr>
                <p:cNvPr id="1388" name="Group 1387"/>
                <p:cNvGrpSpPr/>
                <p:nvPr/>
              </p:nvGrpSpPr>
              <p:grpSpPr>
                <a:xfrm>
                  <a:off x="4052026" y="3274323"/>
                  <a:ext cx="309857" cy="268010"/>
                  <a:chOff x="5310724" y="2352924"/>
                  <a:chExt cx="398754" cy="374816"/>
                </a:xfrm>
              </p:grpSpPr>
              <p:sp>
                <p:nvSpPr>
                  <p:cNvPr id="1389" name="Rounded Rectangle 1388"/>
                  <p:cNvSpPr/>
                  <p:nvPr/>
                </p:nvSpPr>
                <p:spPr>
                  <a:xfrm>
                    <a:off x="5351561" y="2386601"/>
                    <a:ext cx="308105" cy="310923"/>
                  </a:xfrm>
                  <a:prstGeom prst="roundRect">
                    <a:avLst/>
                  </a:prstGeom>
                  <a:solidFill>
                    <a:srgbClr val="948A54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grpSp>
                <p:nvGrpSpPr>
                  <p:cNvPr id="1390" name="Group 1389"/>
                  <p:cNvGrpSpPr/>
                  <p:nvPr/>
                </p:nvGrpSpPr>
                <p:grpSpPr>
                  <a:xfrm>
                    <a:off x="5310724" y="2352924"/>
                    <a:ext cx="398754" cy="374816"/>
                    <a:chOff x="5310724" y="2352924"/>
                    <a:chExt cx="398754" cy="374816"/>
                  </a:xfrm>
                </p:grpSpPr>
                <p:grpSp>
                  <p:nvGrpSpPr>
                    <p:cNvPr id="1391" name="Group 1390"/>
                    <p:cNvGrpSpPr/>
                    <p:nvPr/>
                  </p:nvGrpSpPr>
                  <p:grpSpPr>
                    <a:xfrm rot="5400000">
                      <a:off x="5322693" y="2340955"/>
                      <a:ext cx="374816" cy="398754"/>
                      <a:chOff x="4471988" y="1985963"/>
                      <a:chExt cx="527051" cy="517525"/>
                    </a:xfrm>
                  </p:grpSpPr>
                  <p:sp>
                    <p:nvSpPr>
                      <p:cNvPr id="1393" name="Freeform 13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4471988" y="2117725"/>
                        <a:ext cx="25400" cy="50800"/>
                      </a:xfrm>
                      <a:custGeom>
                        <a:avLst/>
                        <a:gdLst>
                          <a:gd name="T0" fmla="*/ 14 w 29"/>
                          <a:gd name="T1" fmla="*/ 57 h 57"/>
                          <a:gd name="T2" fmla="*/ 29 w 29"/>
                          <a:gd name="T3" fmla="*/ 43 h 57"/>
                          <a:gd name="T4" fmla="*/ 29 w 29"/>
                          <a:gd name="T5" fmla="*/ 14 h 57"/>
                          <a:gd name="T6" fmla="*/ 14 w 29"/>
                          <a:gd name="T7" fmla="*/ 0 h 57"/>
                          <a:gd name="T8" fmla="*/ 0 w 29"/>
                          <a:gd name="T9" fmla="*/ 14 h 57"/>
                          <a:gd name="T10" fmla="*/ 0 w 29"/>
                          <a:gd name="T11" fmla="*/ 43 h 57"/>
                          <a:gd name="T12" fmla="*/ 14 w 29"/>
                          <a:gd name="T13" fmla="*/ 57 h 57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</a:cxnLst>
                        <a:rect l="0" t="0" r="r" b="b"/>
                        <a:pathLst>
                          <a:path w="29" h="57">
                            <a:moveTo>
                              <a:pt x="14" y="57"/>
                            </a:moveTo>
                            <a:cubicBezTo>
                              <a:pt x="22" y="57"/>
                              <a:pt x="29" y="51"/>
                              <a:pt x="29" y="43"/>
                            </a:cubicBezTo>
                            <a:cubicBezTo>
                              <a:pt x="29" y="14"/>
                              <a:pt x="29" y="14"/>
                              <a:pt x="29" y="14"/>
                            </a:cubicBezTo>
                            <a:cubicBezTo>
                              <a:pt x="29" y="6"/>
                              <a:pt x="22" y="0"/>
                              <a:pt x="14" y="0"/>
                            </a:cubicBezTo>
                            <a:cubicBezTo>
                              <a:pt x="7" y="0"/>
                              <a:pt x="0" y="6"/>
                              <a:pt x="0" y="14"/>
                            </a:cubicBezTo>
                            <a:cubicBezTo>
                              <a:pt x="0" y="43"/>
                              <a:pt x="0" y="43"/>
                              <a:pt x="0" y="43"/>
                            </a:cubicBezTo>
                            <a:cubicBezTo>
                              <a:pt x="0" y="51"/>
                              <a:pt x="7" y="57"/>
                              <a:pt x="14" y="57"/>
                            </a:cubicBezTo>
                            <a:close/>
                          </a:path>
                        </a:pathLst>
                      </a:custGeom>
                      <a:solidFill>
                        <a:srgbClr val="4D4D4F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=""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endParaRPr lang="en-US" sz="1200" dirty="0"/>
                      </a:p>
                    </p:txBody>
                  </p:sp>
                  <p:sp>
                    <p:nvSpPr>
                      <p:cNvPr id="1394" name="Freeform 14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4471988" y="2271713"/>
                        <a:ext cx="25400" cy="52388"/>
                      </a:xfrm>
                      <a:custGeom>
                        <a:avLst/>
                        <a:gdLst>
                          <a:gd name="T0" fmla="*/ 14 w 29"/>
                          <a:gd name="T1" fmla="*/ 58 h 58"/>
                          <a:gd name="T2" fmla="*/ 29 w 29"/>
                          <a:gd name="T3" fmla="*/ 43 h 58"/>
                          <a:gd name="T4" fmla="*/ 29 w 29"/>
                          <a:gd name="T5" fmla="*/ 15 h 58"/>
                          <a:gd name="T6" fmla="*/ 14 w 29"/>
                          <a:gd name="T7" fmla="*/ 0 h 58"/>
                          <a:gd name="T8" fmla="*/ 0 w 29"/>
                          <a:gd name="T9" fmla="*/ 15 h 58"/>
                          <a:gd name="T10" fmla="*/ 0 w 29"/>
                          <a:gd name="T11" fmla="*/ 43 h 58"/>
                          <a:gd name="T12" fmla="*/ 14 w 29"/>
                          <a:gd name="T13" fmla="*/ 58 h 58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</a:cxnLst>
                        <a:rect l="0" t="0" r="r" b="b"/>
                        <a:pathLst>
                          <a:path w="29" h="58">
                            <a:moveTo>
                              <a:pt x="14" y="58"/>
                            </a:moveTo>
                            <a:cubicBezTo>
                              <a:pt x="22" y="58"/>
                              <a:pt x="29" y="51"/>
                              <a:pt x="29" y="43"/>
                            </a:cubicBezTo>
                            <a:cubicBezTo>
                              <a:pt x="29" y="15"/>
                              <a:pt x="29" y="15"/>
                              <a:pt x="29" y="15"/>
                            </a:cubicBezTo>
                            <a:cubicBezTo>
                              <a:pt x="29" y="7"/>
                              <a:pt x="22" y="0"/>
                              <a:pt x="14" y="0"/>
                            </a:cubicBezTo>
                            <a:cubicBezTo>
                              <a:pt x="7" y="0"/>
                              <a:pt x="0" y="7"/>
                              <a:pt x="0" y="15"/>
                            </a:cubicBezTo>
                            <a:cubicBezTo>
                              <a:pt x="0" y="43"/>
                              <a:pt x="0" y="43"/>
                              <a:pt x="0" y="43"/>
                            </a:cubicBezTo>
                            <a:cubicBezTo>
                              <a:pt x="0" y="51"/>
                              <a:pt x="7" y="58"/>
                              <a:pt x="14" y="58"/>
                            </a:cubicBezTo>
                            <a:close/>
                          </a:path>
                        </a:pathLst>
                      </a:custGeom>
                      <a:solidFill>
                        <a:srgbClr val="4D4D4F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=""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endParaRPr lang="en-US" sz="1200" dirty="0"/>
                      </a:p>
                    </p:txBody>
                  </p:sp>
                  <p:sp>
                    <p:nvSpPr>
                      <p:cNvPr id="1395" name="Freeform 15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4487863" y="2422525"/>
                        <a:ext cx="44450" cy="47625"/>
                      </a:xfrm>
                      <a:custGeom>
                        <a:avLst/>
                        <a:gdLst>
                          <a:gd name="T0" fmla="*/ 29 w 50"/>
                          <a:gd name="T1" fmla="*/ 8 h 53"/>
                          <a:gd name="T2" fmla="*/ 9 w 50"/>
                          <a:gd name="T3" fmla="*/ 4 h 53"/>
                          <a:gd name="T4" fmla="*/ 4 w 50"/>
                          <a:gd name="T5" fmla="*/ 24 h 53"/>
                          <a:gd name="T6" fmla="*/ 24 w 50"/>
                          <a:gd name="T7" fmla="*/ 49 h 53"/>
                          <a:gd name="T8" fmla="*/ 34 w 50"/>
                          <a:gd name="T9" fmla="*/ 53 h 53"/>
                          <a:gd name="T10" fmla="*/ 45 w 50"/>
                          <a:gd name="T11" fmla="*/ 49 h 53"/>
                          <a:gd name="T12" fmla="*/ 45 w 50"/>
                          <a:gd name="T13" fmla="*/ 28 h 53"/>
                          <a:gd name="T14" fmla="*/ 29 w 50"/>
                          <a:gd name="T15" fmla="*/ 8 h 53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  <a:cxn ang="0">
                            <a:pos x="T14" y="T15"/>
                          </a:cxn>
                        </a:cxnLst>
                        <a:rect l="0" t="0" r="r" b="b"/>
                        <a:pathLst>
                          <a:path w="50" h="53">
                            <a:moveTo>
                              <a:pt x="29" y="8"/>
                            </a:moveTo>
                            <a:cubicBezTo>
                              <a:pt x="24" y="2"/>
                              <a:pt x="15" y="0"/>
                              <a:pt x="9" y="4"/>
                            </a:cubicBezTo>
                            <a:cubicBezTo>
                              <a:pt x="2" y="8"/>
                              <a:pt x="0" y="17"/>
                              <a:pt x="4" y="24"/>
                            </a:cubicBezTo>
                            <a:cubicBezTo>
                              <a:pt x="10" y="33"/>
                              <a:pt x="17" y="41"/>
                              <a:pt x="24" y="49"/>
                            </a:cubicBezTo>
                            <a:cubicBezTo>
                              <a:pt x="27" y="51"/>
                              <a:pt x="31" y="53"/>
                              <a:pt x="34" y="53"/>
                            </a:cubicBezTo>
                            <a:cubicBezTo>
                              <a:pt x="38" y="53"/>
                              <a:pt x="42" y="51"/>
                              <a:pt x="45" y="49"/>
                            </a:cubicBezTo>
                            <a:cubicBezTo>
                              <a:pt x="50" y="43"/>
                              <a:pt x="50" y="34"/>
                              <a:pt x="45" y="28"/>
                            </a:cubicBezTo>
                            <a:cubicBezTo>
                              <a:pt x="39" y="22"/>
                              <a:pt x="33" y="15"/>
                              <a:pt x="29" y="8"/>
                            </a:cubicBezTo>
                            <a:close/>
                          </a:path>
                        </a:pathLst>
                      </a:custGeom>
                      <a:solidFill>
                        <a:srgbClr val="4D4D4F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=""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endParaRPr lang="en-US" sz="1200" dirty="0"/>
                      </a:p>
                    </p:txBody>
                  </p:sp>
                  <p:sp>
                    <p:nvSpPr>
                      <p:cNvPr id="1396" name="Freeform 16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4471988" y="2193925"/>
                        <a:ext cx="25400" cy="52388"/>
                      </a:xfrm>
                      <a:custGeom>
                        <a:avLst/>
                        <a:gdLst>
                          <a:gd name="T0" fmla="*/ 14 w 29"/>
                          <a:gd name="T1" fmla="*/ 58 h 58"/>
                          <a:gd name="T2" fmla="*/ 29 w 29"/>
                          <a:gd name="T3" fmla="*/ 43 h 58"/>
                          <a:gd name="T4" fmla="*/ 29 w 29"/>
                          <a:gd name="T5" fmla="*/ 14 h 58"/>
                          <a:gd name="T6" fmla="*/ 14 w 29"/>
                          <a:gd name="T7" fmla="*/ 0 h 58"/>
                          <a:gd name="T8" fmla="*/ 0 w 29"/>
                          <a:gd name="T9" fmla="*/ 14 h 58"/>
                          <a:gd name="T10" fmla="*/ 0 w 29"/>
                          <a:gd name="T11" fmla="*/ 43 h 58"/>
                          <a:gd name="T12" fmla="*/ 14 w 29"/>
                          <a:gd name="T13" fmla="*/ 58 h 58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</a:cxnLst>
                        <a:rect l="0" t="0" r="r" b="b"/>
                        <a:pathLst>
                          <a:path w="29" h="58">
                            <a:moveTo>
                              <a:pt x="14" y="58"/>
                            </a:moveTo>
                            <a:cubicBezTo>
                              <a:pt x="22" y="58"/>
                              <a:pt x="29" y="51"/>
                              <a:pt x="29" y="43"/>
                            </a:cubicBezTo>
                            <a:cubicBezTo>
                              <a:pt x="29" y="14"/>
                              <a:pt x="29" y="14"/>
                              <a:pt x="29" y="14"/>
                            </a:cubicBezTo>
                            <a:cubicBezTo>
                              <a:pt x="29" y="6"/>
                              <a:pt x="22" y="0"/>
                              <a:pt x="14" y="0"/>
                            </a:cubicBezTo>
                            <a:cubicBezTo>
                              <a:pt x="7" y="0"/>
                              <a:pt x="0" y="6"/>
                              <a:pt x="0" y="14"/>
                            </a:cubicBezTo>
                            <a:cubicBezTo>
                              <a:pt x="0" y="43"/>
                              <a:pt x="0" y="43"/>
                              <a:pt x="0" y="43"/>
                            </a:cubicBezTo>
                            <a:cubicBezTo>
                              <a:pt x="0" y="51"/>
                              <a:pt x="7" y="58"/>
                              <a:pt x="14" y="58"/>
                            </a:cubicBezTo>
                            <a:close/>
                          </a:path>
                        </a:pathLst>
                      </a:custGeom>
                      <a:solidFill>
                        <a:srgbClr val="4D4D4F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=""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endParaRPr lang="en-US" sz="1200" dirty="0"/>
                      </a:p>
                    </p:txBody>
                  </p:sp>
                  <p:sp>
                    <p:nvSpPr>
                      <p:cNvPr id="1397" name="Freeform 17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4830763" y="1985963"/>
                        <a:ext cx="50800" cy="26988"/>
                      </a:xfrm>
                      <a:custGeom>
                        <a:avLst/>
                        <a:gdLst>
                          <a:gd name="T0" fmla="*/ 15 w 57"/>
                          <a:gd name="T1" fmla="*/ 29 h 29"/>
                          <a:gd name="T2" fmla="*/ 44 w 57"/>
                          <a:gd name="T3" fmla="*/ 29 h 29"/>
                          <a:gd name="T4" fmla="*/ 57 w 57"/>
                          <a:gd name="T5" fmla="*/ 15 h 29"/>
                          <a:gd name="T6" fmla="*/ 43 w 57"/>
                          <a:gd name="T7" fmla="*/ 0 h 29"/>
                          <a:gd name="T8" fmla="*/ 15 w 57"/>
                          <a:gd name="T9" fmla="*/ 0 h 29"/>
                          <a:gd name="T10" fmla="*/ 0 w 57"/>
                          <a:gd name="T11" fmla="*/ 15 h 29"/>
                          <a:gd name="T12" fmla="*/ 15 w 57"/>
                          <a:gd name="T13" fmla="*/ 29 h 29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</a:cxnLst>
                        <a:rect l="0" t="0" r="r" b="b"/>
                        <a:pathLst>
                          <a:path w="57" h="29">
                            <a:moveTo>
                              <a:pt x="15" y="29"/>
                            </a:moveTo>
                            <a:cubicBezTo>
                              <a:pt x="44" y="29"/>
                              <a:pt x="44" y="29"/>
                              <a:pt x="44" y="29"/>
                            </a:cubicBezTo>
                            <a:cubicBezTo>
                              <a:pt x="51" y="29"/>
                              <a:pt x="57" y="23"/>
                              <a:pt x="57" y="15"/>
                            </a:cubicBezTo>
                            <a:cubicBezTo>
                              <a:pt x="57" y="7"/>
                              <a:pt x="50" y="0"/>
                              <a:pt x="43" y="0"/>
                            </a:cubicBezTo>
                            <a:cubicBezTo>
                              <a:pt x="15" y="0"/>
                              <a:pt x="15" y="0"/>
                              <a:pt x="15" y="0"/>
                            </a:cubicBezTo>
                            <a:cubicBezTo>
                              <a:pt x="7" y="0"/>
                              <a:pt x="0" y="7"/>
                              <a:pt x="0" y="15"/>
                            </a:cubicBezTo>
                            <a:cubicBezTo>
                              <a:pt x="0" y="23"/>
                              <a:pt x="7" y="29"/>
                              <a:pt x="15" y="29"/>
                            </a:cubicBezTo>
                            <a:close/>
                          </a:path>
                        </a:pathLst>
                      </a:custGeom>
                      <a:solidFill>
                        <a:srgbClr val="4D4D4F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=""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endParaRPr lang="en-US" sz="1200" dirty="0"/>
                      </a:p>
                    </p:txBody>
                  </p:sp>
                  <p:sp>
                    <p:nvSpPr>
                      <p:cNvPr id="1398" name="Freeform 18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4905376" y="1997075"/>
                        <a:ext cx="50800" cy="41275"/>
                      </a:xfrm>
                      <a:custGeom>
                        <a:avLst/>
                        <a:gdLst>
                          <a:gd name="T0" fmla="*/ 10 w 56"/>
                          <a:gd name="T1" fmla="*/ 30 h 47"/>
                          <a:gd name="T2" fmla="*/ 31 w 56"/>
                          <a:gd name="T3" fmla="*/ 43 h 47"/>
                          <a:gd name="T4" fmla="*/ 40 w 56"/>
                          <a:gd name="T5" fmla="*/ 47 h 47"/>
                          <a:gd name="T6" fmla="*/ 51 w 56"/>
                          <a:gd name="T7" fmla="*/ 41 h 47"/>
                          <a:gd name="T8" fmla="*/ 49 w 56"/>
                          <a:gd name="T9" fmla="*/ 21 h 47"/>
                          <a:gd name="T10" fmla="*/ 22 w 56"/>
                          <a:gd name="T11" fmla="*/ 4 h 47"/>
                          <a:gd name="T12" fmla="*/ 3 w 56"/>
                          <a:gd name="T13" fmla="*/ 11 h 47"/>
                          <a:gd name="T14" fmla="*/ 10 w 56"/>
                          <a:gd name="T15" fmla="*/ 30 h 47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  <a:cxn ang="0">
                            <a:pos x="T14" y="T15"/>
                          </a:cxn>
                        </a:cxnLst>
                        <a:rect l="0" t="0" r="r" b="b"/>
                        <a:pathLst>
                          <a:path w="56" h="47">
                            <a:moveTo>
                              <a:pt x="10" y="30"/>
                            </a:moveTo>
                            <a:cubicBezTo>
                              <a:pt x="17" y="33"/>
                              <a:pt x="25" y="38"/>
                              <a:pt x="31" y="43"/>
                            </a:cubicBezTo>
                            <a:cubicBezTo>
                              <a:pt x="34" y="46"/>
                              <a:pt x="37" y="47"/>
                              <a:pt x="40" y="47"/>
                            </a:cubicBezTo>
                            <a:cubicBezTo>
                              <a:pt x="44" y="47"/>
                              <a:pt x="49" y="45"/>
                              <a:pt x="51" y="41"/>
                            </a:cubicBezTo>
                            <a:cubicBezTo>
                              <a:pt x="56" y="35"/>
                              <a:pt x="55" y="26"/>
                              <a:pt x="49" y="21"/>
                            </a:cubicBezTo>
                            <a:cubicBezTo>
                              <a:pt x="41" y="14"/>
                              <a:pt x="32" y="9"/>
                              <a:pt x="22" y="4"/>
                            </a:cubicBezTo>
                            <a:cubicBezTo>
                              <a:pt x="15" y="0"/>
                              <a:pt x="7" y="3"/>
                              <a:pt x="3" y="11"/>
                            </a:cubicBezTo>
                            <a:cubicBezTo>
                              <a:pt x="0" y="18"/>
                              <a:pt x="3" y="26"/>
                              <a:pt x="10" y="30"/>
                            </a:cubicBezTo>
                            <a:close/>
                          </a:path>
                        </a:pathLst>
                      </a:custGeom>
                      <a:solidFill>
                        <a:srgbClr val="4D4D4F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=""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endParaRPr lang="en-US" sz="1200" dirty="0"/>
                      </a:p>
                    </p:txBody>
                  </p:sp>
                  <p:sp>
                    <p:nvSpPr>
                      <p:cNvPr id="1399" name="Freeform 19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4476751" y="2039938"/>
                        <a:ext cx="39688" cy="52388"/>
                      </a:xfrm>
                      <a:custGeom>
                        <a:avLst/>
                        <a:gdLst>
                          <a:gd name="T0" fmla="*/ 12 w 45"/>
                          <a:gd name="T1" fmla="*/ 56 h 57"/>
                          <a:gd name="T2" fmla="*/ 16 w 45"/>
                          <a:gd name="T3" fmla="*/ 57 h 57"/>
                          <a:gd name="T4" fmla="*/ 30 w 45"/>
                          <a:gd name="T5" fmla="*/ 47 h 57"/>
                          <a:gd name="T6" fmla="*/ 41 w 45"/>
                          <a:gd name="T7" fmla="*/ 24 h 57"/>
                          <a:gd name="T8" fmla="*/ 36 w 45"/>
                          <a:gd name="T9" fmla="*/ 4 h 57"/>
                          <a:gd name="T10" fmla="*/ 16 w 45"/>
                          <a:gd name="T11" fmla="*/ 9 h 57"/>
                          <a:gd name="T12" fmla="*/ 3 w 45"/>
                          <a:gd name="T13" fmla="*/ 38 h 57"/>
                          <a:gd name="T14" fmla="*/ 12 w 45"/>
                          <a:gd name="T15" fmla="*/ 56 h 57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  <a:cxn ang="0">
                            <a:pos x="T14" y="T15"/>
                          </a:cxn>
                        </a:cxnLst>
                        <a:rect l="0" t="0" r="r" b="b"/>
                        <a:pathLst>
                          <a:path w="45" h="57">
                            <a:moveTo>
                              <a:pt x="12" y="56"/>
                            </a:moveTo>
                            <a:cubicBezTo>
                              <a:pt x="13" y="57"/>
                              <a:pt x="15" y="57"/>
                              <a:pt x="16" y="57"/>
                            </a:cubicBezTo>
                            <a:cubicBezTo>
                              <a:pt x="22" y="57"/>
                              <a:pt x="28" y="53"/>
                              <a:pt x="30" y="47"/>
                            </a:cubicBezTo>
                            <a:cubicBezTo>
                              <a:pt x="33" y="39"/>
                              <a:pt x="36" y="32"/>
                              <a:pt x="41" y="24"/>
                            </a:cubicBezTo>
                            <a:cubicBezTo>
                              <a:pt x="45" y="17"/>
                              <a:pt x="43" y="9"/>
                              <a:pt x="36" y="4"/>
                            </a:cubicBezTo>
                            <a:cubicBezTo>
                              <a:pt x="29" y="0"/>
                              <a:pt x="21" y="2"/>
                              <a:pt x="16" y="9"/>
                            </a:cubicBezTo>
                            <a:cubicBezTo>
                              <a:pt x="11" y="18"/>
                              <a:pt x="6" y="28"/>
                              <a:pt x="3" y="38"/>
                            </a:cubicBezTo>
                            <a:cubicBezTo>
                              <a:pt x="0" y="45"/>
                              <a:pt x="4" y="54"/>
                              <a:pt x="12" y="56"/>
                            </a:cubicBezTo>
                            <a:close/>
                          </a:path>
                        </a:pathLst>
                      </a:custGeom>
                      <a:solidFill>
                        <a:srgbClr val="4D4D4F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=""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endParaRPr lang="en-US" sz="1200" dirty="0"/>
                      </a:p>
                    </p:txBody>
                  </p:sp>
                  <p:sp>
                    <p:nvSpPr>
                      <p:cNvPr id="1400" name="Freeform 20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4522788" y="1992313"/>
                        <a:ext cx="52388" cy="39688"/>
                      </a:xfrm>
                      <a:custGeom>
                        <a:avLst/>
                        <a:gdLst>
                          <a:gd name="T0" fmla="*/ 55 w 58"/>
                          <a:gd name="T1" fmla="*/ 11 h 43"/>
                          <a:gd name="T2" fmla="*/ 37 w 58"/>
                          <a:gd name="T3" fmla="*/ 2 h 43"/>
                          <a:gd name="T4" fmla="*/ 9 w 58"/>
                          <a:gd name="T5" fmla="*/ 17 h 43"/>
                          <a:gd name="T6" fmla="*/ 4 w 58"/>
                          <a:gd name="T7" fmla="*/ 37 h 43"/>
                          <a:gd name="T8" fmla="*/ 16 w 58"/>
                          <a:gd name="T9" fmla="*/ 43 h 43"/>
                          <a:gd name="T10" fmla="*/ 24 w 58"/>
                          <a:gd name="T11" fmla="*/ 41 h 43"/>
                          <a:gd name="T12" fmla="*/ 47 w 58"/>
                          <a:gd name="T13" fmla="*/ 29 h 43"/>
                          <a:gd name="T14" fmla="*/ 55 w 58"/>
                          <a:gd name="T15" fmla="*/ 11 h 43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  <a:cxn ang="0">
                            <a:pos x="T14" y="T15"/>
                          </a:cxn>
                        </a:cxnLst>
                        <a:rect l="0" t="0" r="r" b="b"/>
                        <a:pathLst>
                          <a:path w="58" h="43">
                            <a:moveTo>
                              <a:pt x="55" y="11"/>
                            </a:moveTo>
                            <a:cubicBezTo>
                              <a:pt x="53" y="3"/>
                              <a:pt x="44" y="0"/>
                              <a:pt x="37" y="2"/>
                            </a:cubicBezTo>
                            <a:cubicBezTo>
                              <a:pt x="27" y="6"/>
                              <a:pt x="17" y="11"/>
                              <a:pt x="9" y="17"/>
                            </a:cubicBezTo>
                            <a:cubicBezTo>
                              <a:pt x="2" y="21"/>
                              <a:pt x="0" y="30"/>
                              <a:pt x="4" y="37"/>
                            </a:cubicBezTo>
                            <a:cubicBezTo>
                              <a:pt x="7" y="41"/>
                              <a:pt x="12" y="43"/>
                              <a:pt x="16" y="43"/>
                            </a:cubicBezTo>
                            <a:cubicBezTo>
                              <a:pt x="19" y="43"/>
                              <a:pt x="22" y="43"/>
                              <a:pt x="24" y="41"/>
                            </a:cubicBezTo>
                            <a:cubicBezTo>
                              <a:pt x="31" y="36"/>
                              <a:pt x="39" y="32"/>
                              <a:pt x="47" y="29"/>
                            </a:cubicBezTo>
                            <a:cubicBezTo>
                              <a:pt x="54" y="27"/>
                              <a:pt x="58" y="18"/>
                              <a:pt x="55" y="11"/>
                            </a:cubicBezTo>
                            <a:close/>
                          </a:path>
                        </a:pathLst>
                      </a:custGeom>
                      <a:solidFill>
                        <a:srgbClr val="4D4D4F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=""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endParaRPr lang="en-US" sz="1200" dirty="0"/>
                      </a:p>
                    </p:txBody>
                  </p:sp>
                  <p:sp>
                    <p:nvSpPr>
                      <p:cNvPr id="1401" name="Freeform 21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4959351" y="2051050"/>
                        <a:ext cx="36513" cy="52388"/>
                      </a:xfrm>
                      <a:custGeom>
                        <a:avLst/>
                        <a:gdLst>
                          <a:gd name="T0" fmla="*/ 13 w 42"/>
                          <a:gd name="T1" fmla="*/ 47 h 58"/>
                          <a:gd name="T2" fmla="*/ 27 w 42"/>
                          <a:gd name="T3" fmla="*/ 58 h 58"/>
                          <a:gd name="T4" fmla="*/ 30 w 42"/>
                          <a:gd name="T5" fmla="*/ 57 h 58"/>
                          <a:gd name="T6" fmla="*/ 41 w 42"/>
                          <a:gd name="T7" fmla="*/ 40 h 58"/>
                          <a:gd name="T8" fmla="*/ 30 w 42"/>
                          <a:gd name="T9" fmla="*/ 10 h 58"/>
                          <a:gd name="T10" fmla="*/ 11 w 42"/>
                          <a:gd name="T11" fmla="*/ 4 h 58"/>
                          <a:gd name="T12" fmla="*/ 4 w 42"/>
                          <a:gd name="T13" fmla="*/ 23 h 58"/>
                          <a:gd name="T14" fmla="*/ 13 w 42"/>
                          <a:gd name="T15" fmla="*/ 47 h 58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  <a:cxn ang="0">
                            <a:pos x="T14" y="T15"/>
                          </a:cxn>
                        </a:cxnLst>
                        <a:rect l="0" t="0" r="r" b="b"/>
                        <a:pathLst>
                          <a:path w="42" h="58">
                            <a:moveTo>
                              <a:pt x="13" y="47"/>
                            </a:moveTo>
                            <a:cubicBezTo>
                              <a:pt x="14" y="53"/>
                              <a:pt x="20" y="58"/>
                              <a:pt x="27" y="58"/>
                            </a:cubicBezTo>
                            <a:cubicBezTo>
                              <a:pt x="28" y="58"/>
                              <a:pt x="29" y="58"/>
                              <a:pt x="30" y="57"/>
                            </a:cubicBezTo>
                            <a:cubicBezTo>
                              <a:pt x="38" y="56"/>
                              <a:pt x="42" y="48"/>
                              <a:pt x="41" y="40"/>
                            </a:cubicBezTo>
                            <a:cubicBezTo>
                              <a:pt x="38" y="30"/>
                              <a:pt x="35" y="20"/>
                              <a:pt x="30" y="10"/>
                            </a:cubicBezTo>
                            <a:cubicBezTo>
                              <a:pt x="26" y="3"/>
                              <a:pt x="18" y="0"/>
                              <a:pt x="11" y="4"/>
                            </a:cubicBezTo>
                            <a:cubicBezTo>
                              <a:pt x="3" y="7"/>
                              <a:pt x="0" y="16"/>
                              <a:pt x="4" y="23"/>
                            </a:cubicBezTo>
                            <a:cubicBezTo>
                              <a:pt x="8" y="31"/>
                              <a:pt x="11" y="39"/>
                              <a:pt x="13" y="47"/>
                            </a:cubicBezTo>
                            <a:close/>
                          </a:path>
                        </a:pathLst>
                      </a:custGeom>
                      <a:solidFill>
                        <a:srgbClr val="4D4D4F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=""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endParaRPr lang="en-US" sz="1200" dirty="0"/>
                      </a:p>
                    </p:txBody>
                  </p:sp>
                  <p:sp>
                    <p:nvSpPr>
                      <p:cNvPr id="1402" name="Freeform 22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4598988" y="1985963"/>
                        <a:ext cx="52388" cy="26988"/>
                      </a:xfrm>
                      <a:custGeom>
                        <a:avLst/>
                        <a:gdLst>
                          <a:gd name="T0" fmla="*/ 14 w 58"/>
                          <a:gd name="T1" fmla="*/ 29 h 29"/>
                          <a:gd name="T2" fmla="*/ 43 w 58"/>
                          <a:gd name="T3" fmla="*/ 29 h 29"/>
                          <a:gd name="T4" fmla="*/ 58 w 58"/>
                          <a:gd name="T5" fmla="*/ 15 h 29"/>
                          <a:gd name="T6" fmla="*/ 43 w 58"/>
                          <a:gd name="T7" fmla="*/ 0 h 29"/>
                          <a:gd name="T8" fmla="*/ 14 w 58"/>
                          <a:gd name="T9" fmla="*/ 0 h 29"/>
                          <a:gd name="T10" fmla="*/ 0 w 58"/>
                          <a:gd name="T11" fmla="*/ 15 h 29"/>
                          <a:gd name="T12" fmla="*/ 14 w 58"/>
                          <a:gd name="T13" fmla="*/ 29 h 29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</a:cxnLst>
                        <a:rect l="0" t="0" r="r" b="b"/>
                        <a:pathLst>
                          <a:path w="58" h="29">
                            <a:moveTo>
                              <a:pt x="14" y="29"/>
                            </a:moveTo>
                            <a:cubicBezTo>
                              <a:pt x="43" y="29"/>
                              <a:pt x="43" y="29"/>
                              <a:pt x="43" y="29"/>
                            </a:cubicBezTo>
                            <a:cubicBezTo>
                              <a:pt x="51" y="29"/>
                              <a:pt x="58" y="23"/>
                              <a:pt x="58" y="15"/>
                            </a:cubicBezTo>
                            <a:cubicBezTo>
                              <a:pt x="58" y="7"/>
                              <a:pt x="51" y="0"/>
                              <a:pt x="43" y="0"/>
                            </a:cubicBezTo>
                            <a:cubicBezTo>
                              <a:pt x="14" y="0"/>
                              <a:pt x="14" y="0"/>
                              <a:pt x="14" y="0"/>
                            </a:cubicBezTo>
                            <a:cubicBezTo>
                              <a:pt x="6" y="0"/>
                              <a:pt x="0" y="7"/>
                              <a:pt x="0" y="15"/>
                            </a:cubicBezTo>
                            <a:cubicBezTo>
                              <a:pt x="0" y="23"/>
                              <a:pt x="6" y="29"/>
                              <a:pt x="14" y="29"/>
                            </a:cubicBezTo>
                            <a:close/>
                          </a:path>
                        </a:pathLst>
                      </a:custGeom>
                      <a:solidFill>
                        <a:srgbClr val="4D4D4F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=""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endParaRPr lang="en-US" sz="1200" dirty="0"/>
                      </a:p>
                    </p:txBody>
                  </p:sp>
                  <p:sp>
                    <p:nvSpPr>
                      <p:cNvPr id="1403" name="Freeform 23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4676776" y="1985963"/>
                        <a:ext cx="50800" cy="26988"/>
                      </a:xfrm>
                      <a:custGeom>
                        <a:avLst/>
                        <a:gdLst>
                          <a:gd name="T0" fmla="*/ 15 w 58"/>
                          <a:gd name="T1" fmla="*/ 29 h 29"/>
                          <a:gd name="T2" fmla="*/ 43 w 58"/>
                          <a:gd name="T3" fmla="*/ 29 h 29"/>
                          <a:gd name="T4" fmla="*/ 58 w 58"/>
                          <a:gd name="T5" fmla="*/ 15 h 29"/>
                          <a:gd name="T6" fmla="*/ 43 w 58"/>
                          <a:gd name="T7" fmla="*/ 0 h 29"/>
                          <a:gd name="T8" fmla="*/ 15 w 58"/>
                          <a:gd name="T9" fmla="*/ 0 h 29"/>
                          <a:gd name="T10" fmla="*/ 0 w 58"/>
                          <a:gd name="T11" fmla="*/ 15 h 29"/>
                          <a:gd name="T12" fmla="*/ 15 w 58"/>
                          <a:gd name="T13" fmla="*/ 29 h 29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</a:cxnLst>
                        <a:rect l="0" t="0" r="r" b="b"/>
                        <a:pathLst>
                          <a:path w="58" h="29">
                            <a:moveTo>
                              <a:pt x="15" y="29"/>
                            </a:moveTo>
                            <a:cubicBezTo>
                              <a:pt x="43" y="29"/>
                              <a:pt x="43" y="29"/>
                              <a:pt x="43" y="29"/>
                            </a:cubicBezTo>
                            <a:cubicBezTo>
                              <a:pt x="51" y="29"/>
                              <a:pt x="58" y="23"/>
                              <a:pt x="58" y="15"/>
                            </a:cubicBezTo>
                            <a:cubicBezTo>
                              <a:pt x="58" y="7"/>
                              <a:pt x="51" y="0"/>
                              <a:pt x="43" y="0"/>
                            </a:cubicBezTo>
                            <a:cubicBezTo>
                              <a:pt x="15" y="0"/>
                              <a:pt x="15" y="0"/>
                              <a:pt x="15" y="0"/>
                            </a:cubicBezTo>
                            <a:cubicBezTo>
                              <a:pt x="7" y="0"/>
                              <a:pt x="0" y="7"/>
                              <a:pt x="0" y="15"/>
                            </a:cubicBezTo>
                            <a:cubicBezTo>
                              <a:pt x="0" y="23"/>
                              <a:pt x="7" y="29"/>
                              <a:pt x="15" y="29"/>
                            </a:cubicBezTo>
                            <a:close/>
                          </a:path>
                        </a:pathLst>
                      </a:custGeom>
                      <a:solidFill>
                        <a:srgbClr val="4D4D4F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=""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endParaRPr lang="en-US" sz="1200" dirty="0"/>
                      </a:p>
                    </p:txBody>
                  </p:sp>
                  <p:sp>
                    <p:nvSpPr>
                      <p:cNvPr id="1404" name="Freeform 24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4752976" y="1985963"/>
                        <a:ext cx="52388" cy="26988"/>
                      </a:xfrm>
                      <a:custGeom>
                        <a:avLst/>
                        <a:gdLst>
                          <a:gd name="T0" fmla="*/ 15 w 58"/>
                          <a:gd name="T1" fmla="*/ 29 h 29"/>
                          <a:gd name="T2" fmla="*/ 43 w 58"/>
                          <a:gd name="T3" fmla="*/ 29 h 29"/>
                          <a:gd name="T4" fmla="*/ 58 w 58"/>
                          <a:gd name="T5" fmla="*/ 15 h 29"/>
                          <a:gd name="T6" fmla="*/ 43 w 58"/>
                          <a:gd name="T7" fmla="*/ 0 h 29"/>
                          <a:gd name="T8" fmla="*/ 15 w 58"/>
                          <a:gd name="T9" fmla="*/ 0 h 29"/>
                          <a:gd name="T10" fmla="*/ 0 w 58"/>
                          <a:gd name="T11" fmla="*/ 15 h 29"/>
                          <a:gd name="T12" fmla="*/ 15 w 58"/>
                          <a:gd name="T13" fmla="*/ 29 h 29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</a:cxnLst>
                        <a:rect l="0" t="0" r="r" b="b"/>
                        <a:pathLst>
                          <a:path w="58" h="29">
                            <a:moveTo>
                              <a:pt x="15" y="29"/>
                            </a:moveTo>
                            <a:cubicBezTo>
                              <a:pt x="43" y="29"/>
                              <a:pt x="43" y="29"/>
                              <a:pt x="43" y="29"/>
                            </a:cubicBezTo>
                            <a:cubicBezTo>
                              <a:pt x="51" y="29"/>
                              <a:pt x="58" y="23"/>
                              <a:pt x="58" y="15"/>
                            </a:cubicBezTo>
                            <a:cubicBezTo>
                              <a:pt x="58" y="7"/>
                              <a:pt x="51" y="0"/>
                              <a:pt x="43" y="0"/>
                            </a:cubicBezTo>
                            <a:cubicBezTo>
                              <a:pt x="15" y="0"/>
                              <a:pt x="15" y="0"/>
                              <a:pt x="15" y="0"/>
                            </a:cubicBezTo>
                            <a:cubicBezTo>
                              <a:pt x="7" y="0"/>
                              <a:pt x="0" y="7"/>
                              <a:pt x="0" y="15"/>
                            </a:cubicBezTo>
                            <a:cubicBezTo>
                              <a:pt x="0" y="23"/>
                              <a:pt x="7" y="29"/>
                              <a:pt x="15" y="29"/>
                            </a:cubicBezTo>
                            <a:close/>
                          </a:path>
                        </a:pathLst>
                      </a:custGeom>
                      <a:solidFill>
                        <a:srgbClr val="4D4D4F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=""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endParaRPr lang="en-US" sz="1200" dirty="0"/>
                      </a:p>
                    </p:txBody>
                  </p:sp>
                  <p:sp>
                    <p:nvSpPr>
                      <p:cNvPr id="1405" name="Freeform 25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4471988" y="2349500"/>
                        <a:ext cx="26988" cy="52388"/>
                      </a:xfrm>
                      <a:custGeom>
                        <a:avLst/>
                        <a:gdLst>
                          <a:gd name="T0" fmla="*/ 30 w 31"/>
                          <a:gd name="T1" fmla="*/ 42 h 58"/>
                          <a:gd name="T2" fmla="*/ 29 w 31"/>
                          <a:gd name="T3" fmla="*/ 28 h 58"/>
                          <a:gd name="T4" fmla="*/ 29 w 31"/>
                          <a:gd name="T5" fmla="*/ 15 h 58"/>
                          <a:gd name="T6" fmla="*/ 14 w 31"/>
                          <a:gd name="T7" fmla="*/ 0 h 58"/>
                          <a:gd name="T8" fmla="*/ 0 w 31"/>
                          <a:gd name="T9" fmla="*/ 15 h 58"/>
                          <a:gd name="T10" fmla="*/ 0 w 31"/>
                          <a:gd name="T11" fmla="*/ 28 h 58"/>
                          <a:gd name="T12" fmla="*/ 1 w 31"/>
                          <a:gd name="T13" fmla="*/ 45 h 58"/>
                          <a:gd name="T14" fmla="*/ 15 w 31"/>
                          <a:gd name="T15" fmla="*/ 58 h 58"/>
                          <a:gd name="T16" fmla="*/ 17 w 31"/>
                          <a:gd name="T17" fmla="*/ 58 h 58"/>
                          <a:gd name="T18" fmla="*/ 30 w 31"/>
                          <a:gd name="T19" fmla="*/ 42 h 58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  <a:cxn ang="0">
                            <a:pos x="T14" y="T15"/>
                          </a:cxn>
                          <a:cxn ang="0">
                            <a:pos x="T16" y="T17"/>
                          </a:cxn>
                          <a:cxn ang="0">
                            <a:pos x="T18" y="T19"/>
                          </a:cxn>
                        </a:cxnLst>
                        <a:rect l="0" t="0" r="r" b="b"/>
                        <a:pathLst>
                          <a:path w="31" h="58">
                            <a:moveTo>
                              <a:pt x="30" y="42"/>
                            </a:moveTo>
                            <a:cubicBezTo>
                              <a:pt x="29" y="37"/>
                              <a:pt x="29" y="33"/>
                              <a:pt x="29" y="28"/>
                            </a:cubicBezTo>
                            <a:cubicBezTo>
                              <a:pt x="29" y="15"/>
                              <a:pt x="29" y="15"/>
                              <a:pt x="29" y="15"/>
                            </a:cubicBezTo>
                            <a:cubicBezTo>
                              <a:pt x="29" y="7"/>
                              <a:pt x="22" y="0"/>
                              <a:pt x="14" y="0"/>
                            </a:cubicBezTo>
                            <a:cubicBezTo>
                              <a:pt x="7" y="0"/>
                              <a:pt x="0" y="7"/>
                              <a:pt x="0" y="15"/>
                            </a:cubicBezTo>
                            <a:cubicBezTo>
                              <a:pt x="0" y="28"/>
                              <a:pt x="0" y="28"/>
                              <a:pt x="0" y="28"/>
                            </a:cubicBezTo>
                            <a:cubicBezTo>
                              <a:pt x="0" y="34"/>
                              <a:pt x="0" y="39"/>
                              <a:pt x="1" y="45"/>
                            </a:cubicBezTo>
                            <a:cubicBezTo>
                              <a:pt x="2" y="52"/>
                              <a:pt x="8" y="58"/>
                              <a:pt x="15" y="58"/>
                            </a:cubicBezTo>
                            <a:cubicBezTo>
                              <a:pt x="16" y="58"/>
                              <a:pt x="17" y="58"/>
                              <a:pt x="17" y="58"/>
                            </a:cubicBezTo>
                            <a:cubicBezTo>
                              <a:pt x="25" y="57"/>
                              <a:pt x="31" y="50"/>
                              <a:pt x="30" y="42"/>
                            </a:cubicBezTo>
                            <a:close/>
                          </a:path>
                        </a:pathLst>
                      </a:custGeom>
                      <a:solidFill>
                        <a:srgbClr val="4D4D4F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=""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endParaRPr lang="en-US" sz="1200" dirty="0"/>
                      </a:p>
                    </p:txBody>
                  </p:sp>
                  <p:sp>
                    <p:nvSpPr>
                      <p:cNvPr id="1406" name="Freeform 26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4973638" y="2282825"/>
                        <a:ext cx="25400" cy="52388"/>
                      </a:xfrm>
                      <a:custGeom>
                        <a:avLst/>
                        <a:gdLst>
                          <a:gd name="T0" fmla="*/ 14 w 29"/>
                          <a:gd name="T1" fmla="*/ 0 h 58"/>
                          <a:gd name="T2" fmla="*/ 0 w 29"/>
                          <a:gd name="T3" fmla="*/ 15 h 58"/>
                          <a:gd name="T4" fmla="*/ 0 w 29"/>
                          <a:gd name="T5" fmla="*/ 44 h 58"/>
                          <a:gd name="T6" fmla="*/ 14 w 29"/>
                          <a:gd name="T7" fmla="*/ 58 h 58"/>
                          <a:gd name="T8" fmla="*/ 29 w 29"/>
                          <a:gd name="T9" fmla="*/ 44 h 58"/>
                          <a:gd name="T10" fmla="*/ 29 w 29"/>
                          <a:gd name="T11" fmla="*/ 15 h 58"/>
                          <a:gd name="T12" fmla="*/ 14 w 29"/>
                          <a:gd name="T13" fmla="*/ 0 h 58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</a:cxnLst>
                        <a:rect l="0" t="0" r="r" b="b"/>
                        <a:pathLst>
                          <a:path w="29" h="58">
                            <a:moveTo>
                              <a:pt x="14" y="0"/>
                            </a:moveTo>
                            <a:cubicBezTo>
                              <a:pt x="6" y="0"/>
                              <a:pt x="0" y="7"/>
                              <a:pt x="0" y="15"/>
                            </a:cubicBezTo>
                            <a:cubicBezTo>
                              <a:pt x="0" y="44"/>
                              <a:pt x="0" y="44"/>
                              <a:pt x="0" y="44"/>
                            </a:cubicBezTo>
                            <a:cubicBezTo>
                              <a:pt x="0" y="52"/>
                              <a:pt x="6" y="58"/>
                              <a:pt x="14" y="58"/>
                            </a:cubicBezTo>
                            <a:cubicBezTo>
                              <a:pt x="22" y="58"/>
                              <a:pt x="29" y="52"/>
                              <a:pt x="29" y="44"/>
                            </a:cubicBezTo>
                            <a:cubicBezTo>
                              <a:pt x="29" y="15"/>
                              <a:pt x="29" y="15"/>
                              <a:pt x="29" y="15"/>
                            </a:cubicBezTo>
                            <a:cubicBezTo>
                              <a:pt x="29" y="7"/>
                              <a:pt x="22" y="0"/>
                              <a:pt x="14" y="0"/>
                            </a:cubicBezTo>
                            <a:close/>
                          </a:path>
                        </a:pathLst>
                      </a:custGeom>
                      <a:solidFill>
                        <a:srgbClr val="4D4D4F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=""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endParaRPr lang="en-US" sz="1200" dirty="0"/>
                      </a:p>
                    </p:txBody>
                  </p:sp>
                  <p:sp>
                    <p:nvSpPr>
                      <p:cNvPr id="1407" name="Freeform 28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4927601" y="2432050"/>
                        <a:ext cx="47625" cy="46038"/>
                      </a:xfrm>
                      <a:custGeom>
                        <a:avLst/>
                        <a:gdLst>
                          <a:gd name="T0" fmla="*/ 25 w 53"/>
                          <a:gd name="T1" fmla="*/ 7 h 51"/>
                          <a:gd name="T2" fmla="*/ 7 w 53"/>
                          <a:gd name="T3" fmla="*/ 25 h 51"/>
                          <a:gd name="T4" fmla="*/ 5 w 53"/>
                          <a:gd name="T5" fmla="*/ 45 h 51"/>
                          <a:gd name="T6" fmla="*/ 16 w 53"/>
                          <a:gd name="T7" fmla="*/ 51 h 51"/>
                          <a:gd name="T8" fmla="*/ 25 w 53"/>
                          <a:gd name="T9" fmla="*/ 47 h 51"/>
                          <a:gd name="T10" fmla="*/ 48 w 53"/>
                          <a:gd name="T11" fmla="*/ 25 h 51"/>
                          <a:gd name="T12" fmla="*/ 45 w 53"/>
                          <a:gd name="T13" fmla="*/ 5 h 51"/>
                          <a:gd name="T14" fmla="*/ 25 w 53"/>
                          <a:gd name="T15" fmla="*/ 7 h 51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  <a:cxn ang="0">
                            <a:pos x="T14" y="T15"/>
                          </a:cxn>
                        </a:cxnLst>
                        <a:rect l="0" t="0" r="r" b="b"/>
                        <a:pathLst>
                          <a:path w="53" h="51">
                            <a:moveTo>
                              <a:pt x="25" y="7"/>
                            </a:moveTo>
                            <a:cubicBezTo>
                              <a:pt x="20" y="14"/>
                              <a:pt x="14" y="20"/>
                              <a:pt x="7" y="25"/>
                            </a:cubicBezTo>
                            <a:cubicBezTo>
                              <a:pt x="1" y="30"/>
                              <a:pt x="0" y="39"/>
                              <a:pt x="5" y="45"/>
                            </a:cubicBezTo>
                            <a:cubicBezTo>
                              <a:pt x="8" y="49"/>
                              <a:pt x="12" y="51"/>
                              <a:pt x="16" y="51"/>
                            </a:cubicBezTo>
                            <a:cubicBezTo>
                              <a:pt x="20" y="51"/>
                              <a:pt x="23" y="50"/>
                              <a:pt x="25" y="47"/>
                            </a:cubicBezTo>
                            <a:cubicBezTo>
                              <a:pt x="34" y="41"/>
                              <a:pt x="41" y="33"/>
                              <a:pt x="48" y="25"/>
                            </a:cubicBezTo>
                            <a:cubicBezTo>
                              <a:pt x="53" y="19"/>
                              <a:pt x="52" y="9"/>
                              <a:pt x="45" y="5"/>
                            </a:cubicBezTo>
                            <a:cubicBezTo>
                              <a:pt x="39" y="0"/>
                              <a:pt x="30" y="1"/>
                              <a:pt x="25" y="7"/>
                            </a:cubicBezTo>
                            <a:close/>
                          </a:path>
                        </a:pathLst>
                      </a:custGeom>
                      <a:solidFill>
                        <a:srgbClr val="4D4D4F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=""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endParaRPr lang="en-US" sz="1200" dirty="0"/>
                      </a:p>
                    </p:txBody>
                  </p:sp>
                  <p:sp>
                    <p:nvSpPr>
                      <p:cNvPr id="1408" name="Freeform 29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4968876" y="2360613"/>
                        <a:ext cx="30163" cy="52388"/>
                      </a:xfrm>
                      <a:custGeom>
                        <a:avLst/>
                        <a:gdLst>
                          <a:gd name="T0" fmla="*/ 19 w 34"/>
                          <a:gd name="T1" fmla="*/ 0 h 58"/>
                          <a:gd name="T2" fmla="*/ 5 w 34"/>
                          <a:gd name="T3" fmla="*/ 15 h 58"/>
                          <a:gd name="T4" fmla="*/ 2 w 34"/>
                          <a:gd name="T5" fmla="*/ 40 h 58"/>
                          <a:gd name="T6" fmla="*/ 13 w 34"/>
                          <a:gd name="T7" fmla="*/ 58 h 58"/>
                          <a:gd name="T8" fmla="*/ 16 w 34"/>
                          <a:gd name="T9" fmla="*/ 58 h 58"/>
                          <a:gd name="T10" fmla="*/ 30 w 34"/>
                          <a:gd name="T11" fmla="*/ 47 h 58"/>
                          <a:gd name="T12" fmla="*/ 34 w 34"/>
                          <a:gd name="T13" fmla="*/ 15 h 58"/>
                          <a:gd name="T14" fmla="*/ 34 w 34"/>
                          <a:gd name="T15" fmla="*/ 14 h 58"/>
                          <a:gd name="T16" fmla="*/ 19 w 34"/>
                          <a:gd name="T17" fmla="*/ 0 h 58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  <a:cxn ang="0">
                            <a:pos x="T14" y="T15"/>
                          </a:cxn>
                          <a:cxn ang="0">
                            <a:pos x="T16" y="T17"/>
                          </a:cxn>
                        </a:cxnLst>
                        <a:rect l="0" t="0" r="r" b="b"/>
                        <a:pathLst>
                          <a:path w="34" h="58">
                            <a:moveTo>
                              <a:pt x="19" y="0"/>
                            </a:moveTo>
                            <a:cubicBezTo>
                              <a:pt x="11" y="0"/>
                              <a:pt x="5" y="7"/>
                              <a:pt x="5" y="15"/>
                            </a:cubicBezTo>
                            <a:cubicBezTo>
                              <a:pt x="5" y="24"/>
                              <a:pt x="4" y="32"/>
                              <a:pt x="2" y="40"/>
                            </a:cubicBezTo>
                            <a:cubicBezTo>
                              <a:pt x="0" y="48"/>
                              <a:pt x="5" y="56"/>
                              <a:pt x="13" y="58"/>
                            </a:cubicBezTo>
                            <a:cubicBezTo>
                              <a:pt x="14" y="58"/>
                              <a:pt x="15" y="58"/>
                              <a:pt x="16" y="58"/>
                            </a:cubicBezTo>
                            <a:cubicBezTo>
                              <a:pt x="23" y="58"/>
                              <a:pt x="29" y="53"/>
                              <a:pt x="30" y="47"/>
                            </a:cubicBezTo>
                            <a:cubicBezTo>
                              <a:pt x="32" y="36"/>
                              <a:pt x="34" y="26"/>
                              <a:pt x="34" y="15"/>
                            </a:cubicBezTo>
                            <a:cubicBezTo>
                              <a:pt x="34" y="14"/>
                              <a:pt x="34" y="14"/>
                              <a:pt x="34" y="14"/>
                            </a:cubicBezTo>
                            <a:cubicBezTo>
                              <a:pt x="34" y="6"/>
                              <a:pt x="27" y="0"/>
                              <a:pt x="19" y="0"/>
                            </a:cubicBezTo>
                            <a:close/>
                          </a:path>
                        </a:pathLst>
                      </a:custGeom>
                      <a:solidFill>
                        <a:srgbClr val="4D4D4F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=""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endParaRPr lang="en-US" sz="1200" dirty="0"/>
                      </a:p>
                    </p:txBody>
                  </p:sp>
                  <p:sp>
                    <p:nvSpPr>
                      <p:cNvPr id="1409" name="Freeform 30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4973638" y="2205038"/>
                        <a:ext cx="25400" cy="52388"/>
                      </a:xfrm>
                      <a:custGeom>
                        <a:avLst/>
                        <a:gdLst>
                          <a:gd name="T0" fmla="*/ 14 w 29"/>
                          <a:gd name="T1" fmla="*/ 0 h 58"/>
                          <a:gd name="T2" fmla="*/ 0 w 29"/>
                          <a:gd name="T3" fmla="*/ 15 h 58"/>
                          <a:gd name="T4" fmla="*/ 0 w 29"/>
                          <a:gd name="T5" fmla="*/ 43 h 58"/>
                          <a:gd name="T6" fmla="*/ 14 w 29"/>
                          <a:gd name="T7" fmla="*/ 58 h 58"/>
                          <a:gd name="T8" fmla="*/ 29 w 29"/>
                          <a:gd name="T9" fmla="*/ 43 h 58"/>
                          <a:gd name="T10" fmla="*/ 29 w 29"/>
                          <a:gd name="T11" fmla="*/ 15 h 58"/>
                          <a:gd name="T12" fmla="*/ 14 w 29"/>
                          <a:gd name="T13" fmla="*/ 0 h 58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</a:cxnLst>
                        <a:rect l="0" t="0" r="r" b="b"/>
                        <a:pathLst>
                          <a:path w="29" h="58">
                            <a:moveTo>
                              <a:pt x="14" y="0"/>
                            </a:moveTo>
                            <a:cubicBezTo>
                              <a:pt x="6" y="0"/>
                              <a:pt x="0" y="7"/>
                              <a:pt x="0" y="15"/>
                            </a:cubicBezTo>
                            <a:cubicBezTo>
                              <a:pt x="0" y="43"/>
                              <a:pt x="0" y="43"/>
                              <a:pt x="0" y="43"/>
                            </a:cubicBezTo>
                            <a:cubicBezTo>
                              <a:pt x="0" y="51"/>
                              <a:pt x="6" y="58"/>
                              <a:pt x="14" y="58"/>
                            </a:cubicBezTo>
                            <a:cubicBezTo>
                              <a:pt x="22" y="58"/>
                              <a:pt x="29" y="51"/>
                              <a:pt x="29" y="43"/>
                            </a:cubicBezTo>
                            <a:cubicBezTo>
                              <a:pt x="29" y="15"/>
                              <a:pt x="29" y="15"/>
                              <a:pt x="29" y="15"/>
                            </a:cubicBezTo>
                            <a:cubicBezTo>
                              <a:pt x="29" y="7"/>
                              <a:pt x="22" y="0"/>
                              <a:pt x="14" y="0"/>
                            </a:cubicBezTo>
                            <a:close/>
                          </a:path>
                        </a:pathLst>
                      </a:custGeom>
                      <a:solidFill>
                        <a:srgbClr val="4D4D4F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=""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endParaRPr lang="en-US" sz="1200" dirty="0"/>
                      </a:p>
                    </p:txBody>
                  </p:sp>
                  <p:sp>
                    <p:nvSpPr>
                      <p:cNvPr id="1410" name="Freeform 31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4973638" y="2127250"/>
                        <a:ext cx="25400" cy="52388"/>
                      </a:xfrm>
                      <a:custGeom>
                        <a:avLst/>
                        <a:gdLst>
                          <a:gd name="T0" fmla="*/ 14 w 29"/>
                          <a:gd name="T1" fmla="*/ 0 h 58"/>
                          <a:gd name="T2" fmla="*/ 0 w 29"/>
                          <a:gd name="T3" fmla="*/ 15 h 58"/>
                          <a:gd name="T4" fmla="*/ 0 w 29"/>
                          <a:gd name="T5" fmla="*/ 43 h 58"/>
                          <a:gd name="T6" fmla="*/ 14 w 29"/>
                          <a:gd name="T7" fmla="*/ 58 h 58"/>
                          <a:gd name="T8" fmla="*/ 29 w 29"/>
                          <a:gd name="T9" fmla="*/ 43 h 58"/>
                          <a:gd name="T10" fmla="*/ 29 w 29"/>
                          <a:gd name="T11" fmla="*/ 15 h 58"/>
                          <a:gd name="T12" fmla="*/ 14 w 29"/>
                          <a:gd name="T13" fmla="*/ 0 h 58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</a:cxnLst>
                        <a:rect l="0" t="0" r="r" b="b"/>
                        <a:pathLst>
                          <a:path w="29" h="58">
                            <a:moveTo>
                              <a:pt x="14" y="0"/>
                            </a:moveTo>
                            <a:cubicBezTo>
                              <a:pt x="6" y="0"/>
                              <a:pt x="0" y="7"/>
                              <a:pt x="0" y="15"/>
                            </a:cubicBezTo>
                            <a:cubicBezTo>
                              <a:pt x="0" y="43"/>
                              <a:pt x="0" y="43"/>
                              <a:pt x="0" y="43"/>
                            </a:cubicBezTo>
                            <a:cubicBezTo>
                              <a:pt x="0" y="51"/>
                              <a:pt x="6" y="58"/>
                              <a:pt x="14" y="58"/>
                            </a:cubicBezTo>
                            <a:cubicBezTo>
                              <a:pt x="22" y="58"/>
                              <a:pt x="29" y="51"/>
                              <a:pt x="29" y="43"/>
                            </a:cubicBezTo>
                            <a:cubicBezTo>
                              <a:pt x="29" y="15"/>
                              <a:pt x="29" y="15"/>
                              <a:pt x="29" y="15"/>
                            </a:cubicBezTo>
                            <a:cubicBezTo>
                              <a:pt x="29" y="7"/>
                              <a:pt x="22" y="0"/>
                              <a:pt x="14" y="0"/>
                            </a:cubicBezTo>
                            <a:close/>
                          </a:path>
                        </a:pathLst>
                      </a:custGeom>
                      <a:solidFill>
                        <a:srgbClr val="4D4D4F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=""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endParaRPr lang="en-US" sz="1200" dirty="0"/>
                      </a:p>
                    </p:txBody>
                  </p:sp>
                  <p:sp>
                    <p:nvSpPr>
                      <p:cNvPr id="1411" name="Freeform 32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4546601" y="2470150"/>
                        <a:ext cx="53975" cy="33338"/>
                      </a:xfrm>
                      <a:custGeom>
                        <a:avLst/>
                        <a:gdLst>
                          <a:gd name="T0" fmla="*/ 46 w 60"/>
                          <a:gd name="T1" fmla="*/ 8 h 37"/>
                          <a:gd name="T2" fmla="*/ 21 w 60"/>
                          <a:gd name="T3" fmla="*/ 2 h 37"/>
                          <a:gd name="T4" fmla="*/ 3 w 60"/>
                          <a:gd name="T5" fmla="*/ 11 h 37"/>
                          <a:gd name="T6" fmla="*/ 12 w 60"/>
                          <a:gd name="T7" fmla="*/ 30 h 37"/>
                          <a:gd name="T8" fmla="*/ 43 w 60"/>
                          <a:gd name="T9" fmla="*/ 37 h 37"/>
                          <a:gd name="T10" fmla="*/ 44 w 60"/>
                          <a:gd name="T11" fmla="*/ 37 h 37"/>
                          <a:gd name="T12" fmla="*/ 59 w 60"/>
                          <a:gd name="T13" fmla="*/ 24 h 37"/>
                          <a:gd name="T14" fmla="*/ 46 w 60"/>
                          <a:gd name="T15" fmla="*/ 8 h 37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  <a:cxn ang="0">
                            <a:pos x="T14" y="T15"/>
                          </a:cxn>
                        </a:cxnLst>
                        <a:rect l="0" t="0" r="r" b="b"/>
                        <a:pathLst>
                          <a:path w="60" h="37">
                            <a:moveTo>
                              <a:pt x="46" y="8"/>
                            </a:moveTo>
                            <a:cubicBezTo>
                              <a:pt x="38" y="7"/>
                              <a:pt x="29" y="5"/>
                              <a:pt x="21" y="2"/>
                            </a:cubicBezTo>
                            <a:cubicBezTo>
                              <a:pt x="14" y="0"/>
                              <a:pt x="6" y="4"/>
                              <a:pt x="3" y="11"/>
                            </a:cubicBezTo>
                            <a:cubicBezTo>
                              <a:pt x="0" y="19"/>
                              <a:pt x="4" y="27"/>
                              <a:pt x="12" y="30"/>
                            </a:cubicBezTo>
                            <a:cubicBezTo>
                              <a:pt x="22" y="33"/>
                              <a:pt x="32" y="36"/>
                              <a:pt x="43" y="37"/>
                            </a:cubicBezTo>
                            <a:cubicBezTo>
                              <a:pt x="43" y="37"/>
                              <a:pt x="44" y="37"/>
                              <a:pt x="44" y="37"/>
                            </a:cubicBezTo>
                            <a:cubicBezTo>
                              <a:pt x="51" y="37"/>
                              <a:pt x="58" y="32"/>
                              <a:pt x="59" y="24"/>
                            </a:cubicBezTo>
                            <a:cubicBezTo>
                              <a:pt x="60" y="16"/>
                              <a:pt x="54" y="9"/>
                              <a:pt x="46" y="8"/>
                            </a:cubicBezTo>
                            <a:close/>
                          </a:path>
                        </a:pathLst>
                      </a:custGeom>
                      <a:solidFill>
                        <a:srgbClr val="4D4D4F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=""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endParaRPr lang="en-US" sz="1200" dirty="0"/>
                      </a:p>
                    </p:txBody>
                  </p:sp>
                  <p:sp>
                    <p:nvSpPr>
                      <p:cNvPr id="1412" name="Freeform 33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4781551" y="2478088"/>
                        <a:ext cx="50800" cy="25400"/>
                      </a:xfrm>
                      <a:custGeom>
                        <a:avLst/>
                        <a:gdLst>
                          <a:gd name="T0" fmla="*/ 43 w 57"/>
                          <a:gd name="T1" fmla="*/ 0 h 29"/>
                          <a:gd name="T2" fmla="*/ 14 w 57"/>
                          <a:gd name="T3" fmla="*/ 0 h 29"/>
                          <a:gd name="T4" fmla="*/ 0 w 57"/>
                          <a:gd name="T5" fmla="*/ 15 h 29"/>
                          <a:gd name="T6" fmla="*/ 14 w 57"/>
                          <a:gd name="T7" fmla="*/ 29 h 29"/>
                          <a:gd name="T8" fmla="*/ 43 w 57"/>
                          <a:gd name="T9" fmla="*/ 29 h 29"/>
                          <a:gd name="T10" fmla="*/ 57 w 57"/>
                          <a:gd name="T11" fmla="*/ 15 h 29"/>
                          <a:gd name="T12" fmla="*/ 43 w 57"/>
                          <a:gd name="T13" fmla="*/ 0 h 29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</a:cxnLst>
                        <a:rect l="0" t="0" r="r" b="b"/>
                        <a:pathLst>
                          <a:path w="57" h="29">
                            <a:moveTo>
                              <a:pt x="43" y="0"/>
                            </a:moveTo>
                            <a:cubicBezTo>
                              <a:pt x="14" y="0"/>
                              <a:pt x="14" y="0"/>
                              <a:pt x="14" y="0"/>
                            </a:cubicBezTo>
                            <a:cubicBezTo>
                              <a:pt x="6" y="0"/>
                              <a:pt x="0" y="7"/>
                              <a:pt x="0" y="15"/>
                            </a:cubicBezTo>
                            <a:cubicBezTo>
                              <a:pt x="0" y="23"/>
                              <a:pt x="6" y="29"/>
                              <a:pt x="14" y="29"/>
                            </a:cubicBezTo>
                            <a:cubicBezTo>
                              <a:pt x="43" y="29"/>
                              <a:pt x="43" y="29"/>
                              <a:pt x="43" y="29"/>
                            </a:cubicBezTo>
                            <a:cubicBezTo>
                              <a:pt x="51" y="29"/>
                              <a:pt x="57" y="23"/>
                              <a:pt x="57" y="15"/>
                            </a:cubicBezTo>
                            <a:cubicBezTo>
                              <a:pt x="57" y="7"/>
                              <a:pt x="51" y="0"/>
                              <a:pt x="43" y="0"/>
                            </a:cubicBezTo>
                            <a:close/>
                          </a:path>
                        </a:pathLst>
                      </a:custGeom>
                      <a:solidFill>
                        <a:srgbClr val="4D4D4F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=""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endParaRPr lang="en-US" sz="1200" dirty="0"/>
                      </a:p>
                    </p:txBody>
                  </p:sp>
                  <p:sp>
                    <p:nvSpPr>
                      <p:cNvPr id="1413" name="Freeform 34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4703763" y="2478088"/>
                        <a:ext cx="50800" cy="25400"/>
                      </a:xfrm>
                      <a:custGeom>
                        <a:avLst/>
                        <a:gdLst>
                          <a:gd name="T0" fmla="*/ 44 w 58"/>
                          <a:gd name="T1" fmla="*/ 0 h 29"/>
                          <a:gd name="T2" fmla="*/ 15 w 58"/>
                          <a:gd name="T3" fmla="*/ 0 h 29"/>
                          <a:gd name="T4" fmla="*/ 0 w 58"/>
                          <a:gd name="T5" fmla="*/ 15 h 29"/>
                          <a:gd name="T6" fmla="*/ 15 w 58"/>
                          <a:gd name="T7" fmla="*/ 29 h 29"/>
                          <a:gd name="T8" fmla="*/ 44 w 58"/>
                          <a:gd name="T9" fmla="*/ 29 h 29"/>
                          <a:gd name="T10" fmla="*/ 58 w 58"/>
                          <a:gd name="T11" fmla="*/ 15 h 29"/>
                          <a:gd name="T12" fmla="*/ 44 w 58"/>
                          <a:gd name="T13" fmla="*/ 0 h 29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</a:cxnLst>
                        <a:rect l="0" t="0" r="r" b="b"/>
                        <a:pathLst>
                          <a:path w="58" h="29">
                            <a:moveTo>
                              <a:pt x="44" y="0"/>
                            </a:moveTo>
                            <a:cubicBezTo>
                              <a:pt x="15" y="0"/>
                              <a:pt x="15" y="0"/>
                              <a:pt x="15" y="0"/>
                            </a:cubicBezTo>
                            <a:cubicBezTo>
                              <a:pt x="7" y="0"/>
                              <a:pt x="0" y="7"/>
                              <a:pt x="0" y="15"/>
                            </a:cubicBezTo>
                            <a:cubicBezTo>
                              <a:pt x="0" y="23"/>
                              <a:pt x="7" y="29"/>
                              <a:pt x="15" y="29"/>
                            </a:cubicBezTo>
                            <a:cubicBezTo>
                              <a:pt x="44" y="29"/>
                              <a:pt x="44" y="29"/>
                              <a:pt x="44" y="29"/>
                            </a:cubicBezTo>
                            <a:cubicBezTo>
                              <a:pt x="51" y="29"/>
                              <a:pt x="58" y="23"/>
                              <a:pt x="58" y="15"/>
                            </a:cubicBezTo>
                            <a:cubicBezTo>
                              <a:pt x="58" y="7"/>
                              <a:pt x="51" y="0"/>
                              <a:pt x="44" y="0"/>
                            </a:cubicBezTo>
                            <a:close/>
                          </a:path>
                        </a:pathLst>
                      </a:custGeom>
                      <a:solidFill>
                        <a:srgbClr val="4D4D4F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=""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endParaRPr lang="en-US" sz="1200" dirty="0"/>
                      </a:p>
                    </p:txBody>
                  </p:sp>
                  <p:sp>
                    <p:nvSpPr>
                      <p:cNvPr id="1414" name="Freeform 35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4625976" y="2478088"/>
                        <a:ext cx="52388" cy="25400"/>
                      </a:xfrm>
                      <a:custGeom>
                        <a:avLst/>
                        <a:gdLst>
                          <a:gd name="T0" fmla="*/ 43 w 58"/>
                          <a:gd name="T1" fmla="*/ 0 h 29"/>
                          <a:gd name="T2" fmla="*/ 15 w 58"/>
                          <a:gd name="T3" fmla="*/ 0 h 29"/>
                          <a:gd name="T4" fmla="*/ 0 w 58"/>
                          <a:gd name="T5" fmla="*/ 15 h 29"/>
                          <a:gd name="T6" fmla="*/ 15 w 58"/>
                          <a:gd name="T7" fmla="*/ 29 h 29"/>
                          <a:gd name="T8" fmla="*/ 43 w 58"/>
                          <a:gd name="T9" fmla="*/ 29 h 29"/>
                          <a:gd name="T10" fmla="*/ 58 w 58"/>
                          <a:gd name="T11" fmla="*/ 15 h 29"/>
                          <a:gd name="T12" fmla="*/ 43 w 58"/>
                          <a:gd name="T13" fmla="*/ 0 h 29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</a:cxnLst>
                        <a:rect l="0" t="0" r="r" b="b"/>
                        <a:pathLst>
                          <a:path w="58" h="29">
                            <a:moveTo>
                              <a:pt x="43" y="0"/>
                            </a:moveTo>
                            <a:cubicBezTo>
                              <a:pt x="15" y="0"/>
                              <a:pt x="15" y="0"/>
                              <a:pt x="15" y="0"/>
                            </a:cubicBezTo>
                            <a:cubicBezTo>
                              <a:pt x="7" y="0"/>
                              <a:pt x="0" y="7"/>
                              <a:pt x="0" y="15"/>
                            </a:cubicBezTo>
                            <a:cubicBezTo>
                              <a:pt x="0" y="23"/>
                              <a:pt x="7" y="29"/>
                              <a:pt x="15" y="29"/>
                            </a:cubicBezTo>
                            <a:cubicBezTo>
                              <a:pt x="43" y="29"/>
                              <a:pt x="43" y="29"/>
                              <a:pt x="43" y="29"/>
                            </a:cubicBezTo>
                            <a:cubicBezTo>
                              <a:pt x="51" y="29"/>
                              <a:pt x="58" y="23"/>
                              <a:pt x="58" y="15"/>
                            </a:cubicBezTo>
                            <a:cubicBezTo>
                              <a:pt x="58" y="7"/>
                              <a:pt x="51" y="0"/>
                              <a:pt x="43" y="0"/>
                            </a:cubicBezTo>
                            <a:close/>
                          </a:path>
                        </a:pathLst>
                      </a:custGeom>
                      <a:solidFill>
                        <a:srgbClr val="4D4D4F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=""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endParaRPr lang="en-US" sz="1200" dirty="0"/>
                      </a:p>
                    </p:txBody>
                  </p:sp>
                  <p:sp>
                    <p:nvSpPr>
                      <p:cNvPr id="1415" name="Freeform 38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4859338" y="2473325"/>
                        <a:ext cx="52388" cy="30163"/>
                      </a:xfrm>
                      <a:custGeom>
                        <a:avLst/>
                        <a:gdLst>
                          <a:gd name="T0" fmla="*/ 39 w 58"/>
                          <a:gd name="T1" fmla="*/ 2 h 34"/>
                          <a:gd name="T2" fmla="*/ 14 w 58"/>
                          <a:gd name="T3" fmla="*/ 5 h 34"/>
                          <a:gd name="T4" fmla="*/ 0 w 58"/>
                          <a:gd name="T5" fmla="*/ 20 h 34"/>
                          <a:gd name="T6" fmla="*/ 14 w 58"/>
                          <a:gd name="T7" fmla="*/ 34 h 34"/>
                          <a:gd name="T8" fmla="*/ 14 w 58"/>
                          <a:gd name="T9" fmla="*/ 34 h 34"/>
                          <a:gd name="T10" fmla="*/ 46 w 58"/>
                          <a:gd name="T11" fmla="*/ 30 h 34"/>
                          <a:gd name="T12" fmla="*/ 56 w 58"/>
                          <a:gd name="T13" fmla="*/ 12 h 34"/>
                          <a:gd name="T14" fmla="*/ 39 w 58"/>
                          <a:gd name="T15" fmla="*/ 2 h 34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  <a:cxn ang="0">
                            <a:pos x="T14" y="T15"/>
                          </a:cxn>
                        </a:cxnLst>
                        <a:rect l="0" t="0" r="r" b="b"/>
                        <a:pathLst>
                          <a:path w="58" h="34">
                            <a:moveTo>
                              <a:pt x="39" y="2"/>
                            </a:moveTo>
                            <a:cubicBezTo>
                              <a:pt x="31" y="4"/>
                              <a:pt x="22" y="5"/>
                              <a:pt x="14" y="5"/>
                            </a:cubicBezTo>
                            <a:cubicBezTo>
                              <a:pt x="6" y="5"/>
                              <a:pt x="0" y="12"/>
                              <a:pt x="0" y="20"/>
                            </a:cubicBezTo>
                            <a:cubicBezTo>
                              <a:pt x="0" y="28"/>
                              <a:pt x="6" y="34"/>
                              <a:pt x="14" y="34"/>
                            </a:cubicBezTo>
                            <a:cubicBezTo>
                              <a:pt x="14" y="34"/>
                              <a:pt x="14" y="34"/>
                              <a:pt x="14" y="34"/>
                            </a:cubicBezTo>
                            <a:cubicBezTo>
                              <a:pt x="25" y="34"/>
                              <a:pt x="36" y="32"/>
                              <a:pt x="46" y="30"/>
                            </a:cubicBezTo>
                            <a:cubicBezTo>
                              <a:pt x="54" y="28"/>
                              <a:pt x="58" y="20"/>
                              <a:pt x="56" y="12"/>
                            </a:cubicBezTo>
                            <a:cubicBezTo>
                              <a:pt x="55" y="5"/>
                              <a:pt x="47" y="0"/>
                              <a:pt x="39" y="2"/>
                            </a:cubicBezTo>
                            <a:close/>
                          </a:path>
                        </a:pathLst>
                      </a:custGeom>
                      <a:solidFill>
                        <a:srgbClr val="4D4D4F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=""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endParaRPr lang="en-US" sz="1200" dirty="0"/>
                      </a:p>
                    </p:txBody>
                  </p:sp>
                </p:grpSp>
                <p:sp>
                  <p:nvSpPr>
                    <p:cNvPr id="1392" name="Freeform 12"/>
                    <p:cNvSpPr>
                      <a:spLocks noEditPoints="1"/>
                    </p:cNvSpPr>
                    <p:nvPr/>
                  </p:nvSpPr>
                  <p:spPr bwMode="auto">
                    <a:xfrm>
                      <a:off x="5406483" y="2446478"/>
                      <a:ext cx="214941" cy="191168"/>
                    </a:xfrm>
                    <a:custGeom>
                      <a:avLst/>
                      <a:gdLst>
                        <a:gd name="T0" fmla="*/ 419 w 494"/>
                        <a:gd name="T1" fmla="*/ 299 h 448"/>
                        <a:gd name="T2" fmla="*/ 403 w 494"/>
                        <a:gd name="T3" fmla="*/ 301 h 448"/>
                        <a:gd name="T4" fmla="*/ 302 w 494"/>
                        <a:gd name="T5" fmla="*/ 126 h 448"/>
                        <a:gd name="T6" fmla="*/ 322 w 494"/>
                        <a:gd name="T7" fmla="*/ 75 h 448"/>
                        <a:gd name="T8" fmla="*/ 247 w 494"/>
                        <a:gd name="T9" fmla="*/ 0 h 448"/>
                        <a:gd name="T10" fmla="*/ 173 w 494"/>
                        <a:gd name="T11" fmla="*/ 75 h 448"/>
                        <a:gd name="T12" fmla="*/ 193 w 494"/>
                        <a:gd name="T13" fmla="*/ 126 h 448"/>
                        <a:gd name="T14" fmla="*/ 91 w 494"/>
                        <a:gd name="T15" fmla="*/ 301 h 448"/>
                        <a:gd name="T16" fmla="*/ 75 w 494"/>
                        <a:gd name="T17" fmla="*/ 299 h 448"/>
                        <a:gd name="T18" fmla="*/ 0 w 494"/>
                        <a:gd name="T19" fmla="*/ 373 h 448"/>
                        <a:gd name="T20" fmla="*/ 75 w 494"/>
                        <a:gd name="T21" fmla="*/ 448 h 448"/>
                        <a:gd name="T22" fmla="*/ 146 w 494"/>
                        <a:gd name="T23" fmla="*/ 395 h 448"/>
                        <a:gd name="T24" fmla="*/ 349 w 494"/>
                        <a:gd name="T25" fmla="*/ 395 h 448"/>
                        <a:gd name="T26" fmla="*/ 419 w 494"/>
                        <a:gd name="T27" fmla="*/ 448 h 448"/>
                        <a:gd name="T28" fmla="*/ 494 w 494"/>
                        <a:gd name="T29" fmla="*/ 373 h 448"/>
                        <a:gd name="T30" fmla="*/ 419 w 494"/>
                        <a:gd name="T31" fmla="*/ 299 h 448"/>
                        <a:gd name="T32" fmla="*/ 349 w 494"/>
                        <a:gd name="T33" fmla="*/ 351 h 448"/>
                        <a:gd name="T34" fmla="*/ 146 w 494"/>
                        <a:gd name="T35" fmla="*/ 351 h 448"/>
                        <a:gd name="T36" fmla="*/ 130 w 494"/>
                        <a:gd name="T37" fmla="*/ 323 h 448"/>
                        <a:gd name="T38" fmla="*/ 231 w 494"/>
                        <a:gd name="T39" fmla="*/ 148 h 448"/>
                        <a:gd name="T40" fmla="*/ 247 w 494"/>
                        <a:gd name="T41" fmla="*/ 150 h 448"/>
                        <a:gd name="T42" fmla="*/ 264 w 494"/>
                        <a:gd name="T43" fmla="*/ 148 h 448"/>
                        <a:gd name="T44" fmla="*/ 365 w 494"/>
                        <a:gd name="T45" fmla="*/ 323 h 448"/>
                        <a:gd name="T46" fmla="*/ 349 w 494"/>
                        <a:gd name="T47" fmla="*/ 351 h 44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</a:cxnLst>
                      <a:rect l="0" t="0" r="r" b="b"/>
                      <a:pathLst>
                        <a:path w="494" h="448">
                          <a:moveTo>
                            <a:pt x="419" y="299"/>
                          </a:moveTo>
                          <a:cubicBezTo>
                            <a:pt x="414" y="299"/>
                            <a:pt x="408" y="300"/>
                            <a:pt x="403" y="301"/>
                          </a:cubicBezTo>
                          <a:cubicBezTo>
                            <a:pt x="302" y="126"/>
                            <a:pt x="302" y="126"/>
                            <a:pt x="302" y="126"/>
                          </a:cubicBezTo>
                          <a:cubicBezTo>
                            <a:pt x="314" y="112"/>
                            <a:pt x="322" y="95"/>
                            <a:pt x="322" y="75"/>
                          </a:cubicBezTo>
                          <a:cubicBezTo>
                            <a:pt x="322" y="34"/>
                            <a:pt x="288" y="0"/>
                            <a:pt x="247" y="0"/>
                          </a:cubicBezTo>
                          <a:cubicBezTo>
                            <a:pt x="206" y="0"/>
                            <a:pt x="173" y="34"/>
                            <a:pt x="173" y="75"/>
                          </a:cubicBezTo>
                          <a:cubicBezTo>
                            <a:pt x="173" y="95"/>
                            <a:pt x="180" y="112"/>
                            <a:pt x="193" y="126"/>
                          </a:cubicBezTo>
                          <a:cubicBezTo>
                            <a:pt x="91" y="301"/>
                            <a:pt x="91" y="301"/>
                            <a:pt x="91" y="301"/>
                          </a:cubicBezTo>
                          <a:cubicBezTo>
                            <a:pt x="86" y="300"/>
                            <a:pt x="81" y="299"/>
                            <a:pt x="75" y="299"/>
                          </a:cubicBezTo>
                          <a:cubicBezTo>
                            <a:pt x="34" y="299"/>
                            <a:pt x="0" y="332"/>
                            <a:pt x="0" y="373"/>
                          </a:cubicBezTo>
                          <a:cubicBezTo>
                            <a:pt x="0" y="415"/>
                            <a:pt x="34" y="448"/>
                            <a:pt x="75" y="448"/>
                          </a:cubicBezTo>
                          <a:cubicBezTo>
                            <a:pt x="108" y="448"/>
                            <a:pt x="136" y="426"/>
                            <a:pt x="146" y="395"/>
                          </a:cubicBezTo>
                          <a:cubicBezTo>
                            <a:pt x="349" y="395"/>
                            <a:pt x="349" y="395"/>
                            <a:pt x="349" y="395"/>
                          </a:cubicBezTo>
                          <a:cubicBezTo>
                            <a:pt x="358" y="426"/>
                            <a:pt x="386" y="448"/>
                            <a:pt x="419" y="448"/>
                          </a:cubicBezTo>
                          <a:cubicBezTo>
                            <a:pt x="461" y="448"/>
                            <a:pt x="494" y="415"/>
                            <a:pt x="494" y="373"/>
                          </a:cubicBezTo>
                          <a:cubicBezTo>
                            <a:pt x="494" y="332"/>
                            <a:pt x="461" y="299"/>
                            <a:pt x="419" y="299"/>
                          </a:cubicBezTo>
                          <a:close/>
                          <a:moveTo>
                            <a:pt x="349" y="351"/>
                          </a:moveTo>
                          <a:cubicBezTo>
                            <a:pt x="146" y="351"/>
                            <a:pt x="146" y="351"/>
                            <a:pt x="146" y="351"/>
                          </a:cubicBezTo>
                          <a:cubicBezTo>
                            <a:pt x="142" y="341"/>
                            <a:pt x="137" y="331"/>
                            <a:pt x="130" y="323"/>
                          </a:cubicBezTo>
                          <a:cubicBezTo>
                            <a:pt x="231" y="148"/>
                            <a:pt x="231" y="148"/>
                            <a:pt x="231" y="148"/>
                          </a:cubicBezTo>
                          <a:cubicBezTo>
                            <a:pt x="236" y="149"/>
                            <a:pt x="242" y="150"/>
                            <a:pt x="247" y="150"/>
                          </a:cubicBezTo>
                          <a:cubicBezTo>
                            <a:pt x="253" y="150"/>
                            <a:pt x="258" y="149"/>
                            <a:pt x="264" y="148"/>
                          </a:cubicBezTo>
                          <a:cubicBezTo>
                            <a:pt x="365" y="323"/>
                            <a:pt x="365" y="323"/>
                            <a:pt x="365" y="323"/>
                          </a:cubicBezTo>
                          <a:cubicBezTo>
                            <a:pt x="358" y="331"/>
                            <a:pt x="352" y="341"/>
                            <a:pt x="349" y="351"/>
                          </a:cubicBezTo>
                          <a:close/>
                        </a:path>
                      </a:pathLst>
                    </a:custGeom>
                    <a:solidFill>
                      <a:schemeClr val="bg1"/>
                    </a:solidFill>
                    <a:ln>
                      <a:noFill/>
                    </a:ln>
                    <a:extLst/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 sz="1200" dirty="0"/>
                    </a:p>
                  </p:txBody>
                </p:sp>
              </p:grpSp>
            </p:grpSp>
          </p:grpSp>
        </p:grpSp>
      </p:grpSp>
      <p:grpSp>
        <p:nvGrpSpPr>
          <p:cNvPr id="2240" name="Group 2239"/>
          <p:cNvGrpSpPr/>
          <p:nvPr/>
        </p:nvGrpSpPr>
        <p:grpSpPr>
          <a:xfrm>
            <a:off x="4161953" y="3528578"/>
            <a:ext cx="1376825" cy="887923"/>
            <a:chOff x="3560849" y="2605232"/>
            <a:chExt cx="1376825" cy="887923"/>
          </a:xfrm>
        </p:grpSpPr>
        <p:sp>
          <p:nvSpPr>
            <p:cNvPr id="2241" name="Rounded Rectangle 2240"/>
            <p:cNvSpPr/>
            <p:nvPr/>
          </p:nvSpPr>
          <p:spPr bwMode="auto">
            <a:xfrm>
              <a:off x="3682554" y="2615006"/>
              <a:ext cx="1161947" cy="878149"/>
            </a:xfrm>
            <a:prstGeom prst="roundRect">
              <a:avLst>
                <a:gd name="adj" fmla="val 7065"/>
              </a:avLst>
            </a:prstGeom>
            <a:solidFill>
              <a:sysClr val="window" lastClr="FFFFFF"/>
            </a:solidFill>
            <a:ln w="9525" cap="flat" cmpd="sng" algn="ctr">
              <a:solidFill>
                <a:sysClr val="window" lastClr="FFFFFF">
                  <a:lumMod val="50000"/>
                </a:sysClr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121917" tIns="60958" rIns="121917" bIns="60958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ＭＳ Ｐゴシック" pitchFamily="-12" charset="-128"/>
                <a:cs typeface="ＭＳ Ｐゴシック" pitchFamily="-12" charset="-128"/>
              </a:endParaRPr>
            </a:p>
          </p:txBody>
        </p:sp>
        <p:grpSp>
          <p:nvGrpSpPr>
            <p:cNvPr id="2242" name="Group 2241"/>
            <p:cNvGrpSpPr/>
            <p:nvPr/>
          </p:nvGrpSpPr>
          <p:grpSpPr>
            <a:xfrm>
              <a:off x="3560849" y="2605232"/>
              <a:ext cx="1376825" cy="829021"/>
              <a:chOff x="4587685" y="3159141"/>
              <a:chExt cx="1376825" cy="829021"/>
            </a:xfrm>
          </p:grpSpPr>
          <p:sp>
            <p:nvSpPr>
              <p:cNvPr id="2243" name="TextBox 2242"/>
              <p:cNvSpPr txBox="1"/>
              <p:nvPr/>
            </p:nvSpPr>
            <p:spPr>
              <a:xfrm>
                <a:off x="4587685" y="3159141"/>
                <a:ext cx="1376825" cy="250064"/>
              </a:xfrm>
              <a:prstGeom prst="rect">
                <a:avLst/>
              </a:prstGeom>
              <a:noFill/>
            </p:spPr>
            <p:txBody>
              <a:bodyPr wrap="square" lIns="121917" tIns="60958" rIns="121917" bIns="60958" rtlCol="0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9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Franklin Gothic Book"/>
                    <a:cs typeface="Franklin Gothic Book"/>
                  </a:rPr>
                  <a:t>Optimization Services</a:t>
                </a:r>
              </a:p>
            </p:txBody>
          </p:sp>
          <p:grpSp>
            <p:nvGrpSpPr>
              <p:cNvPr id="2244" name="Group 2243"/>
              <p:cNvGrpSpPr/>
              <p:nvPr/>
            </p:nvGrpSpPr>
            <p:grpSpPr>
              <a:xfrm>
                <a:off x="4841618" y="3432652"/>
                <a:ext cx="935142" cy="555510"/>
                <a:chOff x="3436473" y="2986823"/>
                <a:chExt cx="935142" cy="555510"/>
              </a:xfrm>
            </p:grpSpPr>
            <p:grpSp>
              <p:nvGrpSpPr>
                <p:cNvPr id="2245" name="Group 2244"/>
                <p:cNvGrpSpPr/>
                <p:nvPr/>
              </p:nvGrpSpPr>
              <p:grpSpPr>
                <a:xfrm>
                  <a:off x="3446205" y="2986823"/>
                  <a:ext cx="309857" cy="268010"/>
                  <a:chOff x="5310724" y="2352924"/>
                  <a:chExt cx="398754" cy="374816"/>
                </a:xfrm>
              </p:grpSpPr>
              <p:sp>
                <p:nvSpPr>
                  <p:cNvPr id="2386" name="Rounded Rectangle 2385"/>
                  <p:cNvSpPr/>
                  <p:nvPr/>
                </p:nvSpPr>
                <p:spPr>
                  <a:xfrm>
                    <a:off x="5351561" y="2386601"/>
                    <a:ext cx="308105" cy="310923"/>
                  </a:xfrm>
                  <a:prstGeom prst="roundRect">
                    <a:avLst/>
                  </a:prstGeom>
                  <a:solidFill>
                    <a:srgbClr val="9BBB59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 smtClean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Arial"/>
                      <a:ea typeface=""/>
                      <a:cs typeface=""/>
                    </a:endParaRPr>
                  </a:p>
                </p:txBody>
              </p:sp>
              <p:grpSp>
                <p:nvGrpSpPr>
                  <p:cNvPr id="2387" name="Group 2386"/>
                  <p:cNvGrpSpPr/>
                  <p:nvPr/>
                </p:nvGrpSpPr>
                <p:grpSpPr>
                  <a:xfrm>
                    <a:off x="5310724" y="2352924"/>
                    <a:ext cx="398754" cy="374816"/>
                    <a:chOff x="5310724" y="2352924"/>
                    <a:chExt cx="398754" cy="374816"/>
                  </a:xfrm>
                </p:grpSpPr>
                <p:grpSp>
                  <p:nvGrpSpPr>
                    <p:cNvPr id="2388" name="Group 2387"/>
                    <p:cNvGrpSpPr/>
                    <p:nvPr/>
                  </p:nvGrpSpPr>
                  <p:grpSpPr>
                    <a:xfrm rot="5400000">
                      <a:off x="5322693" y="2340955"/>
                      <a:ext cx="374816" cy="398754"/>
                      <a:chOff x="4471988" y="1985963"/>
                      <a:chExt cx="527051" cy="517525"/>
                    </a:xfrm>
                  </p:grpSpPr>
                  <p:sp>
                    <p:nvSpPr>
                      <p:cNvPr id="2390" name="Freeform 13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4471988" y="2117725"/>
                        <a:ext cx="25400" cy="50800"/>
                      </a:xfrm>
                      <a:custGeom>
                        <a:avLst/>
                        <a:gdLst>
                          <a:gd name="T0" fmla="*/ 14 w 29"/>
                          <a:gd name="T1" fmla="*/ 57 h 57"/>
                          <a:gd name="T2" fmla="*/ 29 w 29"/>
                          <a:gd name="T3" fmla="*/ 43 h 57"/>
                          <a:gd name="T4" fmla="*/ 29 w 29"/>
                          <a:gd name="T5" fmla="*/ 14 h 57"/>
                          <a:gd name="T6" fmla="*/ 14 w 29"/>
                          <a:gd name="T7" fmla="*/ 0 h 57"/>
                          <a:gd name="T8" fmla="*/ 0 w 29"/>
                          <a:gd name="T9" fmla="*/ 14 h 57"/>
                          <a:gd name="T10" fmla="*/ 0 w 29"/>
                          <a:gd name="T11" fmla="*/ 43 h 57"/>
                          <a:gd name="T12" fmla="*/ 14 w 29"/>
                          <a:gd name="T13" fmla="*/ 57 h 57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</a:cxnLst>
                        <a:rect l="0" t="0" r="r" b="b"/>
                        <a:pathLst>
                          <a:path w="29" h="57">
                            <a:moveTo>
                              <a:pt x="14" y="57"/>
                            </a:moveTo>
                            <a:cubicBezTo>
                              <a:pt x="22" y="57"/>
                              <a:pt x="29" y="51"/>
                              <a:pt x="29" y="43"/>
                            </a:cubicBezTo>
                            <a:cubicBezTo>
                              <a:pt x="29" y="14"/>
                              <a:pt x="29" y="14"/>
                              <a:pt x="29" y="14"/>
                            </a:cubicBezTo>
                            <a:cubicBezTo>
                              <a:pt x="29" y="6"/>
                              <a:pt x="22" y="0"/>
                              <a:pt x="14" y="0"/>
                            </a:cubicBezTo>
                            <a:cubicBezTo>
                              <a:pt x="7" y="0"/>
                              <a:pt x="0" y="6"/>
                              <a:pt x="0" y="14"/>
                            </a:cubicBezTo>
                            <a:cubicBezTo>
                              <a:pt x="0" y="43"/>
                              <a:pt x="0" y="43"/>
                              <a:pt x="0" y="43"/>
                            </a:cubicBezTo>
                            <a:cubicBezTo>
                              <a:pt x="0" y="51"/>
                              <a:pt x="7" y="57"/>
                              <a:pt x="14" y="57"/>
                            </a:cubicBezTo>
                            <a:close/>
                          </a:path>
                        </a:pathLst>
                      </a:custGeom>
                      <a:solidFill>
                        <a:srgbClr val="4D4D4F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=""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algn="l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1200" b="0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/>
                          <a:cs typeface=""/>
                        </a:endParaRPr>
                      </a:p>
                    </p:txBody>
                  </p:sp>
                  <p:sp>
                    <p:nvSpPr>
                      <p:cNvPr id="2391" name="Freeform 14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4471988" y="2271713"/>
                        <a:ext cx="25400" cy="52388"/>
                      </a:xfrm>
                      <a:custGeom>
                        <a:avLst/>
                        <a:gdLst>
                          <a:gd name="T0" fmla="*/ 14 w 29"/>
                          <a:gd name="T1" fmla="*/ 58 h 58"/>
                          <a:gd name="T2" fmla="*/ 29 w 29"/>
                          <a:gd name="T3" fmla="*/ 43 h 58"/>
                          <a:gd name="T4" fmla="*/ 29 w 29"/>
                          <a:gd name="T5" fmla="*/ 15 h 58"/>
                          <a:gd name="T6" fmla="*/ 14 w 29"/>
                          <a:gd name="T7" fmla="*/ 0 h 58"/>
                          <a:gd name="T8" fmla="*/ 0 w 29"/>
                          <a:gd name="T9" fmla="*/ 15 h 58"/>
                          <a:gd name="T10" fmla="*/ 0 w 29"/>
                          <a:gd name="T11" fmla="*/ 43 h 58"/>
                          <a:gd name="T12" fmla="*/ 14 w 29"/>
                          <a:gd name="T13" fmla="*/ 58 h 58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</a:cxnLst>
                        <a:rect l="0" t="0" r="r" b="b"/>
                        <a:pathLst>
                          <a:path w="29" h="58">
                            <a:moveTo>
                              <a:pt x="14" y="58"/>
                            </a:moveTo>
                            <a:cubicBezTo>
                              <a:pt x="22" y="58"/>
                              <a:pt x="29" y="51"/>
                              <a:pt x="29" y="43"/>
                            </a:cubicBezTo>
                            <a:cubicBezTo>
                              <a:pt x="29" y="15"/>
                              <a:pt x="29" y="15"/>
                              <a:pt x="29" y="15"/>
                            </a:cubicBezTo>
                            <a:cubicBezTo>
                              <a:pt x="29" y="7"/>
                              <a:pt x="22" y="0"/>
                              <a:pt x="14" y="0"/>
                            </a:cubicBezTo>
                            <a:cubicBezTo>
                              <a:pt x="7" y="0"/>
                              <a:pt x="0" y="7"/>
                              <a:pt x="0" y="15"/>
                            </a:cubicBezTo>
                            <a:cubicBezTo>
                              <a:pt x="0" y="43"/>
                              <a:pt x="0" y="43"/>
                              <a:pt x="0" y="43"/>
                            </a:cubicBezTo>
                            <a:cubicBezTo>
                              <a:pt x="0" y="51"/>
                              <a:pt x="7" y="58"/>
                              <a:pt x="14" y="58"/>
                            </a:cubicBezTo>
                            <a:close/>
                          </a:path>
                        </a:pathLst>
                      </a:custGeom>
                      <a:solidFill>
                        <a:srgbClr val="4D4D4F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=""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algn="l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1200" b="0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/>
                          <a:cs typeface=""/>
                        </a:endParaRPr>
                      </a:p>
                    </p:txBody>
                  </p:sp>
                  <p:sp>
                    <p:nvSpPr>
                      <p:cNvPr id="2392" name="Freeform 15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4487863" y="2422525"/>
                        <a:ext cx="44450" cy="47625"/>
                      </a:xfrm>
                      <a:custGeom>
                        <a:avLst/>
                        <a:gdLst>
                          <a:gd name="T0" fmla="*/ 29 w 50"/>
                          <a:gd name="T1" fmla="*/ 8 h 53"/>
                          <a:gd name="T2" fmla="*/ 9 w 50"/>
                          <a:gd name="T3" fmla="*/ 4 h 53"/>
                          <a:gd name="T4" fmla="*/ 4 w 50"/>
                          <a:gd name="T5" fmla="*/ 24 h 53"/>
                          <a:gd name="T6" fmla="*/ 24 w 50"/>
                          <a:gd name="T7" fmla="*/ 49 h 53"/>
                          <a:gd name="T8" fmla="*/ 34 w 50"/>
                          <a:gd name="T9" fmla="*/ 53 h 53"/>
                          <a:gd name="T10" fmla="*/ 45 w 50"/>
                          <a:gd name="T11" fmla="*/ 49 h 53"/>
                          <a:gd name="T12" fmla="*/ 45 w 50"/>
                          <a:gd name="T13" fmla="*/ 28 h 53"/>
                          <a:gd name="T14" fmla="*/ 29 w 50"/>
                          <a:gd name="T15" fmla="*/ 8 h 53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  <a:cxn ang="0">
                            <a:pos x="T14" y="T15"/>
                          </a:cxn>
                        </a:cxnLst>
                        <a:rect l="0" t="0" r="r" b="b"/>
                        <a:pathLst>
                          <a:path w="50" h="53">
                            <a:moveTo>
                              <a:pt x="29" y="8"/>
                            </a:moveTo>
                            <a:cubicBezTo>
                              <a:pt x="24" y="2"/>
                              <a:pt x="15" y="0"/>
                              <a:pt x="9" y="4"/>
                            </a:cubicBezTo>
                            <a:cubicBezTo>
                              <a:pt x="2" y="8"/>
                              <a:pt x="0" y="17"/>
                              <a:pt x="4" y="24"/>
                            </a:cubicBezTo>
                            <a:cubicBezTo>
                              <a:pt x="10" y="33"/>
                              <a:pt x="17" y="41"/>
                              <a:pt x="24" y="49"/>
                            </a:cubicBezTo>
                            <a:cubicBezTo>
                              <a:pt x="27" y="51"/>
                              <a:pt x="31" y="53"/>
                              <a:pt x="34" y="53"/>
                            </a:cubicBezTo>
                            <a:cubicBezTo>
                              <a:pt x="38" y="53"/>
                              <a:pt x="42" y="51"/>
                              <a:pt x="45" y="49"/>
                            </a:cubicBezTo>
                            <a:cubicBezTo>
                              <a:pt x="50" y="43"/>
                              <a:pt x="50" y="34"/>
                              <a:pt x="45" y="28"/>
                            </a:cubicBezTo>
                            <a:cubicBezTo>
                              <a:pt x="39" y="22"/>
                              <a:pt x="33" y="15"/>
                              <a:pt x="29" y="8"/>
                            </a:cubicBezTo>
                            <a:close/>
                          </a:path>
                        </a:pathLst>
                      </a:custGeom>
                      <a:solidFill>
                        <a:srgbClr val="4D4D4F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=""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algn="l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1200" b="0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/>
                          <a:cs typeface=""/>
                        </a:endParaRPr>
                      </a:p>
                    </p:txBody>
                  </p:sp>
                  <p:sp>
                    <p:nvSpPr>
                      <p:cNvPr id="2393" name="Freeform 16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4471988" y="2193925"/>
                        <a:ext cx="25400" cy="52388"/>
                      </a:xfrm>
                      <a:custGeom>
                        <a:avLst/>
                        <a:gdLst>
                          <a:gd name="T0" fmla="*/ 14 w 29"/>
                          <a:gd name="T1" fmla="*/ 58 h 58"/>
                          <a:gd name="T2" fmla="*/ 29 w 29"/>
                          <a:gd name="T3" fmla="*/ 43 h 58"/>
                          <a:gd name="T4" fmla="*/ 29 w 29"/>
                          <a:gd name="T5" fmla="*/ 14 h 58"/>
                          <a:gd name="T6" fmla="*/ 14 w 29"/>
                          <a:gd name="T7" fmla="*/ 0 h 58"/>
                          <a:gd name="T8" fmla="*/ 0 w 29"/>
                          <a:gd name="T9" fmla="*/ 14 h 58"/>
                          <a:gd name="T10" fmla="*/ 0 w 29"/>
                          <a:gd name="T11" fmla="*/ 43 h 58"/>
                          <a:gd name="T12" fmla="*/ 14 w 29"/>
                          <a:gd name="T13" fmla="*/ 58 h 58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</a:cxnLst>
                        <a:rect l="0" t="0" r="r" b="b"/>
                        <a:pathLst>
                          <a:path w="29" h="58">
                            <a:moveTo>
                              <a:pt x="14" y="58"/>
                            </a:moveTo>
                            <a:cubicBezTo>
                              <a:pt x="22" y="58"/>
                              <a:pt x="29" y="51"/>
                              <a:pt x="29" y="43"/>
                            </a:cubicBezTo>
                            <a:cubicBezTo>
                              <a:pt x="29" y="14"/>
                              <a:pt x="29" y="14"/>
                              <a:pt x="29" y="14"/>
                            </a:cubicBezTo>
                            <a:cubicBezTo>
                              <a:pt x="29" y="6"/>
                              <a:pt x="22" y="0"/>
                              <a:pt x="14" y="0"/>
                            </a:cubicBezTo>
                            <a:cubicBezTo>
                              <a:pt x="7" y="0"/>
                              <a:pt x="0" y="6"/>
                              <a:pt x="0" y="14"/>
                            </a:cubicBezTo>
                            <a:cubicBezTo>
                              <a:pt x="0" y="43"/>
                              <a:pt x="0" y="43"/>
                              <a:pt x="0" y="43"/>
                            </a:cubicBezTo>
                            <a:cubicBezTo>
                              <a:pt x="0" y="51"/>
                              <a:pt x="7" y="58"/>
                              <a:pt x="14" y="58"/>
                            </a:cubicBezTo>
                            <a:close/>
                          </a:path>
                        </a:pathLst>
                      </a:custGeom>
                      <a:solidFill>
                        <a:srgbClr val="4D4D4F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=""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algn="l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1200" b="0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/>
                          <a:cs typeface=""/>
                        </a:endParaRPr>
                      </a:p>
                    </p:txBody>
                  </p:sp>
                  <p:sp>
                    <p:nvSpPr>
                      <p:cNvPr id="2394" name="Freeform 17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4830763" y="1985963"/>
                        <a:ext cx="50800" cy="26988"/>
                      </a:xfrm>
                      <a:custGeom>
                        <a:avLst/>
                        <a:gdLst>
                          <a:gd name="T0" fmla="*/ 15 w 57"/>
                          <a:gd name="T1" fmla="*/ 29 h 29"/>
                          <a:gd name="T2" fmla="*/ 44 w 57"/>
                          <a:gd name="T3" fmla="*/ 29 h 29"/>
                          <a:gd name="T4" fmla="*/ 57 w 57"/>
                          <a:gd name="T5" fmla="*/ 15 h 29"/>
                          <a:gd name="T6" fmla="*/ 43 w 57"/>
                          <a:gd name="T7" fmla="*/ 0 h 29"/>
                          <a:gd name="T8" fmla="*/ 15 w 57"/>
                          <a:gd name="T9" fmla="*/ 0 h 29"/>
                          <a:gd name="T10" fmla="*/ 0 w 57"/>
                          <a:gd name="T11" fmla="*/ 15 h 29"/>
                          <a:gd name="T12" fmla="*/ 15 w 57"/>
                          <a:gd name="T13" fmla="*/ 29 h 29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</a:cxnLst>
                        <a:rect l="0" t="0" r="r" b="b"/>
                        <a:pathLst>
                          <a:path w="57" h="29">
                            <a:moveTo>
                              <a:pt x="15" y="29"/>
                            </a:moveTo>
                            <a:cubicBezTo>
                              <a:pt x="44" y="29"/>
                              <a:pt x="44" y="29"/>
                              <a:pt x="44" y="29"/>
                            </a:cubicBezTo>
                            <a:cubicBezTo>
                              <a:pt x="51" y="29"/>
                              <a:pt x="57" y="23"/>
                              <a:pt x="57" y="15"/>
                            </a:cubicBezTo>
                            <a:cubicBezTo>
                              <a:pt x="57" y="7"/>
                              <a:pt x="50" y="0"/>
                              <a:pt x="43" y="0"/>
                            </a:cubicBezTo>
                            <a:cubicBezTo>
                              <a:pt x="15" y="0"/>
                              <a:pt x="15" y="0"/>
                              <a:pt x="15" y="0"/>
                            </a:cubicBezTo>
                            <a:cubicBezTo>
                              <a:pt x="7" y="0"/>
                              <a:pt x="0" y="7"/>
                              <a:pt x="0" y="15"/>
                            </a:cubicBezTo>
                            <a:cubicBezTo>
                              <a:pt x="0" y="23"/>
                              <a:pt x="7" y="29"/>
                              <a:pt x="15" y="29"/>
                            </a:cubicBezTo>
                            <a:close/>
                          </a:path>
                        </a:pathLst>
                      </a:custGeom>
                      <a:solidFill>
                        <a:srgbClr val="4D4D4F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=""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algn="l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1200" b="0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/>
                          <a:cs typeface=""/>
                        </a:endParaRPr>
                      </a:p>
                    </p:txBody>
                  </p:sp>
                  <p:sp>
                    <p:nvSpPr>
                      <p:cNvPr id="2395" name="Freeform 18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4905376" y="1997075"/>
                        <a:ext cx="50800" cy="41275"/>
                      </a:xfrm>
                      <a:custGeom>
                        <a:avLst/>
                        <a:gdLst>
                          <a:gd name="T0" fmla="*/ 10 w 56"/>
                          <a:gd name="T1" fmla="*/ 30 h 47"/>
                          <a:gd name="T2" fmla="*/ 31 w 56"/>
                          <a:gd name="T3" fmla="*/ 43 h 47"/>
                          <a:gd name="T4" fmla="*/ 40 w 56"/>
                          <a:gd name="T5" fmla="*/ 47 h 47"/>
                          <a:gd name="T6" fmla="*/ 51 w 56"/>
                          <a:gd name="T7" fmla="*/ 41 h 47"/>
                          <a:gd name="T8" fmla="*/ 49 w 56"/>
                          <a:gd name="T9" fmla="*/ 21 h 47"/>
                          <a:gd name="T10" fmla="*/ 22 w 56"/>
                          <a:gd name="T11" fmla="*/ 4 h 47"/>
                          <a:gd name="T12" fmla="*/ 3 w 56"/>
                          <a:gd name="T13" fmla="*/ 11 h 47"/>
                          <a:gd name="T14" fmla="*/ 10 w 56"/>
                          <a:gd name="T15" fmla="*/ 30 h 47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  <a:cxn ang="0">
                            <a:pos x="T14" y="T15"/>
                          </a:cxn>
                        </a:cxnLst>
                        <a:rect l="0" t="0" r="r" b="b"/>
                        <a:pathLst>
                          <a:path w="56" h="47">
                            <a:moveTo>
                              <a:pt x="10" y="30"/>
                            </a:moveTo>
                            <a:cubicBezTo>
                              <a:pt x="17" y="33"/>
                              <a:pt x="25" y="38"/>
                              <a:pt x="31" y="43"/>
                            </a:cubicBezTo>
                            <a:cubicBezTo>
                              <a:pt x="34" y="46"/>
                              <a:pt x="37" y="47"/>
                              <a:pt x="40" y="47"/>
                            </a:cubicBezTo>
                            <a:cubicBezTo>
                              <a:pt x="44" y="47"/>
                              <a:pt x="49" y="45"/>
                              <a:pt x="51" y="41"/>
                            </a:cubicBezTo>
                            <a:cubicBezTo>
                              <a:pt x="56" y="35"/>
                              <a:pt x="55" y="26"/>
                              <a:pt x="49" y="21"/>
                            </a:cubicBezTo>
                            <a:cubicBezTo>
                              <a:pt x="41" y="14"/>
                              <a:pt x="32" y="9"/>
                              <a:pt x="22" y="4"/>
                            </a:cubicBezTo>
                            <a:cubicBezTo>
                              <a:pt x="15" y="0"/>
                              <a:pt x="7" y="3"/>
                              <a:pt x="3" y="11"/>
                            </a:cubicBezTo>
                            <a:cubicBezTo>
                              <a:pt x="0" y="18"/>
                              <a:pt x="3" y="26"/>
                              <a:pt x="10" y="30"/>
                            </a:cubicBezTo>
                            <a:close/>
                          </a:path>
                        </a:pathLst>
                      </a:custGeom>
                      <a:solidFill>
                        <a:srgbClr val="4D4D4F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=""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algn="l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1200" b="0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/>
                          <a:cs typeface=""/>
                        </a:endParaRPr>
                      </a:p>
                    </p:txBody>
                  </p:sp>
                  <p:sp>
                    <p:nvSpPr>
                      <p:cNvPr id="2396" name="Freeform 19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4476751" y="2039938"/>
                        <a:ext cx="39688" cy="52388"/>
                      </a:xfrm>
                      <a:custGeom>
                        <a:avLst/>
                        <a:gdLst>
                          <a:gd name="T0" fmla="*/ 12 w 45"/>
                          <a:gd name="T1" fmla="*/ 56 h 57"/>
                          <a:gd name="T2" fmla="*/ 16 w 45"/>
                          <a:gd name="T3" fmla="*/ 57 h 57"/>
                          <a:gd name="T4" fmla="*/ 30 w 45"/>
                          <a:gd name="T5" fmla="*/ 47 h 57"/>
                          <a:gd name="T6" fmla="*/ 41 w 45"/>
                          <a:gd name="T7" fmla="*/ 24 h 57"/>
                          <a:gd name="T8" fmla="*/ 36 w 45"/>
                          <a:gd name="T9" fmla="*/ 4 h 57"/>
                          <a:gd name="T10" fmla="*/ 16 w 45"/>
                          <a:gd name="T11" fmla="*/ 9 h 57"/>
                          <a:gd name="T12" fmla="*/ 3 w 45"/>
                          <a:gd name="T13" fmla="*/ 38 h 57"/>
                          <a:gd name="T14" fmla="*/ 12 w 45"/>
                          <a:gd name="T15" fmla="*/ 56 h 57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  <a:cxn ang="0">
                            <a:pos x="T14" y="T15"/>
                          </a:cxn>
                        </a:cxnLst>
                        <a:rect l="0" t="0" r="r" b="b"/>
                        <a:pathLst>
                          <a:path w="45" h="57">
                            <a:moveTo>
                              <a:pt x="12" y="56"/>
                            </a:moveTo>
                            <a:cubicBezTo>
                              <a:pt x="13" y="57"/>
                              <a:pt x="15" y="57"/>
                              <a:pt x="16" y="57"/>
                            </a:cubicBezTo>
                            <a:cubicBezTo>
                              <a:pt x="22" y="57"/>
                              <a:pt x="28" y="53"/>
                              <a:pt x="30" y="47"/>
                            </a:cubicBezTo>
                            <a:cubicBezTo>
                              <a:pt x="33" y="39"/>
                              <a:pt x="36" y="32"/>
                              <a:pt x="41" y="24"/>
                            </a:cubicBezTo>
                            <a:cubicBezTo>
                              <a:pt x="45" y="17"/>
                              <a:pt x="43" y="9"/>
                              <a:pt x="36" y="4"/>
                            </a:cubicBezTo>
                            <a:cubicBezTo>
                              <a:pt x="29" y="0"/>
                              <a:pt x="21" y="2"/>
                              <a:pt x="16" y="9"/>
                            </a:cubicBezTo>
                            <a:cubicBezTo>
                              <a:pt x="11" y="18"/>
                              <a:pt x="6" y="28"/>
                              <a:pt x="3" y="38"/>
                            </a:cubicBezTo>
                            <a:cubicBezTo>
                              <a:pt x="0" y="45"/>
                              <a:pt x="4" y="54"/>
                              <a:pt x="12" y="56"/>
                            </a:cubicBezTo>
                            <a:close/>
                          </a:path>
                        </a:pathLst>
                      </a:custGeom>
                      <a:solidFill>
                        <a:srgbClr val="4D4D4F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=""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algn="l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1200" b="0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/>
                          <a:cs typeface=""/>
                        </a:endParaRPr>
                      </a:p>
                    </p:txBody>
                  </p:sp>
                  <p:sp>
                    <p:nvSpPr>
                      <p:cNvPr id="2397" name="Freeform 20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4522788" y="1992313"/>
                        <a:ext cx="52388" cy="39688"/>
                      </a:xfrm>
                      <a:custGeom>
                        <a:avLst/>
                        <a:gdLst>
                          <a:gd name="T0" fmla="*/ 55 w 58"/>
                          <a:gd name="T1" fmla="*/ 11 h 43"/>
                          <a:gd name="T2" fmla="*/ 37 w 58"/>
                          <a:gd name="T3" fmla="*/ 2 h 43"/>
                          <a:gd name="T4" fmla="*/ 9 w 58"/>
                          <a:gd name="T5" fmla="*/ 17 h 43"/>
                          <a:gd name="T6" fmla="*/ 4 w 58"/>
                          <a:gd name="T7" fmla="*/ 37 h 43"/>
                          <a:gd name="T8" fmla="*/ 16 w 58"/>
                          <a:gd name="T9" fmla="*/ 43 h 43"/>
                          <a:gd name="T10" fmla="*/ 24 w 58"/>
                          <a:gd name="T11" fmla="*/ 41 h 43"/>
                          <a:gd name="T12" fmla="*/ 47 w 58"/>
                          <a:gd name="T13" fmla="*/ 29 h 43"/>
                          <a:gd name="T14" fmla="*/ 55 w 58"/>
                          <a:gd name="T15" fmla="*/ 11 h 43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  <a:cxn ang="0">
                            <a:pos x="T14" y="T15"/>
                          </a:cxn>
                        </a:cxnLst>
                        <a:rect l="0" t="0" r="r" b="b"/>
                        <a:pathLst>
                          <a:path w="58" h="43">
                            <a:moveTo>
                              <a:pt x="55" y="11"/>
                            </a:moveTo>
                            <a:cubicBezTo>
                              <a:pt x="53" y="3"/>
                              <a:pt x="44" y="0"/>
                              <a:pt x="37" y="2"/>
                            </a:cubicBezTo>
                            <a:cubicBezTo>
                              <a:pt x="27" y="6"/>
                              <a:pt x="17" y="11"/>
                              <a:pt x="9" y="17"/>
                            </a:cubicBezTo>
                            <a:cubicBezTo>
                              <a:pt x="2" y="21"/>
                              <a:pt x="0" y="30"/>
                              <a:pt x="4" y="37"/>
                            </a:cubicBezTo>
                            <a:cubicBezTo>
                              <a:pt x="7" y="41"/>
                              <a:pt x="12" y="43"/>
                              <a:pt x="16" y="43"/>
                            </a:cubicBezTo>
                            <a:cubicBezTo>
                              <a:pt x="19" y="43"/>
                              <a:pt x="22" y="43"/>
                              <a:pt x="24" y="41"/>
                            </a:cubicBezTo>
                            <a:cubicBezTo>
                              <a:pt x="31" y="36"/>
                              <a:pt x="39" y="32"/>
                              <a:pt x="47" y="29"/>
                            </a:cubicBezTo>
                            <a:cubicBezTo>
                              <a:pt x="54" y="27"/>
                              <a:pt x="58" y="18"/>
                              <a:pt x="55" y="11"/>
                            </a:cubicBezTo>
                            <a:close/>
                          </a:path>
                        </a:pathLst>
                      </a:custGeom>
                      <a:solidFill>
                        <a:srgbClr val="4D4D4F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=""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algn="l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1200" b="0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/>
                          <a:cs typeface=""/>
                        </a:endParaRPr>
                      </a:p>
                    </p:txBody>
                  </p:sp>
                  <p:sp>
                    <p:nvSpPr>
                      <p:cNvPr id="2398" name="Freeform 21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4959351" y="2051050"/>
                        <a:ext cx="36513" cy="52388"/>
                      </a:xfrm>
                      <a:custGeom>
                        <a:avLst/>
                        <a:gdLst>
                          <a:gd name="T0" fmla="*/ 13 w 42"/>
                          <a:gd name="T1" fmla="*/ 47 h 58"/>
                          <a:gd name="T2" fmla="*/ 27 w 42"/>
                          <a:gd name="T3" fmla="*/ 58 h 58"/>
                          <a:gd name="T4" fmla="*/ 30 w 42"/>
                          <a:gd name="T5" fmla="*/ 57 h 58"/>
                          <a:gd name="T6" fmla="*/ 41 w 42"/>
                          <a:gd name="T7" fmla="*/ 40 h 58"/>
                          <a:gd name="T8" fmla="*/ 30 w 42"/>
                          <a:gd name="T9" fmla="*/ 10 h 58"/>
                          <a:gd name="T10" fmla="*/ 11 w 42"/>
                          <a:gd name="T11" fmla="*/ 4 h 58"/>
                          <a:gd name="T12" fmla="*/ 4 w 42"/>
                          <a:gd name="T13" fmla="*/ 23 h 58"/>
                          <a:gd name="T14" fmla="*/ 13 w 42"/>
                          <a:gd name="T15" fmla="*/ 47 h 58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  <a:cxn ang="0">
                            <a:pos x="T14" y="T15"/>
                          </a:cxn>
                        </a:cxnLst>
                        <a:rect l="0" t="0" r="r" b="b"/>
                        <a:pathLst>
                          <a:path w="42" h="58">
                            <a:moveTo>
                              <a:pt x="13" y="47"/>
                            </a:moveTo>
                            <a:cubicBezTo>
                              <a:pt x="14" y="53"/>
                              <a:pt x="20" y="58"/>
                              <a:pt x="27" y="58"/>
                            </a:cubicBezTo>
                            <a:cubicBezTo>
                              <a:pt x="28" y="58"/>
                              <a:pt x="29" y="58"/>
                              <a:pt x="30" y="57"/>
                            </a:cubicBezTo>
                            <a:cubicBezTo>
                              <a:pt x="38" y="56"/>
                              <a:pt x="42" y="48"/>
                              <a:pt x="41" y="40"/>
                            </a:cubicBezTo>
                            <a:cubicBezTo>
                              <a:pt x="38" y="30"/>
                              <a:pt x="35" y="20"/>
                              <a:pt x="30" y="10"/>
                            </a:cubicBezTo>
                            <a:cubicBezTo>
                              <a:pt x="26" y="3"/>
                              <a:pt x="18" y="0"/>
                              <a:pt x="11" y="4"/>
                            </a:cubicBezTo>
                            <a:cubicBezTo>
                              <a:pt x="3" y="7"/>
                              <a:pt x="0" y="16"/>
                              <a:pt x="4" y="23"/>
                            </a:cubicBezTo>
                            <a:cubicBezTo>
                              <a:pt x="8" y="31"/>
                              <a:pt x="11" y="39"/>
                              <a:pt x="13" y="47"/>
                            </a:cubicBezTo>
                            <a:close/>
                          </a:path>
                        </a:pathLst>
                      </a:custGeom>
                      <a:solidFill>
                        <a:srgbClr val="4D4D4F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=""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algn="l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1200" b="0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/>
                          <a:cs typeface=""/>
                        </a:endParaRPr>
                      </a:p>
                    </p:txBody>
                  </p:sp>
                  <p:sp>
                    <p:nvSpPr>
                      <p:cNvPr id="2399" name="Freeform 22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4598988" y="1985963"/>
                        <a:ext cx="52388" cy="26988"/>
                      </a:xfrm>
                      <a:custGeom>
                        <a:avLst/>
                        <a:gdLst>
                          <a:gd name="T0" fmla="*/ 14 w 58"/>
                          <a:gd name="T1" fmla="*/ 29 h 29"/>
                          <a:gd name="T2" fmla="*/ 43 w 58"/>
                          <a:gd name="T3" fmla="*/ 29 h 29"/>
                          <a:gd name="T4" fmla="*/ 58 w 58"/>
                          <a:gd name="T5" fmla="*/ 15 h 29"/>
                          <a:gd name="T6" fmla="*/ 43 w 58"/>
                          <a:gd name="T7" fmla="*/ 0 h 29"/>
                          <a:gd name="T8" fmla="*/ 14 w 58"/>
                          <a:gd name="T9" fmla="*/ 0 h 29"/>
                          <a:gd name="T10" fmla="*/ 0 w 58"/>
                          <a:gd name="T11" fmla="*/ 15 h 29"/>
                          <a:gd name="T12" fmla="*/ 14 w 58"/>
                          <a:gd name="T13" fmla="*/ 29 h 29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</a:cxnLst>
                        <a:rect l="0" t="0" r="r" b="b"/>
                        <a:pathLst>
                          <a:path w="58" h="29">
                            <a:moveTo>
                              <a:pt x="14" y="29"/>
                            </a:moveTo>
                            <a:cubicBezTo>
                              <a:pt x="43" y="29"/>
                              <a:pt x="43" y="29"/>
                              <a:pt x="43" y="29"/>
                            </a:cubicBezTo>
                            <a:cubicBezTo>
                              <a:pt x="51" y="29"/>
                              <a:pt x="58" y="23"/>
                              <a:pt x="58" y="15"/>
                            </a:cubicBezTo>
                            <a:cubicBezTo>
                              <a:pt x="58" y="7"/>
                              <a:pt x="51" y="0"/>
                              <a:pt x="43" y="0"/>
                            </a:cubicBezTo>
                            <a:cubicBezTo>
                              <a:pt x="14" y="0"/>
                              <a:pt x="14" y="0"/>
                              <a:pt x="14" y="0"/>
                            </a:cubicBezTo>
                            <a:cubicBezTo>
                              <a:pt x="6" y="0"/>
                              <a:pt x="0" y="7"/>
                              <a:pt x="0" y="15"/>
                            </a:cubicBezTo>
                            <a:cubicBezTo>
                              <a:pt x="0" y="23"/>
                              <a:pt x="6" y="29"/>
                              <a:pt x="14" y="29"/>
                            </a:cubicBezTo>
                            <a:close/>
                          </a:path>
                        </a:pathLst>
                      </a:custGeom>
                      <a:solidFill>
                        <a:srgbClr val="4D4D4F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=""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algn="l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1200" b="0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/>
                          <a:cs typeface=""/>
                        </a:endParaRPr>
                      </a:p>
                    </p:txBody>
                  </p:sp>
                  <p:sp>
                    <p:nvSpPr>
                      <p:cNvPr id="2400" name="Freeform 23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4676776" y="1985963"/>
                        <a:ext cx="50800" cy="26988"/>
                      </a:xfrm>
                      <a:custGeom>
                        <a:avLst/>
                        <a:gdLst>
                          <a:gd name="T0" fmla="*/ 15 w 58"/>
                          <a:gd name="T1" fmla="*/ 29 h 29"/>
                          <a:gd name="T2" fmla="*/ 43 w 58"/>
                          <a:gd name="T3" fmla="*/ 29 h 29"/>
                          <a:gd name="T4" fmla="*/ 58 w 58"/>
                          <a:gd name="T5" fmla="*/ 15 h 29"/>
                          <a:gd name="T6" fmla="*/ 43 w 58"/>
                          <a:gd name="T7" fmla="*/ 0 h 29"/>
                          <a:gd name="T8" fmla="*/ 15 w 58"/>
                          <a:gd name="T9" fmla="*/ 0 h 29"/>
                          <a:gd name="T10" fmla="*/ 0 w 58"/>
                          <a:gd name="T11" fmla="*/ 15 h 29"/>
                          <a:gd name="T12" fmla="*/ 15 w 58"/>
                          <a:gd name="T13" fmla="*/ 29 h 29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</a:cxnLst>
                        <a:rect l="0" t="0" r="r" b="b"/>
                        <a:pathLst>
                          <a:path w="58" h="29">
                            <a:moveTo>
                              <a:pt x="15" y="29"/>
                            </a:moveTo>
                            <a:cubicBezTo>
                              <a:pt x="43" y="29"/>
                              <a:pt x="43" y="29"/>
                              <a:pt x="43" y="29"/>
                            </a:cubicBezTo>
                            <a:cubicBezTo>
                              <a:pt x="51" y="29"/>
                              <a:pt x="58" y="23"/>
                              <a:pt x="58" y="15"/>
                            </a:cubicBezTo>
                            <a:cubicBezTo>
                              <a:pt x="58" y="7"/>
                              <a:pt x="51" y="0"/>
                              <a:pt x="43" y="0"/>
                            </a:cubicBezTo>
                            <a:cubicBezTo>
                              <a:pt x="15" y="0"/>
                              <a:pt x="15" y="0"/>
                              <a:pt x="15" y="0"/>
                            </a:cubicBezTo>
                            <a:cubicBezTo>
                              <a:pt x="7" y="0"/>
                              <a:pt x="0" y="7"/>
                              <a:pt x="0" y="15"/>
                            </a:cubicBezTo>
                            <a:cubicBezTo>
                              <a:pt x="0" y="23"/>
                              <a:pt x="7" y="29"/>
                              <a:pt x="15" y="29"/>
                            </a:cubicBezTo>
                            <a:close/>
                          </a:path>
                        </a:pathLst>
                      </a:custGeom>
                      <a:solidFill>
                        <a:srgbClr val="4D4D4F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=""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algn="l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1200" b="0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/>
                          <a:cs typeface=""/>
                        </a:endParaRPr>
                      </a:p>
                    </p:txBody>
                  </p:sp>
                  <p:sp>
                    <p:nvSpPr>
                      <p:cNvPr id="2401" name="Freeform 24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4752976" y="1985963"/>
                        <a:ext cx="52388" cy="26988"/>
                      </a:xfrm>
                      <a:custGeom>
                        <a:avLst/>
                        <a:gdLst>
                          <a:gd name="T0" fmla="*/ 15 w 58"/>
                          <a:gd name="T1" fmla="*/ 29 h 29"/>
                          <a:gd name="T2" fmla="*/ 43 w 58"/>
                          <a:gd name="T3" fmla="*/ 29 h 29"/>
                          <a:gd name="T4" fmla="*/ 58 w 58"/>
                          <a:gd name="T5" fmla="*/ 15 h 29"/>
                          <a:gd name="T6" fmla="*/ 43 w 58"/>
                          <a:gd name="T7" fmla="*/ 0 h 29"/>
                          <a:gd name="T8" fmla="*/ 15 w 58"/>
                          <a:gd name="T9" fmla="*/ 0 h 29"/>
                          <a:gd name="T10" fmla="*/ 0 w 58"/>
                          <a:gd name="T11" fmla="*/ 15 h 29"/>
                          <a:gd name="T12" fmla="*/ 15 w 58"/>
                          <a:gd name="T13" fmla="*/ 29 h 29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</a:cxnLst>
                        <a:rect l="0" t="0" r="r" b="b"/>
                        <a:pathLst>
                          <a:path w="58" h="29">
                            <a:moveTo>
                              <a:pt x="15" y="29"/>
                            </a:moveTo>
                            <a:cubicBezTo>
                              <a:pt x="43" y="29"/>
                              <a:pt x="43" y="29"/>
                              <a:pt x="43" y="29"/>
                            </a:cubicBezTo>
                            <a:cubicBezTo>
                              <a:pt x="51" y="29"/>
                              <a:pt x="58" y="23"/>
                              <a:pt x="58" y="15"/>
                            </a:cubicBezTo>
                            <a:cubicBezTo>
                              <a:pt x="58" y="7"/>
                              <a:pt x="51" y="0"/>
                              <a:pt x="43" y="0"/>
                            </a:cubicBezTo>
                            <a:cubicBezTo>
                              <a:pt x="15" y="0"/>
                              <a:pt x="15" y="0"/>
                              <a:pt x="15" y="0"/>
                            </a:cubicBezTo>
                            <a:cubicBezTo>
                              <a:pt x="7" y="0"/>
                              <a:pt x="0" y="7"/>
                              <a:pt x="0" y="15"/>
                            </a:cubicBezTo>
                            <a:cubicBezTo>
                              <a:pt x="0" y="23"/>
                              <a:pt x="7" y="29"/>
                              <a:pt x="15" y="29"/>
                            </a:cubicBezTo>
                            <a:close/>
                          </a:path>
                        </a:pathLst>
                      </a:custGeom>
                      <a:solidFill>
                        <a:srgbClr val="4D4D4F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=""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algn="l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1200" b="0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/>
                          <a:cs typeface=""/>
                        </a:endParaRPr>
                      </a:p>
                    </p:txBody>
                  </p:sp>
                  <p:sp>
                    <p:nvSpPr>
                      <p:cNvPr id="2402" name="Freeform 25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4471988" y="2349500"/>
                        <a:ext cx="26988" cy="52388"/>
                      </a:xfrm>
                      <a:custGeom>
                        <a:avLst/>
                        <a:gdLst>
                          <a:gd name="T0" fmla="*/ 30 w 31"/>
                          <a:gd name="T1" fmla="*/ 42 h 58"/>
                          <a:gd name="T2" fmla="*/ 29 w 31"/>
                          <a:gd name="T3" fmla="*/ 28 h 58"/>
                          <a:gd name="T4" fmla="*/ 29 w 31"/>
                          <a:gd name="T5" fmla="*/ 15 h 58"/>
                          <a:gd name="T6" fmla="*/ 14 w 31"/>
                          <a:gd name="T7" fmla="*/ 0 h 58"/>
                          <a:gd name="T8" fmla="*/ 0 w 31"/>
                          <a:gd name="T9" fmla="*/ 15 h 58"/>
                          <a:gd name="T10" fmla="*/ 0 w 31"/>
                          <a:gd name="T11" fmla="*/ 28 h 58"/>
                          <a:gd name="T12" fmla="*/ 1 w 31"/>
                          <a:gd name="T13" fmla="*/ 45 h 58"/>
                          <a:gd name="T14" fmla="*/ 15 w 31"/>
                          <a:gd name="T15" fmla="*/ 58 h 58"/>
                          <a:gd name="T16" fmla="*/ 17 w 31"/>
                          <a:gd name="T17" fmla="*/ 58 h 58"/>
                          <a:gd name="T18" fmla="*/ 30 w 31"/>
                          <a:gd name="T19" fmla="*/ 42 h 58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  <a:cxn ang="0">
                            <a:pos x="T14" y="T15"/>
                          </a:cxn>
                          <a:cxn ang="0">
                            <a:pos x="T16" y="T17"/>
                          </a:cxn>
                          <a:cxn ang="0">
                            <a:pos x="T18" y="T19"/>
                          </a:cxn>
                        </a:cxnLst>
                        <a:rect l="0" t="0" r="r" b="b"/>
                        <a:pathLst>
                          <a:path w="31" h="58">
                            <a:moveTo>
                              <a:pt x="30" y="42"/>
                            </a:moveTo>
                            <a:cubicBezTo>
                              <a:pt x="29" y="37"/>
                              <a:pt x="29" y="33"/>
                              <a:pt x="29" y="28"/>
                            </a:cubicBezTo>
                            <a:cubicBezTo>
                              <a:pt x="29" y="15"/>
                              <a:pt x="29" y="15"/>
                              <a:pt x="29" y="15"/>
                            </a:cubicBezTo>
                            <a:cubicBezTo>
                              <a:pt x="29" y="7"/>
                              <a:pt x="22" y="0"/>
                              <a:pt x="14" y="0"/>
                            </a:cubicBezTo>
                            <a:cubicBezTo>
                              <a:pt x="7" y="0"/>
                              <a:pt x="0" y="7"/>
                              <a:pt x="0" y="15"/>
                            </a:cubicBezTo>
                            <a:cubicBezTo>
                              <a:pt x="0" y="28"/>
                              <a:pt x="0" y="28"/>
                              <a:pt x="0" y="28"/>
                            </a:cubicBezTo>
                            <a:cubicBezTo>
                              <a:pt x="0" y="34"/>
                              <a:pt x="0" y="39"/>
                              <a:pt x="1" y="45"/>
                            </a:cubicBezTo>
                            <a:cubicBezTo>
                              <a:pt x="2" y="52"/>
                              <a:pt x="8" y="58"/>
                              <a:pt x="15" y="58"/>
                            </a:cubicBezTo>
                            <a:cubicBezTo>
                              <a:pt x="16" y="58"/>
                              <a:pt x="17" y="58"/>
                              <a:pt x="17" y="58"/>
                            </a:cubicBezTo>
                            <a:cubicBezTo>
                              <a:pt x="25" y="57"/>
                              <a:pt x="31" y="50"/>
                              <a:pt x="30" y="42"/>
                            </a:cubicBezTo>
                            <a:close/>
                          </a:path>
                        </a:pathLst>
                      </a:custGeom>
                      <a:solidFill>
                        <a:srgbClr val="4D4D4F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=""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algn="l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1200" b="0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/>
                          <a:cs typeface=""/>
                        </a:endParaRPr>
                      </a:p>
                    </p:txBody>
                  </p:sp>
                  <p:sp>
                    <p:nvSpPr>
                      <p:cNvPr id="2403" name="Freeform 26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4973638" y="2282825"/>
                        <a:ext cx="25400" cy="52388"/>
                      </a:xfrm>
                      <a:custGeom>
                        <a:avLst/>
                        <a:gdLst>
                          <a:gd name="T0" fmla="*/ 14 w 29"/>
                          <a:gd name="T1" fmla="*/ 0 h 58"/>
                          <a:gd name="T2" fmla="*/ 0 w 29"/>
                          <a:gd name="T3" fmla="*/ 15 h 58"/>
                          <a:gd name="T4" fmla="*/ 0 w 29"/>
                          <a:gd name="T5" fmla="*/ 44 h 58"/>
                          <a:gd name="T6" fmla="*/ 14 w 29"/>
                          <a:gd name="T7" fmla="*/ 58 h 58"/>
                          <a:gd name="T8" fmla="*/ 29 w 29"/>
                          <a:gd name="T9" fmla="*/ 44 h 58"/>
                          <a:gd name="T10" fmla="*/ 29 w 29"/>
                          <a:gd name="T11" fmla="*/ 15 h 58"/>
                          <a:gd name="T12" fmla="*/ 14 w 29"/>
                          <a:gd name="T13" fmla="*/ 0 h 58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</a:cxnLst>
                        <a:rect l="0" t="0" r="r" b="b"/>
                        <a:pathLst>
                          <a:path w="29" h="58">
                            <a:moveTo>
                              <a:pt x="14" y="0"/>
                            </a:moveTo>
                            <a:cubicBezTo>
                              <a:pt x="6" y="0"/>
                              <a:pt x="0" y="7"/>
                              <a:pt x="0" y="15"/>
                            </a:cubicBezTo>
                            <a:cubicBezTo>
                              <a:pt x="0" y="44"/>
                              <a:pt x="0" y="44"/>
                              <a:pt x="0" y="44"/>
                            </a:cubicBezTo>
                            <a:cubicBezTo>
                              <a:pt x="0" y="52"/>
                              <a:pt x="6" y="58"/>
                              <a:pt x="14" y="58"/>
                            </a:cubicBezTo>
                            <a:cubicBezTo>
                              <a:pt x="22" y="58"/>
                              <a:pt x="29" y="52"/>
                              <a:pt x="29" y="44"/>
                            </a:cubicBezTo>
                            <a:cubicBezTo>
                              <a:pt x="29" y="15"/>
                              <a:pt x="29" y="15"/>
                              <a:pt x="29" y="15"/>
                            </a:cubicBezTo>
                            <a:cubicBezTo>
                              <a:pt x="29" y="7"/>
                              <a:pt x="22" y="0"/>
                              <a:pt x="14" y="0"/>
                            </a:cubicBezTo>
                            <a:close/>
                          </a:path>
                        </a:pathLst>
                      </a:custGeom>
                      <a:solidFill>
                        <a:srgbClr val="4D4D4F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=""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algn="l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1200" b="0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/>
                          <a:cs typeface=""/>
                        </a:endParaRPr>
                      </a:p>
                    </p:txBody>
                  </p:sp>
                  <p:sp>
                    <p:nvSpPr>
                      <p:cNvPr id="2404" name="Freeform 28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4927601" y="2432050"/>
                        <a:ext cx="47625" cy="46038"/>
                      </a:xfrm>
                      <a:custGeom>
                        <a:avLst/>
                        <a:gdLst>
                          <a:gd name="T0" fmla="*/ 25 w 53"/>
                          <a:gd name="T1" fmla="*/ 7 h 51"/>
                          <a:gd name="T2" fmla="*/ 7 w 53"/>
                          <a:gd name="T3" fmla="*/ 25 h 51"/>
                          <a:gd name="T4" fmla="*/ 5 w 53"/>
                          <a:gd name="T5" fmla="*/ 45 h 51"/>
                          <a:gd name="T6" fmla="*/ 16 w 53"/>
                          <a:gd name="T7" fmla="*/ 51 h 51"/>
                          <a:gd name="T8" fmla="*/ 25 w 53"/>
                          <a:gd name="T9" fmla="*/ 47 h 51"/>
                          <a:gd name="T10" fmla="*/ 48 w 53"/>
                          <a:gd name="T11" fmla="*/ 25 h 51"/>
                          <a:gd name="T12" fmla="*/ 45 w 53"/>
                          <a:gd name="T13" fmla="*/ 5 h 51"/>
                          <a:gd name="T14" fmla="*/ 25 w 53"/>
                          <a:gd name="T15" fmla="*/ 7 h 51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  <a:cxn ang="0">
                            <a:pos x="T14" y="T15"/>
                          </a:cxn>
                        </a:cxnLst>
                        <a:rect l="0" t="0" r="r" b="b"/>
                        <a:pathLst>
                          <a:path w="53" h="51">
                            <a:moveTo>
                              <a:pt x="25" y="7"/>
                            </a:moveTo>
                            <a:cubicBezTo>
                              <a:pt x="20" y="14"/>
                              <a:pt x="14" y="20"/>
                              <a:pt x="7" y="25"/>
                            </a:cubicBezTo>
                            <a:cubicBezTo>
                              <a:pt x="1" y="30"/>
                              <a:pt x="0" y="39"/>
                              <a:pt x="5" y="45"/>
                            </a:cubicBezTo>
                            <a:cubicBezTo>
                              <a:pt x="8" y="49"/>
                              <a:pt x="12" y="51"/>
                              <a:pt x="16" y="51"/>
                            </a:cubicBezTo>
                            <a:cubicBezTo>
                              <a:pt x="20" y="51"/>
                              <a:pt x="23" y="50"/>
                              <a:pt x="25" y="47"/>
                            </a:cubicBezTo>
                            <a:cubicBezTo>
                              <a:pt x="34" y="41"/>
                              <a:pt x="41" y="33"/>
                              <a:pt x="48" y="25"/>
                            </a:cubicBezTo>
                            <a:cubicBezTo>
                              <a:pt x="53" y="19"/>
                              <a:pt x="52" y="9"/>
                              <a:pt x="45" y="5"/>
                            </a:cubicBezTo>
                            <a:cubicBezTo>
                              <a:pt x="39" y="0"/>
                              <a:pt x="30" y="1"/>
                              <a:pt x="25" y="7"/>
                            </a:cubicBezTo>
                            <a:close/>
                          </a:path>
                        </a:pathLst>
                      </a:custGeom>
                      <a:solidFill>
                        <a:srgbClr val="4D4D4F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=""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algn="l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1200" b="0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/>
                          <a:cs typeface=""/>
                        </a:endParaRPr>
                      </a:p>
                    </p:txBody>
                  </p:sp>
                  <p:sp>
                    <p:nvSpPr>
                      <p:cNvPr id="2405" name="Freeform 29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4968876" y="2360613"/>
                        <a:ext cx="30163" cy="52388"/>
                      </a:xfrm>
                      <a:custGeom>
                        <a:avLst/>
                        <a:gdLst>
                          <a:gd name="T0" fmla="*/ 19 w 34"/>
                          <a:gd name="T1" fmla="*/ 0 h 58"/>
                          <a:gd name="T2" fmla="*/ 5 w 34"/>
                          <a:gd name="T3" fmla="*/ 15 h 58"/>
                          <a:gd name="T4" fmla="*/ 2 w 34"/>
                          <a:gd name="T5" fmla="*/ 40 h 58"/>
                          <a:gd name="T6" fmla="*/ 13 w 34"/>
                          <a:gd name="T7" fmla="*/ 58 h 58"/>
                          <a:gd name="T8" fmla="*/ 16 w 34"/>
                          <a:gd name="T9" fmla="*/ 58 h 58"/>
                          <a:gd name="T10" fmla="*/ 30 w 34"/>
                          <a:gd name="T11" fmla="*/ 47 h 58"/>
                          <a:gd name="T12" fmla="*/ 34 w 34"/>
                          <a:gd name="T13" fmla="*/ 15 h 58"/>
                          <a:gd name="T14" fmla="*/ 34 w 34"/>
                          <a:gd name="T15" fmla="*/ 14 h 58"/>
                          <a:gd name="T16" fmla="*/ 19 w 34"/>
                          <a:gd name="T17" fmla="*/ 0 h 58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  <a:cxn ang="0">
                            <a:pos x="T14" y="T15"/>
                          </a:cxn>
                          <a:cxn ang="0">
                            <a:pos x="T16" y="T17"/>
                          </a:cxn>
                        </a:cxnLst>
                        <a:rect l="0" t="0" r="r" b="b"/>
                        <a:pathLst>
                          <a:path w="34" h="58">
                            <a:moveTo>
                              <a:pt x="19" y="0"/>
                            </a:moveTo>
                            <a:cubicBezTo>
                              <a:pt x="11" y="0"/>
                              <a:pt x="5" y="7"/>
                              <a:pt x="5" y="15"/>
                            </a:cubicBezTo>
                            <a:cubicBezTo>
                              <a:pt x="5" y="24"/>
                              <a:pt x="4" y="32"/>
                              <a:pt x="2" y="40"/>
                            </a:cubicBezTo>
                            <a:cubicBezTo>
                              <a:pt x="0" y="48"/>
                              <a:pt x="5" y="56"/>
                              <a:pt x="13" y="58"/>
                            </a:cubicBezTo>
                            <a:cubicBezTo>
                              <a:pt x="14" y="58"/>
                              <a:pt x="15" y="58"/>
                              <a:pt x="16" y="58"/>
                            </a:cubicBezTo>
                            <a:cubicBezTo>
                              <a:pt x="23" y="58"/>
                              <a:pt x="29" y="53"/>
                              <a:pt x="30" y="47"/>
                            </a:cubicBezTo>
                            <a:cubicBezTo>
                              <a:pt x="32" y="36"/>
                              <a:pt x="34" y="26"/>
                              <a:pt x="34" y="15"/>
                            </a:cubicBezTo>
                            <a:cubicBezTo>
                              <a:pt x="34" y="14"/>
                              <a:pt x="34" y="14"/>
                              <a:pt x="34" y="14"/>
                            </a:cubicBezTo>
                            <a:cubicBezTo>
                              <a:pt x="34" y="6"/>
                              <a:pt x="27" y="0"/>
                              <a:pt x="19" y="0"/>
                            </a:cubicBezTo>
                            <a:close/>
                          </a:path>
                        </a:pathLst>
                      </a:custGeom>
                      <a:solidFill>
                        <a:srgbClr val="4D4D4F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=""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algn="l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1200" b="0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/>
                          <a:cs typeface=""/>
                        </a:endParaRPr>
                      </a:p>
                    </p:txBody>
                  </p:sp>
                  <p:sp>
                    <p:nvSpPr>
                      <p:cNvPr id="2406" name="Freeform 30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4973638" y="2205038"/>
                        <a:ext cx="25400" cy="52388"/>
                      </a:xfrm>
                      <a:custGeom>
                        <a:avLst/>
                        <a:gdLst>
                          <a:gd name="T0" fmla="*/ 14 w 29"/>
                          <a:gd name="T1" fmla="*/ 0 h 58"/>
                          <a:gd name="T2" fmla="*/ 0 w 29"/>
                          <a:gd name="T3" fmla="*/ 15 h 58"/>
                          <a:gd name="T4" fmla="*/ 0 w 29"/>
                          <a:gd name="T5" fmla="*/ 43 h 58"/>
                          <a:gd name="T6" fmla="*/ 14 w 29"/>
                          <a:gd name="T7" fmla="*/ 58 h 58"/>
                          <a:gd name="T8" fmla="*/ 29 w 29"/>
                          <a:gd name="T9" fmla="*/ 43 h 58"/>
                          <a:gd name="T10" fmla="*/ 29 w 29"/>
                          <a:gd name="T11" fmla="*/ 15 h 58"/>
                          <a:gd name="T12" fmla="*/ 14 w 29"/>
                          <a:gd name="T13" fmla="*/ 0 h 58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</a:cxnLst>
                        <a:rect l="0" t="0" r="r" b="b"/>
                        <a:pathLst>
                          <a:path w="29" h="58">
                            <a:moveTo>
                              <a:pt x="14" y="0"/>
                            </a:moveTo>
                            <a:cubicBezTo>
                              <a:pt x="6" y="0"/>
                              <a:pt x="0" y="7"/>
                              <a:pt x="0" y="15"/>
                            </a:cubicBezTo>
                            <a:cubicBezTo>
                              <a:pt x="0" y="43"/>
                              <a:pt x="0" y="43"/>
                              <a:pt x="0" y="43"/>
                            </a:cubicBezTo>
                            <a:cubicBezTo>
                              <a:pt x="0" y="51"/>
                              <a:pt x="6" y="58"/>
                              <a:pt x="14" y="58"/>
                            </a:cubicBezTo>
                            <a:cubicBezTo>
                              <a:pt x="22" y="58"/>
                              <a:pt x="29" y="51"/>
                              <a:pt x="29" y="43"/>
                            </a:cubicBezTo>
                            <a:cubicBezTo>
                              <a:pt x="29" y="15"/>
                              <a:pt x="29" y="15"/>
                              <a:pt x="29" y="15"/>
                            </a:cubicBezTo>
                            <a:cubicBezTo>
                              <a:pt x="29" y="7"/>
                              <a:pt x="22" y="0"/>
                              <a:pt x="14" y="0"/>
                            </a:cubicBezTo>
                            <a:close/>
                          </a:path>
                        </a:pathLst>
                      </a:custGeom>
                      <a:solidFill>
                        <a:srgbClr val="4D4D4F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=""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algn="l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1200" b="0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/>
                          <a:cs typeface=""/>
                        </a:endParaRPr>
                      </a:p>
                    </p:txBody>
                  </p:sp>
                  <p:sp>
                    <p:nvSpPr>
                      <p:cNvPr id="2407" name="Freeform 31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4973638" y="2127250"/>
                        <a:ext cx="25400" cy="52388"/>
                      </a:xfrm>
                      <a:custGeom>
                        <a:avLst/>
                        <a:gdLst>
                          <a:gd name="T0" fmla="*/ 14 w 29"/>
                          <a:gd name="T1" fmla="*/ 0 h 58"/>
                          <a:gd name="T2" fmla="*/ 0 w 29"/>
                          <a:gd name="T3" fmla="*/ 15 h 58"/>
                          <a:gd name="T4" fmla="*/ 0 w 29"/>
                          <a:gd name="T5" fmla="*/ 43 h 58"/>
                          <a:gd name="T6" fmla="*/ 14 w 29"/>
                          <a:gd name="T7" fmla="*/ 58 h 58"/>
                          <a:gd name="T8" fmla="*/ 29 w 29"/>
                          <a:gd name="T9" fmla="*/ 43 h 58"/>
                          <a:gd name="T10" fmla="*/ 29 w 29"/>
                          <a:gd name="T11" fmla="*/ 15 h 58"/>
                          <a:gd name="T12" fmla="*/ 14 w 29"/>
                          <a:gd name="T13" fmla="*/ 0 h 58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</a:cxnLst>
                        <a:rect l="0" t="0" r="r" b="b"/>
                        <a:pathLst>
                          <a:path w="29" h="58">
                            <a:moveTo>
                              <a:pt x="14" y="0"/>
                            </a:moveTo>
                            <a:cubicBezTo>
                              <a:pt x="6" y="0"/>
                              <a:pt x="0" y="7"/>
                              <a:pt x="0" y="15"/>
                            </a:cubicBezTo>
                            <a:cubicBezTo>
                              <a:pt x="0" y="43"/>
                              <a:pt x="0" y="43"/>
                              <a:pt x="0" y="43"/>
                            </a:cubicBezTo>
                            <a:cubicBezTo>
                              <a:pt x="0" y="51"/>
                              <a:pt x="6" y="58"/>
                              <a:pt x="14" y="58"/>
                            </a:cubicBezTo>
                            <a:cubicBezTo>
                              <a:pt x="22" y="58"/>
                              <a:pt x="29" y="51"/>
                              <a:pt x="29" y="43"/>
                            </a:cubicBezTo>
                            <a:cubicBezTo>
                              <a:pt x="29" y="15"/>
                              <a:pt x="29" y="15"/>
                              <a:pt x="29" y="15"/>
                            </a:cubicBezTo>
                            <a:cubicBezTo>
                              <a:pt x="29" y="7"/>
                              <a:pt x="22" y="0"/>
                              <a:pt x="14" y="0"/>
                            </a:cubicBezTo>
                            <a:close/>
                          </a:path>
                        </a:pathLst>
                      </a:custGeom>
                      <a:solidFill>
                        <a:srgbClr val="4D4D4F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=""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algn="l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1200" b="0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/>
                          <a:cs typeface=""/>
                        </a:endParaRPr>
                      </a:p>
                    </p:txBody>
                  </p:sp>
                  <p:sp>
                    <p:nvSpPr>
                      <p:cNvPr id="2408" name="Freeform 32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4546601" y="2470150"/>
                        <a:ext cx="53975" cy="33338"/>
                      </a:xfrm>
                      <a:custGeom>
                        <a:avLst/>
                        <a:gdLst>
                          <a:gd name="T0" fmla="*/ 46 w 60"/>
                          <a:gd name="T1" fmla="*/ 8 h 37"/>
                          <a:gd name="T2" fmla="*/ 21 w 60"/>
                          <a:gd name="T3" fmla="*/ 2 h 37"/>
                          <a:gd name="T4" fmla="*/ 3 w 60"/>
                          <a:gd name="T5" fmla="*/ 11 h 37"/>
                          <a:gd name="T6" fmla="*/ 12 w 60"/>
                          <a:gd name="T7" fmla="*/ 30 h 37"/>
                          <a:gd name="T8" fmla="*/ 43 w 60"/>
                          <a:gd name="T9" fmla="*/ 37 h 37"/>
                          <a:gd name="T10" fmla="*/ 44 w 60"/>
                          <a:gd name="T11" fmla="*/ 37 h 37"/>
                          <a:gd name="T12" fmla="*/ 59 w 60"/>
                          <a:gd name="T13" fmla="*/ 24 h 37"/>
                          <a:gd name="T14" fmla="*/ 46 w 60"/>
                          <a:gd name="T15" fmla="*/ 8 h 37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  <a:cxn ang="0">
                            <a:pos x="T14" y="T15"/>
                          </a:cxn>
                        </a:cxnLst>
                        <a:rect l="0" t="0" r="r" b="b"/>
                        <a:pathLst>
                          <a:path w="60" h="37">
                            <a:moveTo>
                              <a:pt x="46" y="8"/>
                            </a:moveTo>
                            <a:cubicBezTo>
                              <a:pt x="38" y="7"/>
                              <a:pt x="29" y="5"/>
                              <a:pt x="21" y="2"/>
                            </a:cubicBezTo>
                            <a:cubicBezTo>
                              <a:pt x="14" y="0"/>
                              <a:pt x="6" y="4"/>
                              <a:pt x="3" y="11"/>
                            </a:cubicBezTo>
                            <a:cubicBezTo>
                              <a:pt x="0" y="19"/>
                              <a:pt x="4" y="27"/>
                              <a:pt x="12" y="30"/>
                            </a:cubicBezTo>
                            <a:cubicBezTo>
                              <a:pt x="22" y="33"/>
                              <a:pt x="32" y="36"/>
                              <a:pt x="43" y="37"/>
                            </a:cubicBezTo>
                            <a:cubicBezTo>
                              <a:pt x="43" y="37"/>
                              <a:pt x="44" y="37"/>
                              <a:pt x="44" y="37"/>
                            </a:cubicBezTo>
                            <a:cubicBezTo>
                              <a:pt x="51" y="37"/>
                              <a:pt x="58" y="32"/>
                              <a:pt x="59" y="24"/>
                            </a:cubicBezTo>
                            <a:cubicBezTo>
                              <a:pt x="60" y="16"/>
                              <a:pt x="54" y="9"/>
                              <a:pt x="46" y="8"/>
                            </a:cubicBezTo>
                            <a:close/>
                          </a:path>
                        </a:pathLst>
                      </a:custGeom>
                      <a:solidFill>
                        <a:srgbClr val="4D4D4F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=""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algn="l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1200" b="0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/>
                          <a:cs typeface=""/>
                        </a:endParaRPr>
                      </a:p>
                    </p:txBody>
                  </p:sp>
                  <p:sp>
                    <p:nvSpPr>
                      <p:cNvPr id="2409" name="Freeform 33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4781551" y="2478088"/>
                        <a:ext cx="50800" cy="25400"/>
                      </a:xfrm>
                      <a:custGeom>
                        <a:avLst/>
                        <a:gdLst>
                          <a:gd name="T0" fmla="*/ 43 w 57"/>
                          <a:gd name="T1" fmla="*/ 0 h 29"/>
                          <a:gd name="T2" fmla="*/ 14 w 57"/>
                          <a:gd name="T3" fmla="*/ 0 h 29"/>
                          <a:gd name="T4" fmla="*/ 0 w 57"/>
                          <a:gd name="T5" fmla="*/ 15 h 29"/>
                          <a:gd name="T6" fmla="*/ 14 w 57"/>
                          <a:gd name="T7" fmla="*/ 29 h 29"/>
                          <a:gd name="T8" fmla="*/ 43 w 57"/>
                          <a:gd name="T9" fmla="*/ 29 h 29"/>
                          <a:gd name="T10" fmla="*/ 57 w 57"/>
                          <a:gd name="T11" fmla="*/ 15 h 29"/>
                          <a:gd name="T12" fmla="*/ 43 w 57"/>
                          <a:gd name="T13" fmla="*/ 0 h 29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</a:cxnLst>
                        <a:rect l="0" t="0" r="r" b="b"/>
                        <a:pathLst>
                          <a:path w="57" h="29">
                            <a:moveTo>
                              <a:pt x="43" y="0"/>
                            </a:moveTo>
                            <a:cubicBezTo>
                              <a:pt x="14" y="0"/>
                              <a:pt x="14" y="0"/>
                              <a:pt x="14" y="0"/>
                            </a:cubicBezTo>
                            <a:cubicBezTo>
                              <a:pt x="6" y="0"/>
                              <a:pt x="0" y="7"/>
                              <a:pt x="0" y="15"/>
                            </a:cubicBezTo>
                            <a:cubicBezTo>
                              <a:pt x="0" y="23"/>
                              <a:pt x="6" y="29"/>
                              <a:pt x="14" y="29"/>
                            </a:cubicBezTo>
                            <a:cubicBezTo>
                              <a:pt x="43" y="29"/>
                              <a:pt x="43" y="29"/>
                              <a:pt x="43" y="29"/>
                            </a:cubicBezTo>
                            <a:cubicBezTo>
                              <a:pt x="51" y="29"/>
                              <a:pt x="57" y="23"/>
                              <a:pt x="57" y="15"/>
                            </a:cubicBezTo>
                            <a:cubicBezTo>
                              <a:pt x="57" y="7"/>
                              <a:pt x="51" y="0"/>
                              <a:pt x="43" y="0"/>
                            </a:cubicBezTo>
                            <a:close/>
                          </a:path>
                        </a:pathLst>
                      </a:custGeom>
                      <a:solidFill>
                        <a:srgbClr val="4D4D4F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=""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algn="l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1200" b="0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/>
                          <a:cs typeface=""/>
                        </a:endParaRPr>
                      </a:p>
                    </p:txBody>
                  </p:sp>
                  <p:sp>
                    <p:nvSpPr>
                      <p:cNvPr id="2410" name="Freeform 34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4703763" y="2478088"/>
                        <a:ext cx="50800" cy="25400"/>
                      </a:xfrm>
                      <a:custGeom>
                        <a:avLst/>
                        <a:gdLst>
                          <a:gd name="T0" fmla="*/ 44 w 58"/>
                          <a:gd name="T1" fmla="*/ 0 h 29"/>
                          <a:gd name="T2" fmla="*/ 15 w 58"/>
                          <a:gd name="T3" fmla="*/ 0 h 29"/>
                          <a:gd name="T4" fmla="*/ 0 w 58"/>
                          <a:gd name="T5" fmla="*/ 15 h 29"/>
                          <a:gd name="T6" fmla="*/ 15 w 58"/>
                          <a:gd name="T7" fmla="*/ 29 h 29"/>
                          <a:gd name="T8" fmla="*/ 44 w 58"/>
                          <a:gd name="T9" fmla="*/ 29 h 29"/>
                          <a:gd name="T10" fmla="*/ 58 w 58"/>
                          <a:gd name="T11" fmla="*/ 15 h 29"/>
                          <a:gd name="T12" fmla="*/ 44 w 58"/>
                          <a:gd name="T13" fmla="*/ 0 h 29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</a:cxnLst>
                        <a:rect l="0" t="0" r="r" b="b"/>
                        <a:pathLst>
                          <a:path w="58" h="29">
                            <a:moveTo>
                              <a:pt x="44" y="0"/>
                            </a:moveTo>
                            <a:cubicBezTo>
                              <a:pt x="15" y="0"/>
                              <a:pt x="15" y="0"/>
                              <a:pt x="15" y="0"/>
                            </a:cubicBezTo>
                            <a:cubicBezTo>
                              <a:pt x="7" y="0"/>
                              <a:pt x="0" y="7"/>
                              <a:pt x="0" y="15"/>
                            </a:cubicBezTo>
                            <a:cubicBezTo>
                              <a:pt x="0" y="23"/>
                              <a:pt x="7" y="29"/>
                              <a:pt x="15" y="29"/>
                            </a:cubicBezTo>
                            <a:cubicBezTo>
                              <a:pt x="44" y="29"/>
                              <a:pt x="44" y="29"/>
                              <a:pt x="44" y="29"/>
                            </a:cubicBezTo>
                            <a:cubicBezTo>
                              <a:pt x="51" y="29"/>
                              <a:pt x="58" y="23"/>
                              <a:pt x="58" y="15"/>
                            </a:cubicBezTo>
                            <a:cubicBezTo>
                              <a:pt x="58" y="7"/>
                              <a:pt x="51" y="0"/>
                              <a:pt x="44" y="0"/>
                            </a:cubicBezTo>
                            <a:close/>
                          </a:path>
                        </a:pathLst>
                      </a:custGeom>
                      <a:solidFill>
                        <a:srgbClr val="4D4D4F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=""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algn="l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1200" b="0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/>
                          <a:cs typeface=""/>
                        </a:endParaRPr>
                      </a:p>
                    </p:txBody>
                  </p:sp>
                  <p:sp>
                    <p:nvSpPr>
                      <p:cNvPr id="2411" name="Freeform 35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4625976" y="2478088"/>
                        <a:ext cx="52388" cy="25400"/>
                      </a:xfrm>
                      <a:custGeom>
                        <a:avLst/>
                        <a:gdLst>
                          <a:gd name="T0" fmla="*/ 43 w 58"/>
                          <a:gd name="T1" fmla="*/ 0 h 29"/>
                          <a:gd name="T2" fmla="*/ 15 w 58"/>
                          <a:gd name="T3" fmla="*/ 0 h 29"/>
                          <a:gd name="T4" fmla="*/ 0 w 58"/>
                          <a:gd name="T5" fmla="*/ 15 h 29"/>
                          <a:gd name="T6" fmla="*/ 15 w 58"/>
                          <a:gd name="T7" fmla="*/ 29 h 29"/>
                          <a:gd name="T8" fmla="*/ 43 w 58"/>
                          <a:gd name="T9" fmla="*/ 29 h 29"/>
                          <a:gd name="T10" fmla="*/ 58 w 58"/>
                          <a:gd name="T11" fmla="*/ 15 h 29"/>
                          <a:gd name="T12" fmla="*/ 43 w 58"/>
                          <a:gd name="T13" fmla="*/ 0 h 29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</a:cxnLst>
                        <a:rect l="0" t="0" r="r" b="b"/>
                        <a:pathLst>
                          <a:path w="58" h="29">
                            <a:moveTo>
                              <a:pt x="43" y="0"/>
                            </a:moveTo>
                            <a:cubicBezTo>
                              <a:pt x="15" y="0"/>
                              <a:pt x="15" y="0"/>
                              <a:pt x="15" y="0"/>
                            </a:cubicBezTo>
                            <a:cubicBezTo>
                              <a:pt x="7" y="0"/>
                              <a:pt x="0" y="7"/>
                              <a:pt x="0" y="15"/>
                            </a:cubicBezTo>
                            <a:cubicBezTo>
                              <a:pt x="0" y="23"/>
                              <a:pt x="7" y="29"/>
                              <a:pt x="15" y="29"/>
                            </a:cubicBezTo>
                            <a:cubicBezTo>
                              <a:pt x="43" y="29"/>
                              <a:pt x="43" y="29"/>
                              <a:pt x="43" y="29"/>
                            </a:cubicBezTo>
                            <a:cubicBezTo>
                              <a:pt x="51" y="29"/>
                              <a:pt x="58" y="23"/>
                              <a:pt x="58" y="15"/>
                            </a:cubicBezTo>
                            <a:cubicBezTo>
                              <a:pt x="58" y="7"/>
                              <a:pt x="51" y="0"/>
                              <a:pt x="43" y="0"/>
                            </a:cubicBezTo>
                            <a:close/>
                          </a:path>
                        </a:pathLst>
                      </a:custGeom>
                      <a:solidFill>
                        <a:srgbClr val="4D4D4F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=""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algn="l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1200" b="0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/>
                          <a:cs typeface=""/>
                        </a:endParaRPr>
                      </a:p>
                    </p:txBody>
                  </p:sp>
                  <p:sp>
                    <p:nvSpPr>
                      <p:cNvPr id="2412" name="Freeform 38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4859338" y="2473325"/>
                        <a:ext cx="52388" cy="30163"/>
                      </a:xfrm>
                      <a:custGeom>
                        <a:avLst/>
                        <a:gdLst>
                          <a:gd name="T0" fmla="*/ 39 w 58"/>
                          <a:gd name="T1" fmla="*/ 2 h 34"/>
                          <a:gd name="T2" fmla="*/ 14 w 58"/>
                          <a:gd name="T3" fmla="*/ 5 h 34"/>
                          <a:gd name="T4" fmla="*/ 0 w 58"/>
                          <a:gd name="T5" fmla="*/ 20 h 34"/>
                          <a:gd name="T6" fmla="*/ 14 w 58"/>
                          <a:gd name="T7" fmla="*/ 34 h 34"/>
                          <a:gd name="T8" fmla="*/ 14 w 58"/>
                          <a:gd name="T9" fmla="*/ 34 h 34"/>
                          <a:gd name="T10" fmla="*/ 46 w 58"/>
                          <a:gd name="T11" fmla="*/ 30 h 34"/>
                          <a:gd name="T12" fmla="*/ 56 w 58"/>
                          <a:gd name="T13" fmla="*/ 12 h 34"/>
                          <a:gd name="T14" fmla="*/ 39 w 58"/>
                          <a:gd name="T15" fmla="*/ 2 h 34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  <a:cxn ang="0">
                            <a:pos x="T14" y="T15"/>
                          </a:cxn>
                        </a:cxnLst>
                        <a:rect l="0" t="0" r="r" b="b"/>
                        <a:pathLst>
                          <a:path w="58" h="34">
                            <a:moveTo>
                              <a:pt x="39" y="2"/>
                            </a:moveTo>
                            <a:cubicBezTo>
                              <a:pt x="31" y="4"/>
                              <a:pt x="22" y="5"/>
                              <a:pt x="14" y="5"/>
                            </a:cubicBezTo>
                            <a:cubicBezTo>
                              <a:pt x="6" y="5"/>
                              <a:pt x="0" y="12"/>
                              <a:pt x="0" y="20"/>
                            </a:cubicBezTo>
                            <a:cubicBezTo>
                              <a:pt x="0" y="28"/>
                              <a:pt x="6" y="34"/>
                              <a:pt x="14" y="34"/>
                            </a:cubicBezTo>
                            <a:cubicBezTo>
                              <a:pt x="14" y="34"/>
                              <a:pt x="14" y="34"/>
                              <a:pt x="14" y="34"/>
                            </a:cubicBezTo>
                            <a:cubicBezTo>
                              <a:pt x="25" y="34"/>
                              <a:pt x="36" y="32"/>
                              <a:pt x="46" y="30"/>
                            </a:cubicBezTo>
                            <a:cubicBezTo>
                              <a:pt x="54" y="28"/>
                              <a:pt x="58" y="20"/>
                              <a:pt x="56" y="12"/>
                            </a:cubicBezTo>
                            <a:cubicBezTo>
                              <a:pt x="55" y="5"/>
                              <a:pt x="47" y="0"/>
                              <a:pt x="39" y="2"/>
                            </a:cubicBezTo>
                            <a:close/>
                          </a:path>
                        </a:pathLst>
                      </a:custGeom>
                      <a:solidFill>
                        <a:srgbClr val="4D4D4F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=""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algn="l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1200" b="0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/>
                          <a:cs typeface=""/>
                        </a:endParaRPr>
                      </a:p>
                    </p:txBody>
                  </p:sp>
                </p:grpSp>
                <p:sp>
                  <p:nvSpPr>
                    <p:cNvPr id="2389" name="Freeform 12"/>
                    <p:cNvSpPr>
                      <a:spLocks noEditPoints="1"/>
                    </p:cNvSpPr>
                    <p:nvPr/>
                  </p:nvSpPr>
                  <p:spPr bwMode="auto">
                    <a:xfrm>
                      <a:off x="5406483" y="2446478"/>
                      <a:ext cx="214941" cy="191168"/>
                    </a:xfrm>
                    <a:custGeom>
                      <a:avLst/>
                      <a:gdLst>
                        <a:gd name="T0" fmla="*/ 419 w 494"/>
                        <a:gd name="T1" fmla="*/ 299 h 448"/>
                        <a:gd name="T2" fmla="*/ 403 w 494"/>
                        <a:gd name="T3" fmla="*/ 301 h 448"/>
                        <a:gd name="T4" fmla="*/ 302 w 494"/>
                        <a:gd name="T5" fmla="*/ 126 h 448"/>
                        <a:gd name="T6" fmla="*/ 322 w 494"/>
                        <a:gd name="T7" fmla="*/ 75 h 448"/>
                        <a:gd name="T8" fmla="*/ 247 w 494"/>
                        <a:gd name="T9" fmla="*/ 0 h 448"/>
                        <a:gd name="T10" fmla="*/ 173 w 494"/>
                        <a:gd name="T11" fmla="*/ 75 h 448"/>
                        <a:gd name="T12" fmla="*/ 193 w 494"/>
                        <a:gd name="T13" fmla="*/ 126 h 448"/>
                        <a:gd name="T14" fmla="*/ 91 w 494"/>
                        <a:gd name="T15" fmla="*/ 301 h 448"/>
                        <a:gd name="T16" fmla="*/ 75 w 494"/>
                        <a:gd name="T17" fmla="*/ 299 h 448"/>
                        <a:gd name="T18" fmla="*/ 0 w 494"/>
                        <a:gd name="T19" fmla="*/ 373 h 448"/>
                        <a:gd name="T20" fmla="*/ 75 w 494"/>
                        <a:gd name="T21" fmla="*/ 448 h 448"/>
                        <a:gd name="T22" fmla="*/ 146 w 494"/>
                        <a:gd name="T23" fmla="*/ 395 h 448"/>
                        <a:gd name="T24" fmla="*/ 349 w 494"/>
                        <a:gd name="T25" fmla="*/ 395 h 448"/>
                        <a:gd name="T26" fmla="*/ 419 w 494"/>
                        <a:gd name="T27" fmla="*/ 448 h 448"/>
                        <a:gd name="T28" fmla="*/ 494 w 494"/>
                        <a:gd name="T29" fmla="*/ 373 h 448"/>
                        <a:gd name="T30" fmla="*/ 419 w 494"/>
                        <a:gd name="T31" fmla="*/ 299 h 448"/>
                        <a:gd name="T32" fmla="*/ 349 w 494"/>
                        <a:gd name="T33" fmla="*/ 351 h 448"/>
                        <a:gd name="T34" fmla="*/ 146 w 494"/>
                        <a:gd name="T35" fmla="*/ 351 h 448"/>
                        <a:gd name="T36" fmla="*/ 130 w 494"/>
                        <a:gd name="T37" fmla="*/ 323 h 448"/>
                        <a:gd name="T38" fmla="*/ 231 w 494"/>
                        <a:gd name="T39" fmla="*/ 148 h 448"/>
                        <a:gd name="T40" fmla="*/ 247 w 494"/>
                        <a:gd name="T41" fmla="*/ 150 h 448"/>
                        <a:gd name="T42" fmla="*/ 264 w 494"/>
                        <a:gd name="T43" fmla="*/ 148 h 448"/>
                        <a:gd name="T44" fmla="*/ 365 w 494"/>
                        <a:gd name="T45" fmla="*/ 323 h 448"/>
                        <a:gd name="T46" fmla="*/ 349 w 494"/>
                        <a:gd name="T47" fmla="*/ 351 h 44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</a:cxnLst>
                      <a:rect l="0" t="0" r="r" b="b"/>
                      <a:pathLst>
                        <a:path w="494" h="448">
                          <a:moveTo>
                            <a:pt x="419" y="299"/>
                          </a:moveTo>
                          <a:cubicBezTo>
                            <a:pt x="414" y="299"/>
                            <a:pt x="408" y="300"/>
                            <a:pt x="403" y="301"/>
                          </a:cubicBezTo>
                          <a:cubicBezTo>
                            <a:pt x="302" y="126"/>
                            <a:pt x="302" y="126"/>
                            <a:pt x="302" y="126"/>
                          </a:cubicBezTo>
                          <a:cubicBezTo>
                            <a:pt x="314" y="112"/>
                            <a:pt x="322" y="95"/>
                            <a:pt x="322" y="75"/>
                          </a:cubicBezTo>
                          <a:cubicBezTo>
                            <a:pt x="322" y="34"/>
                            <a:pt x="288" y="0"/>
                            <a:pt x="247" y="0"/>
                          </a:cubicBezTo>
                          <a:cubicBezTo>
                            <a:pt x="206" y="0"/>
                            <a:pt x="173" y="34"/>
                            <a:pt x="173" y="75"/>
                          </a:cubicBezTo>
                          <a:cubicBezTo>
                            <a:pt x="173" y="95"/>
                            <a:pt x="180" y="112"/>
                            <a:pt x="193" y="126"/>
                          </a:cubicBezTo>
                          <a:cubicBezTo>
                            <a:pt x="91" y="301"/>
                            <a:pt x="91" y="301"/>
                            <a:pt x="91" y="301"/>
                          </a:cubicBezTo>
                          <a:cubicBezTo>
                            <a:pt x="86" y="300"/>
                            <a:pt x="81" y="299"/>
                            <a:pt x="75" y="299"/>
                          </a:cubicBezTo>
                          <a:cubicBezTo>
                            <a:pt x="34" y="299"/>
                            <a:pt x="0" y="332"/>
                            <a:pt x="0" y="373"/>
                          </a:cubicBezTo>
                          <a:cubicBezTo>
                            <a:pt x="0" y="415"/>
                            <a:pt x="34" y="448"/>
                            <a:pt x="75" y="448"/>
                          </a:cubicBezTo>
                          <a:cubicBezTo>
                            <a:pt x="108" y="448"/>
                            <a:pt x="136" y="426"/>
                            <a:pt x="146" y="395"/>
                          </a:cubicBezTo>
                          <a:cubicBezTo>
                            <a:pt x="349" y="395"/>
                            <a:pt x="349" y="395"/>
                            <a:pt x="349" y="395"/>
                          </a:cubicBezTo>
                          <a:cubicBezTo>
                            <a:pt x="358" y="426"/>
                            <a:pt x="386" y="448"/>
                            <a:pt x="419" y="448"/>
                          </a:cubicBezTo>
                          <a:cubicBezTo>
                            <a:pt x="461" y="448"/>
                            <a:pt x="494" y="415"/>
                            <a:pt x="494" y="373"/>
                          </a:cubicBezTo>
                          <a:cubicBezTo>
                            <a:pt x="494" y="332"/>
                            <a:pt x="461" y="299"/>
                            <a:pt x="419" y="299"/>
                          </a:cubicBezTo>
                          <a:close/>
                          <a:moveTo>
                            <a:pt x="349" y="351"/>
                          </a:moveTo>
                          <a:cubicBezTo>
                            <a:pt x="146" y="351"/>
                            <a:pt x="146" y="351"/>
                            <a:pt x="146" y="351"/>
                          </a:cubicBezTo>
                          <a:cubicBezTo>
                            <a:pt x="142" y="341"/>
                            <a:pt x="137" y="331"/>
                            <a:pt x="130" y="323"/>
                          </a:cubicBezTo>
                          <a:cubicBezTo>
                            <a:pt x="231" y="148"/>
                            <a:pt x="231" y="148"/>
                            <a:pt x="231" y="148"/>
                          </a:cubicBezTo>
                          <a:cubicBezTo>
                            <a:pt x="236" y="149"/>
                            <a:pt x="242" y="150"/>
                            <a:pt x="247" y="150"/>
                          </a:cubicBezTo>
                          <a:cubicBezTo>
                            <a:pt x="253" y="150"/>
                            <a:pt x="258" y="149"/>
                            <a:pt x="264" y="148"/>
                          </a:cubicBezTo>
                          <a:cubicBezTo>
                            <a:pt x="365" y="323"/>
                            <a:pt x="365" y="323"/>
                            <a:pt x="365" y="323"/>
                          </a:cubicBezTo>
                          <a:cubicBezTo>
                            <a:pt x="358" y="331"/>
                            <a:pt x="352" y="341"/>
                            <a:pt x="349" y="351"/>
                          </a:cubicBezTo>
                          <a:close/>
                        </a:path>
                      </a:pathLst>
                    </a:custGeom>
                    <a:solidFill>
                      <a:sysClr val="window" lastClr="FFFFFF"/>
                    </a:solidFill>
                    <a:ln>
                      <a:noFill/>
                    </a:ln>
                    <a:extLst/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algn="l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200" b="0" i="0" u="none" strike="noStrike" kern="0" cap="none" spc="0" normalizeH="0" baseline="0" noProof="0" dirty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Arial"/>
                        <a:cs typeface=""/>
                      </a:endParaRPr>
                    </a:p>
                  </p:txBody>
                </p:sp>
              </p:grpSp>
            </p:grpSp>
            <p:grpSp>
              <p:nvGrpSpPr>
                <p:cNvPr id="2246" name="Group 2245"/>
                <p:cNvGrpSpPr/>
                <p:nvPr/>
              </p:nvGrpSpPr>
              <p:grpSpPr>
                <a:xfrm>
                  <a:off x="3753982" y="2986823"/>
                  <a:ext cx="309857" cy="268010"/>
                  <a:chOff x="5310724" y="2352924"/>
                  <a:chExt cx="398754" cy="374816"/>
                </a:xfrm>
              </p:grpSpPr>
              <p:sp>
                <p:nvSpPr>
                  <p:cNvPr id="2359" name="Rounded Rectangle 2358"/>
                  <p:cNvSpPr/>
                  <p:nvPr/>
                </p:nvSpPr>
                <p:spPr>
                  <a:xfrm>
                    <a:off x="5351561" y="2386601"/>
                    <a:ext cx="308105" cy="310923"/>
                  </a:xfrm>
                  <a:prstGeom prst="roundRect">
                    <a:avLst/>
                  </a:prstGeom>
                  <a:solidFill>
                    <a:srgbClr val="9BBB59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 smtClean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Arial"/>
                      <a:ea typeface=""/>
                      <a:cs typeface=""/>
                    </a:endParaRPr>
                  </a:p>
                </p:txBody>
              </p:sp>
              <p:grpSp>
                <p:nvGrpSpPr>
                  <p:cNvPr id="2360" name="Group 2359"/>
                  <p:cNvGrpSpPr/>
                  <p:nvPr/>
                </p:nvGrpSpPr>
                <p:grpSpPr>
                  <a:xfrm>
                    <a:off x="5310724" y="2352924"/>
                    <a:ext cx="398754" cy="374816"/>
                    <a:chOff x="5310724" y="2352924"/>
                    <a:chExt cx="398754" cy="374816"/>
                  </a:xfrm>
                </p:grpSpPr>
                <p:grpSp>
                  <p:nvGrpSpPr>
                    <p:cNvPr id="2361" name="Group 2360"/>
                    <p:cNvGrpSpPr/>
                    <p:nvPr/>
                  </p:nvGrpSpPr>
                  <p:grpSpPr>
                    <a:xfrm rot="5400000">
                      <a:off x="5322693" y="2340955"/>
                      <a:ext cx="374816" cy="398754"/>
                      <a:chOff x="4471988" y="1985963"/>
                      <a:chExt cx="527051" cy="517525"/>
                    </a:xfrm>
                  </p:grpSpPr>
                  <p:sp>
                    <p:nvSpPr>
                      <p:cNvPr id="2363" name="Freeform 13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4471988" y="2117725"/>
                        <a:ext cx="25400" cy="50800"/>
                      </a:xfrm>
                      <a:custGeom>
                        <a:avLst/>
                        <a:gdLst>
                          <a:gd name="T0" fmla="*/ 14 w 29"/>
                          <a:gd name="T1" fmla="*/ 57 h 57"/>
                          <a:gd name="T2" fmla="*/ 29 w 29"/>
                          <a:gd name="T3" fmla="*/ 43 h 57"/>
                          <a:gd name="T4" fmla="*/ 29 w 29"/>
                          <a:gd name="T5" fmla="*/ 14 h 57"/>
                          <a:gd name="T6" fmla="*/ 14 w 29"/>
                          <a:gd name="T7" fmla="*/ 0 h 57"/>
                          <a:gd name="T8" fmla="*/ 0 w 29"/>
                          <a:gd name="T9" fmla="*/ 14 h 57"/>
                          <a:gd name="T10" fmla="*/ 0 w 29"/>
                          <a:gd name="T11" fmla="*/ 43 h 57"/>
                          <a:gd name="T12" fmla="*/ 14 w 29"/>
                          <a:gd name="T13" fmla="*/ 57 h 57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</a:cxnLst>
                        <a:rect l="0" t="0" r="r" b="b"/>
                        <a:pathLst>
                          <a:path w="29" h="57">
                            <a:moveTo>
                              <a:pt x="14" y="57"/>
                            </a:moveTo>
                            <a:cubicBezTo>
                              <a:pt x="22" y="57"/>
                              <a:pt x="29" y="51"/>
                              <a:pt x="29" y="43"/>
                            </a:cubicBezTo>
                            <a:cubicBezTo>
                              <a:pt x="29" y="14"/>
                              <a:pt x="29" y="14"/>
                              <a:pt x="29" y="14"/>
                            </a:cubicBezTo>
                            <a:cubicBezTo>
                              <a:pt x="29" y="6"/>
                              <a:pt x="22" y="0"/>
                              <a:pt x="14" y="0"/>
                            </a:cubicBezTo>
                            <a:cubicBezTo>
                              <a:pt x="7" y="0"/>
                              <a:pt x="0" y="6"/>
                              <a:pt x="0" y="14"/>
                            </a:cubicBezTo>
                            <a:cubicBezTo>
                              <a:pt x="0" y="43"/>
                              <a:pt x="0" y="43"/>
                              <a:pt x="0" y="43"/>
                            </a:cubicBezTo>
                            <a:cubicBezTo>
                              <a:pt x="0" y="51"/>
                              <a:pt x="7" y="57"/>
                              <a:pt x="14" y="57"/>
                            </a:cubicBezTo>
                            <a:close/>
                          </a:path>
                        </a:pathLst>
                      </a:custGeom>
                      <a:solidFill>
                        <a:srgbClr val="4D4D4F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=""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algn="l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1200" b="0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/>
                          <a:cs typeface=""/>
                        </a:endParaRPr>
                      </a:p>
                    </p:txBody>
                  </p:sp>
                  <p:sp>
                    <p:nvSpPr>
                      <p:cNvPr id="2364" name="Freeform 14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4471988" y="2271713"/>
                        <a:ext cx="25400" cy="52388"/>
                      </a:xfrm>
                      <a:custGeom>
                        <a:avLst/>
                        <a:gdLst>
                          <a:gd name="T0" fmla="*/ 14 w 29"/>
                          <a:gd name="T1" fmla="*/ 58 h 58"/>
                          <a:gd name="T2" fmla="*/ 29 w 29"/>
                          <a:gd name="T3" fmla="*/ 43 h 58"/>
                          <a:gd name="T4" fmla="*/ 29 w 29"/>
                          <a:gd name="T5" fmla="*/ 15 h 58"/>
                          <a:gd name="T6" fmla="*/ 14 w 29"/>
                          <a:gd name="T7" fmla="*/ 0 h 58"/>
                          <a:gd name="T8" fmla="*/ 0 w 29"/>
                          <a:gd name="T9" fmla="*/ 15 h 58"/>
                          <a:gd name="T10" fmla="*/ 0 w 29"/>
                          <a:gd name="T11" fmla="*/ 43 h 58"/>
                          <a:gd name="T12" fmla="*/ 14 w 29"/>
                          <a:gd name="T13" fmla="*/ 58 h 58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</a:cxnLst>
                        <a:rect l="0" t="0" r="r" b="b"/>
                        <a:pathLst>
                          <a:path w="29" h="58">
                            <a:moveTo>
                              <a:pt x="14" y="58"/>
                            </a:moveTo>
                            <a:cubicBezTo>
                              <a:pt x="22" y="58"/>
                              <a:pt x="29" y="51"/>
                              <a:pt x="29" y="43"/>
                            </a:cubicBezTo>
                            <a:cubicBezTo>
                              <a:pt x="29" y="15"/>
                              <a:pt x="29" y="15"/>
                              <a:pt x="29" y="15"/>
                            </a:cubicBezTo>
                            <a:cubicBezTo>
                              <a:pt x="29" y="7"/>
                              <a:pt x="22" y="0"/>
                              <a:pt x="14" y="0"/>
                            </a:cubicBezTo>
                            <a:cubicBezTo>
                              <a:pt x="7" y="0"/>
                              <a:pt x="0" y="7"/>
                              <a:pt x="0" y="15"/>
                            </a:cubicBezTo>
                            <a:cubicBezTo>
                              <a:pt x="0" y="43"/>
                              <a:pt x="0" y="43"/>
                              <a:pt x="0" y="43"/>
                            </a:cubicBezTo>
                            <a:cubicBezTo>
                              <a:pt x="0" y="51"/>
                              <a:pt x="7" y="58"/>
                              <a:pt x="14" y="58"/>
                            </a:cubicBezTo>
                            <a:close/>
                          </a:path>
                        </a:pathLst>
                      </a:custGeom>
                      <a:solidFill>
                        <a:srgbClr val="4D4D4F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=""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algn="l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1200" b="0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/>
                          <a:cs typeface=""/>
                        </a:endParaRPr>
                      </a:p>
                    </p:txBody>
                  </p:sp>
                  <p:sp>
                    <p:nvSpPr>
                      <p:cNvPr id="2365" name="Freeform 15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4487863" y="2422525"/>
                        <a:ext cx="44450" cy="47625"/>
                      </a:xfrm>
                      <a:custGeom>
                        <a:avLst/>
                        <a:gdLst>
                          <a:gd name="T0" fmla="*/ 29 w 50"/>
                          <a:gd name="T1" fmla="*/ 8 h 53"/>
                          <a:gd name="T2" fmla="*/ 9 w 50"/>
                          <a:gd name="T3" fmla="*/ 4 h 53"/>
                          <a:gd name="T4" fmla="*/ 4 w 50"/>
                          <a:gd name="T5" fmla="*/ 24 h 53"/>
                          <a:gd name="T6" fmla="*/ 24 w 50"/>
                          <a:gd name="T7" fmla="*/ 49 h 53"/>
                          <a:gd name="T8" fmla="*/ 34 w 50"/>
                          <a:gd name="T9" fmla="*/ 53 h 53"/>
                          <a:gd name="T10" fmla="*/ 45 w 50"/>
                          <a:gd name="T11" fmla="*/ 49 h 53"/>
                          <a:gd name="T12" fmla="*/ 45 w 50"/>
                          <a:gd name="T13" fmla="*/ 28 h 53"/>
                          <a:gd name="T14" fmla="*/ 29 w 50"/>
                          <a:gd name="T15" fmla="*/ 8 h 53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  <a:cxn ang="0">
                            <a:pos x="T14" y="T15"/>
                          </a:cxn>
                        </a:cxnLst>
                        <a:rect l="0" t="0" r="r" b="b"/>
                        <a:pathLst>
                          <a:path w="50" h="53">
                            <a:moveTo>
                              <a:pt x="29" y="8"/>
                            </a:moveTo>
                            <a:cubicBezTo>
                              <a:pt x="24" y="2"/>
                              <a:pt x="15" y="0"/>
                              <a:pt x="9" y="4"/>
                            </a:cubicBezTo>
                            <a:cubicBezTo>
                              <a:pt x="2" y="8"/>
                              <a:pt x="0" y="17"/>
                              <a:pt x="4" y="24"/>
                            </a:cubicBezTo>
                            <a:cubicBezTo>
                              <a:pt x="10" y="33"/>
                              <a:pt x="17" y="41"/>
                              <a:pt x="24" y="49"/>
                            </a:cubicBezTo>
                            <a:cubicBezTo>
                              <a:pt x="27" y="51"/>
                              <a:pt x="31" y="53"/>
                              <a:pt x="34" y="53"/>
                            </a:cubicBezTo>
                            <a:cubicBezTo>
                              <a:pt x="38" y="53"/>
                              <a:pt x="42" y="51"/>
                              <a:pt x="45" y="49"/>
                            </a:cubicBezTo>
                            <a:cubicBezTo>
                              <a:pt x="50" y="43"/>
                              <a:pt x="50" y="34"/>
                              <a:pt x="45" y="28"/>
                            </a:cubicBezTo>
                            <a:cubicBezTo>
                              <a:pt x="39" y="22"/>
                              <a:pt x="33" y="15"/>
                              <a:pt x="29" y="8"/>
                            </a:cubicBezTo>
                            <a:close/>
                          </a:path>
                        </a:pathLst>
                      </a:custGeom>
                      <a:solidFill>
                        <a:srgbClr val="4D4D4F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=""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algn="l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1200" b="0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/>
                          <a:cs typeface=""/>
                        </a:endParaRPr>
                      </a:p>
                    </p:txBody>
                  </p:sp>
                  <p:sp>
                    <p:nvSpPr>
                      <p:cNvPr id="2366" name="Freeform 16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4471988" y="2193925"/>
                        <a:ext cx="25400" cy="52388"/>
                      </a:xfrm>
                      <a:custGeom>
                        <a:avLst/>
                        <a:gdLst>
                          <a:gd name="T0" fmla="*/ 14 w 29"/>
                          <a:gd name="T1" fmla="*/ 58 h 58"/>
                          <a:gd name="T2" fmla="*/ 29 w 29"/>
                          <a:gd name="T3" fmla="*/ 43 h 58"/>
                          <a:gd name="T4" fmla="*/ 29 w 29"/>
                          <a:gd name="T5" fmla="*/ 14 h 58"/>
                          <a:gd name="T6" fmla="*/ 14 w 29"/>
                          <a:gd name="T7" fmla="*/ 0 h 58"/>
                          <a:gd name="T8" fmla="*/ 0 w 29"/>
                          <a:gd name="T9" fmla="*/ 14 h 58"/>
                          <a:gd name="T10" fmla="*/ 0 w 29"/>
                          <a:gd name="T11" fmla="*/ 43 h 58"/>
                          <a:gd name="T12" fmla="*/ 14 w 29"/>
                          <a:gd name="T13" fmla="*/ 58 h 58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</a:cxnLst>
                        <a:rect l="0" t="0" r="r" b="b"/>
                        <a:pathLst>
                          <a:path w="29" h="58">
                            <a:moveTo>
                              <a:pt x="14" y="58"/>
                            </a:moveTo>
                            <a:cubicBezTo>
                              <a:pt x="22" y="58"/>
                              <a:pt x="29" y="51"/>
                              <a:pt x="29" y="43"/>
                            </a:cubicBezTo>
                            <a:cubicBezTo>
                              <a:pt x="29" y="14"/>
                              <a:pt x="29" y="14"/>
                              <a:pt x="29" y="14"/>
                            </a:cubicBezTo>
                            <a:cubicBezTo>
                              <a:pt x="29" y="6"/>
                              <a:pt x="22" y="0"/>
                              <a:pt x="14" y="0"/>
                            </a:cubicBezTo>
                            <a:cubicBezTo>
                              <a:pt x="7" y="0"/>
                              <a:pt x="0" y="6"/>
                              <a:pt x="0" y="14"/>
                            </a:cubicBezTo>
                            <a:cubicBezTo>
                              <a:pt x="0" y="43"/>
                              <a:pt x="0" y="43"/>
                              <a:pt x="0" y="43"/>
                            </a:cubicBezTo>
                            <a:cubicBezTo>
                              <a:pt x="0" y="51"/>
                              <a:pt x="7" y="58"/>
                              <a:pt x="14" y="58"/>
                            </a:cubicBezTo>
                            <a:close/>
                          </a:path>
                        </a:pathLst>
                      </a:custGeom>
                      <a:solidFill>
                        <a:srgbClr val="4D4D4F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=""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algn="l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1200" b="0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/>
                          <a:cs typeface=""/>
                        </a:endParaRPr>
                      </a:p>
                    </p:txBody>
                  </p:sp>
                  <p:sp>
                    <p:nvSpPr>
                      <p:cNvPr id="2367" name="Freeform 17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4830763" y="1985963"/>
                        <a:ext cx="50800" cy="26988"/>
                      </a:xfrm>
                      <a:custGeom>
                        <a:avLst/>
                        <a:gdLst>
                          <a:gd name="T0" fmla="*/ 15 w 57"/>
                          <a:gd name="T1" fmla="*/ 29 h 29"/>
                          <a:gd name="T2" fmla="*/ 44 w 57"/>
                          <a:gd name="T3" fmla="*/ 29 h 29"/>
                          <a:gd name="T4" fmla="*/ 57 w 57"/>
                          <a:gd name="T5" fmla="*/ 15 h 29"/>
                          <a:gd name="T6" fmla="*/ 43 w 57"/>
                          <a:gd name="T7" fmla="*/ 0 h 29"/>
                          <a:gd name="T8" fmla="*/ 15 w 57"/>
                          <a:gd name="T9" fmla="*/ 0 h 29"/>
                          <a:gd name="T10" fmla="*/ 0 w 57"/>
                          <a:gd name="T11" fmla="*/ 15 h 29"/>
                          <a:gd name="T12" fmla="*/ 15 w 57"/>
                          <a:gd name="T13" fmla="*/ 29 h 29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</a:cxnLst>
                        <a:rect l="0" t="0" r="r" b="b"/>
                        <a:pathLst>
                          <a:path w="57" h="29">
                            <a:moveTo>
                              <a:pt x="15" y="29"/>
                            </a:moveTo>
                            <a:cubicBezTo>
                              <a:pt x="44" y="29"/>
                              <a:pt x="44" y="29"/>
                              <a:pt x="44" y="29"/>
                            </a:cubicBezTo>
                            <a:cubicBezTo>
                              <a:pt x="51" y="29"/>
                              <a:pt x="57" y="23"/>
                              <a:pt x="57" y="15"/>
                            </a:cubicBezTo>
                            <a:cubicBezTo>
                              <a:pt x="57" y="7"/>
                              <a:pt x="50" y="0"/>
                              <a:pt x="43" y="0"/>
                            </a:cubicBezTo>
                            <a:cubicBezTo>
                              <a:pt x="15" y="0"/>
                              <a:pt x="15" y="0"/>
                              <a:pt x="15" y="0"/>
                            </a:cubicBezTo>
                            <a:cubicBezTo>
                              <a:pt x="7" y="0"/>
                              <a:pt x="0" y="7"/>
                              <a:pt x="0" y="15"/>
                            </a:cubicBezTo>
                            <a:cubicBezTo>
                              <a:pt x="0" y="23"/>
                              <a:pt x="7" y="29"/>
                              <a:pt x="15" y="29"/>
                            </a:cubicBezTo>
                            <a:close/>
                          </a:path>
                        </a:pathLst>
                      </a:custGeom>
                      <a:solidFill>
                        <a:srgbClr val="4D4D4F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=""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algn="l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1200" b="0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/>
                          <a:cs typeface=""/>
                        </a:endParaRPr>
                      </a:p>
                    </p:txBody>
                  </p:sp>
                  <p:sp>
                    <p:nvSpPr>
                      <p:cNvPr id="2368" name="Freeform 18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4905376" y="1997075"/>
                        <a:ext cx="50800" cy="41275"/>
                      </a:xfrm>
                      <a:custGeom>
                        <a:avLst/>
                        <a:gdLst>
                          <a:gd name="T0" fmla="*/ 10 w 56"/>
                          <a:gd name="T1" fmla="*/ 30 h 47"/>
                          <a:gd name="T2" fmla="*/ 31 w 56"/>
                          <a:gd name="T3" fmla="*/ 43 h 47"/>
                          <a:gd name="T4" fmla="*/ 40 w 56"/>
                          <a:gd name="T5" fmla="*/ 47 h 47"/>
                          <a:gd name="T6" fmla="*/ 51 w 56"/>
                          <a:gd name="T7" fmla="*/ 41 h 47"/>
                          <a:gd name="T8" fmla="*/ 49 w 56"/>
                          <a:gd name="T9" fmla="*/ 21 h 47"/>
                          <a:gd name="T10" fmla="*/ 22 w 56"/>
                          <a:gd name="T11" fmla="*/ 4 h 47"/>
                          <a:gd name="T12" fmla="*/ 3 w 56"/>
                          <a:gd name="T13" fmla="*/ 11 h 47"/>
                          <a:gd name="T14" fmla="*/ 10 w 56"/>
                          <a:gd name="T15" fmla="*/ 30 h 47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  <a:cxn ang="0">
                            <a:pos x="T14" y="T15"/>
                          </a:cxn>
                        </a:cxnLst>
                        <a:rect l="0" t="0" r="r" b="b"/>
                        <a:pathLst>
                          <a:path w="56" h="47">
                            <a:moveTo>
                              <a:pt x="10" y="30"/>
                            </a:moveTo>
                            <a:cubicBezTo>
                              <a:pt x="17" y="33"/>
                              <a:pt x="25" y="38"/>
                              <a:pt x="31" y="43"/>
                            </a:cubicBezTo>
                            <a:cubicBezTo>
                              <a:pt x="34" y="46"/>
                              <a:pt x="37" y="47"/>
                              <a:pt x="40" y="47"/>
                            </a:cubicBezTo>
                            <a:cubicBezTo>
                              <a:pt x="44" y="47"/>
                              <a:pt x="49" y="45"/>
                              <a:pt x="51" y="41"/>
                            </a:cubicBezTo>
                            <a:cubicBezTo>
                              <a:pt x="56" y="35"/>
                              <a:pt x="55" y="26"/>
                              <a:pt x="49" y="21"/>
                            </a:cubicBezTo>
                            <a:cubicBezTo>
                              <a:pt x="41" y="14"/>
                              <a:pt x="32" y="9"/>
                              <a:pt x="22" y="4"/>
                            </a:cubicBezTo>
                            <a:cubicBezTo>
                              <a:pt x="15" y="0"/>
                              <a:pt x="7" y="3"/>
                              <a:pt x="3" y="11"/>
                            </a:cubicBezTo>
                            <a:cubicBezTo>
                              <a:pt x="0" y="18"/>
                              <a:pt x="3" y="26"/>
                              <a:pt x="10" y="30"/>
                            </a:cubicBezTo>
                            <a:close/>
                          </a:path>
                        </a:pathLst>
                      </a:custGeom>
                      <a:solidFill>
                        <a:srgbClr val="4D4D4F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=""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algn="l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1200" b="0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/>
                          <a:cs typeface=""/>
                        </a:endParaRPr>
                      </a:p>
                    </p:txBody>
                  </p:sp>
                  <p:sp>
                    <p:nvSpPr>
                      <p:cNvPr id="2369" name="Freeform 19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4476751" y="2039938"/>
                        <a:ext cx="39688" cy="52388"/>
                      </a:xfrm>
                      <a:custGeom>
                        <a:avLst/>
                        <a:gdLst>
                          <a:gd name="T0" fmla="*/ 12 w 45"/>
                          <a:gd name="T1" fmla="*/ 56 h 57"/>
                          <a:gd name="T2" fmla="*/ 16 w 45"/>
                          <a:gd name="T3" fmla="*/ 57 h 57"/>
                          <a:gd name="T4" fmla="*/ 30 w 45"/>
                          <a:gd name="T5" fmla="*/ 47 h 57"/>
                          <a:gd name="T6" fmla="*/ 41 w 45"/>
                          <a:gd name="T7" fmla="*/ 24 h 57"/>
                          <a:gd name="T8" fmla="*/ 36 w 45"/>
                          <a:gd name="T9" fmla="*/ 4 h 57"/>
                          <a:gd name="T10" fmla="*/ 16 w 45"/>
                          <a:gd name="T11" fmla="*/ 9 h 57"/>
                          <a:gd name="T12" fmla="*/ 3 w 45"/>
                          <a:gd name="T13" fmla="*/ 38 h 57"/>
                          <a:gd name="T14" fmla="*/ 12 w 45"/>
                          <a:gd name="T15" fmla="*/ 56 h 57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  <a:cxn ang="0">
                            <a:pos x="T14" y="T15"/>
                          </a:cxn>
                        </a:cxnLst>
                        <a:rect l="0" t="0" r="r" b="b"/>
                        <a:pathLst>
                          <a:path w="45" h="57">
                            <a:moveTo>
                              <a:pt x="12" y="56"/>
                            </a:moveTo>
                            <a:cubicBezTo>
                              <a:pt x="13" y="57"/>
                              <a:pt x="15" y="57"/>
                              <a:pt x="16" y="57"/>
                            </a:cubicBezTo>
                            <a:cubicBezTo>
                              <a:pt x="22" y="57"/>
                              <a:pt x="28" y="53"/>
                              <a:pt x="30" y="47"/>
                            </a:cubicBezTo>
                            <a:cubicBezTo>
                              <a:pt x="33" y="39"/>
                              <a:pt x="36" y="32"/>
                              <a:pt x="41" y="24"/>
                            </a:cubicBezTo>
                            <a:cubicBezTo>
                              <a:pt x="45" y="17"/>
                              <a:pt x="43" y="9"/>
                              <a:pt x="36" y="4"/>
                            </a:cubicBezTo>
                            <a:cubicBezTo>
                              <a:pt x="29" y="0"/>
                              <a:pt x="21" y="2"/>
                              <a:pt x="16" y="9"/>
                            </a:cubicBezTo>
                            <a:cubicBezTo>
                              <a:pt x="11" y="18"/>
                              <a:pt x="6" y="28"/>
                              <a:pt x="3" y="38"/>
                            </a:cubicBezTo>
                            <a:cubicBezTo>
                              <a:pt x="0" y="45"/>
                              <a:pt x="4" y="54"/>
                              <a:pt x="12" y="56"/>
                            </a:cubicBezTo>
                            <a:close/>
                          </a:path>
                        </a:pathLst>
                      </a:custGeom>
                      <a:solidFill>
                        <a:srgbClr val="4D4D4F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=""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algn="l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1200" b="0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/>
                          <a:cs typeface=""/>
                        </a:endParaRPr>
                      </a:p>
                    </p:txBody>
                  </p:sp>
                  <p:sp>
                    <p:nvSpPr>
                      <p:cNvPr id="2370" name="Freeform 20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4522788" y="1992313"/>
                        <a:ext cx="52388" cy="39688"/>
                      </a:xfrm>
                      <a:custGeom>
                        <a:avLst/>
                        <a:gdLst>
                          <a:gd name="T0" fmla="*/ 55 w 58"/>
                          <a:gd name="T1" fmla="*/ 11 h 43"/>
                          <a:gd name="T2" fmla="*/ 37 w 58"/>
                          <a:gd name="T3" fmla="*/ 2 h 43"/>
                          <a:gd name="T4" fmla="*/ 9 w 58"/>
                          <a:gd name="T5" fmla="*/ 17 h 43"/>
                          <a:gd name="T6" fmla="*/ 4 w 58"/>
                          <a:gd name="T7" fmla="*/ 37 h 43"/>
                          <a:gd name="T8" fmla="*/ 16 w 58"/>
                          <a:gd name="T9" fmla="*/ 43 h 43"/>
                          <a:gd name="T10" fmla="*/ 24 w 58"/>
                          <a:gd name="T11" fmla="*/ 41 h 43"/>
                          <a:gd name="T12" fmla="*/ 47 w 58"/>
                          <a:gd name="T13" fmla="*/ 29 h 43"/>
                          <a:gd name="T14" fmla="*/ 55 w 58"/>
                          <a:gd name="T15" fmla="*/ 11 h 43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  <a:cxn ang="0">
                            <a:pos x="T14" y="T15"/>
                          </a:cxn>
                        </a:cxnLst>
                        <a:rect l="0" t="0" r="r" b="b"/>
                        <a:pathLst>
                          <a:path w="58" h="43">
                            <a:moveTo>
                              <a:pt x="55" y="11"/>
                            </a:moveTo>
                            <a:cubicBezTo>
                              <a:pt x="53" y="3"/>
                              <a:pt x="44" y="0"/>
                              <a:pt x="37" y="2"/>
                            </a:cubicBezTo>
                            <a:cubicBezTo>
                              <a:pt x="27" y="6"/>
                              <a:pt x="17" y="11"/>
                              <a:pt x="9" y="17"/>
                            </a:cubicBezTo>
                            <a:cubicBezTo>
                              <a:pt x="2" y="21"/>
                              <a:pt x="0" y="30"/>
                              <a:pt x="4" y="37"/>
                            </a:cubicBezTo>
                            <a:cubicBezTo>
                              <a:pt x="7" y="41"/>
                              <a:pt x="12" y="43"/>
                              <a:pt x="16" y="43"/>
                            </a:cubicBezTo>
                            <a:cubicBezTo>
                              <a:pt x="19" y="43"/>
                              <a:pt x="22" y="43"/>
                              <a:pt x="24" y="41"/>
                            </a:cubicBezTo>
                            <a:cubicBezTo>
                              <a:pt x="31" y="36"/>
                              <a:pt x="39" y="32"/>
                              <a:pt x="47" y="29"/>
                            </a:cubicBezTo>
                            <a:cubicBezTo>
                              <a:pt x="54" y="27"/>
                              <a:pt x="58" y="18"/>
                              <a:pt x="55" y="11"/>
                            </a:cubicBezTo>
                            <a:close/>
                          </a:path>
                        </a:pathLst>
                      </a:custGeom>
                      <a:solidFill>
                        <a:srgbClr val="4D4D4F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=""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algn="l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1200" b="0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/>
                          <a:cs typeface=""/>
                        </a:endParaRPr>
                      </a:p>
                    </p:txBody>
                  </p:sp>
                  <p:sp>
                    <p:nvSpPr>
                      <p:cNvPr id="2371" name="Freeform 21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4959351" y="2051050"/>
                        <a:ext cx="36513" cy="52388"/>
                      </a:xfrm>
                      <a:custGeom>
                        <a:avLst/>
                        <a:gdLst>
                          <a:gd name="T0" fmla="*/ 13 w 42"/>
                          <a:gd name="T1" fmla="*/ 47 h 58"/>
                          <a:gd name="T2" fmla="*/ 27 w 42"/>
                          <a:gd name="T3" fmla="*/ 58 h 58"/>
                          <a:gd name="T4" fmla="*/ 30 w 42"/>
                          <a:gd name="T5" fmla="*/ 57 h 58"/>
                          <a:gd name="T6" fmla="*/ 41 w 42"/>
                          <a:gd name="T7" fmla="*/ 40 h 58"/>
                          <a:gd name="T8" fmla="*/ 30 w 42"/>
                          <a:gd name="T9" fmla="*/ 10 h 58"/>
                          <a:gd name="T10" fmla="*/ 11 w 42"/>
                          <a:gd name="T11" fmla="*/ 4 h 58"/>
                          <a:gd name="T12" fmla="*/ 4 w 42"/>
                          <a:gd name="T13" fmla="*/ 23 h 58"/>
                          <a:gd name="T14" fmla="*/ 13 w 42"/>
                          <a:gd name="T15" fmla="*/ 47 h 58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  <a:cxn ang="0">
                            <a:pos x="T14" y="T15"/>
                          </a:cxn>
                        </a:cxnLst>
                        <a:rect l="0" t="0" r="r" b="b"/>
                        <a:pathLst>
                          <a:path w="42" h="58">
                            <a:moveTo>
                              <a:pt x="13" y="47"/>
                            </a:moveTo>
                            <a:cubicBezTo>
                              <a:pt x="14" y="53"/>
                              <a:pt x="20" y="58"/>
                              <a:pt x="27" y="58"/>
                            </a:cubicBezTo>
                            <a:cubicBezTo>
                              <a:pt x="28" y="58"/>
                              <a:pt x="29" y="58"/>
                              <a:pt x="30" y="57"/>
                            </a:cubicBezTo>
                            <a:cubicBezTo>
                              <a:pt x="38" y="56"/>
                              <a:pt x="42" y="48"/>
                              <a:pt x="41" y="40"/>
                            </a:cubicBezTo>
                            <a:cubicBezTo>
                              <a:pt x="38" y="30"/>
                              <a:pt x="35" y="20"/>
                              <a:pt x="30" y="10"/>
                            </a:cubicBezTo>
                            <a:cubicBezTo>
                              <a:pt x="26" y="3"/>
                              <a:pt x="18" y="0"/>
                              <a:pt x="11" y="4"/>
                            </a:cubicBezTo>
                            <a:cubicBezTo>
                              <a:pt x="3" y="7"/>
                              <a:pt x="0" y="16"/>
                              <a:pt x="4" y="23"/>
                            </a:cubicBezTo>
                            <a:cubicBezTo>
                              <a:pt x="8" y="31"/>
                              <a:pt x="11" y="39"/>
                              <a:pt x="13" y="47"/>
                            </a:cubicBezTo>
                            <a:close/>
                          </a:path>
                        </a:pathLst>
                      </a:custGeom>
                      <a:solidFill>
                        <a:srgbClr val="4D4D4F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=""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algn="l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1200" b="0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/>
                          <a:cs typeface=""/>
                        </a:endParaRPr>
                      </a:p>
                    </p:txBody>
                  </p:sp>
                  <p:sp>
                    <p:nvSpPr>
                      <p:cNvPr id="2372" name="Freeform 22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4598988" y="1985963"/>
                        <a:ext cx="52388" cy="26988"/>
                      </a:xfrm>
                      <a:custGeom>
                        <a:avLst/>
                        <a:gdLst>
                          <a:gd name="T0" fmla="*/ 14 w 58"/>
                          <a:gd name="T1" fmla="*/ 29 h 29"/>
                          <a:gd name="T2" fmla="*/ 43 w 58"/>
                          <a:gd name="T3" fmla="*/ 29 h 29"/>
                          <a:gd name="T4" fmla="*/ 58 w 58"/>
                          <a:gd name="T5" fmla="*/ 15 h 29"/>
                          <a:gd name="T6" fmla="*/ 43 w 58"/>
                          <a:gd name="T7" fmla="*/ 0 h 29"/>
                          <a:gd name="T8" fmla="*/ 14 w 58"/>
                          <a:gd name="T9" fmla="*/ 0 h 29"/>
                          <a:gd name="T10" fmla="*/ 0 w 58"/>
                          <a:gd name="T11" fmla="*/ 15 h 29"/>
                          <a:gd name="T12" fmla="*/ 14 w 58"/>
                          <a:gd name="T13" fmla="*/ 29 h 29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</a:cxnLst>
                        <a:rect l="0" t="0" r="r" b="b"/>
                        <a:pathLst>
                          <a:path w="58" h="29">
                            <a:moveTo>
                              <a:pt x="14" y="29"/>
                            </a:moveTo>
                            <a:cubicBezTo>
                              <a:pt x="43" y="29"/>
                              <a:pt x="43" y="29"/>
                              <a:pt x="43" y="29"/>
                            </a:cubicBezTo>
                            <a:cubicBezTo>
                              <a:pt x="51" y="29"/>
                              <a:pt x="58" y="23"/>
                              <a:pt x="58" y="15"/>
                            </a:cubicBezTo>
                            <a:cubicBezTo>
                              <a:pt x="58" y="7"/>
                              <a:pt x="51" y="0"/>
                              <a:pt x="43" y="0"/>
                            </a:cubicBezTo>
                            <a:cubicBezTo>
                              <a:pt x="14" y="0"/>
                              <a:pt x="14" y="0"/>
                              <a:pt x="14" y="0"/>
                            </a:cubicBezTo>
                            <a:cubicBezTo>
                              <a:pt x="6" y="0"/>
                              <a:pt x="0" y="7"/>
                              <a:pt x="0" y="15"/>
                            </a:cubicBezTo>
                            <a:cubicBezTo>
                              <a:pt x="0" y="23"/>
                              <a:pt x="6" y="29"/>
                              <a:pt x="14" y="29"/>
                            </a:cubicBezTo>
                            <a:close/>
                          </a:path>
                        </a:pathLst>
                      </a:custGeom>
                      <a:solidFill>
                        <a:srgbClr val="4D4D4F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=""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algn="l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1200" b="0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/>
                          <a:cs typeface=""/>
                        </a:endParaRPr>
                      </a:p>
                    </p:txBody>
                  </p:sp>
                  <p:sp>
                    <p:nvSpPr>
                      <p:cNvPr id="2373" name="Freeform 23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4676776" y="1985963"/>
                        <a:ext cx="50800" cy="26988"/>
                      </a:xfrm>
                      <a:custGeom>
                        <a:avLst/>
                        <a:gdLst>
                          <a:gd name="T0" fmla="*/ 15 w 58"/>
                          <a:gd name="T1" fmla="*/ 29 h 29"/>
                          <a:gd name="T2" fmla="*/ 43 w 58"/>
                          <a:gd name="T3" fmla="*/ 29 h 29"/>
                          <a:gd name="T4" fmla="*/ 58 w 58"/>
                          <a:gd name="T5" fmla="*/ 15 h 29"/>
                          <a:gd name="T6" fmla="*/ 43 w 58"/>
                          <a:gd name="T7" fmla="*/ 0 h 29"/>
                          <a:gd name="T8" fmla="*/ 15 w 58"/>
                          <a:gd name="T9" fmla="*/ 0 h 29"/>
                          <a:gd name="T10" fmla="*/ 0 w 58"/>
                          <a:gd name="T11" fmla="*/ 15 h 29"/>
                          <a:gd name="T12" fmla="*/ 15 w 58"/>
                          <a:gd name="T13" fmla="*/ 29 h 29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</a:cxnLst>
                        <a:rect l="0" t="0" r="r" b="b"/>
                        <a:pathLst>
                          <a:path w="58" h="29">
                            <a:moveTo>
                              <a:pt x="15" y="29"/>
                            </a:moveTo>
                            <a:cubicBezTo>
                              <a:pt x="43" y="29"/>
                              <a:pt x="43" y="29"/>
                              <a:pt x="43" y="29"/>
                            </a:cubicBezTo>
                            <a:cubicBezTo>
                              <a:pt x="51" y="29"/>
                              <a:pt x="58" y="23"/>
                              <a:pt x="58" y="15"/>
                            </a:cubicBezTo>
                            <a:cubicBezTo>
                              <a:pt x="58" y="7"/>
                              <a:pt x="51" y="0"/>
                              <a:pt x="43" y="0"/>
                            </a:cubicBezTo>
                            <a:cubicBezTo>
                              <a:pt x="15" y="0"/>
                              <a:pt x="15" y="0"/>
                              <a:pt x="15" y="0"/>
                            </a:cubicBezTo>
                            <a:cubicBezTo>
                              <a:pt x="7" y="0"/>
                              <a:pt x="0" y="7"/>
                              <a:pt x="0" y="15"/>
                            </a:cubicBezTo>
                            <a:cubicBezTo>
                              <a:pt x="0" y="23"/>
                              <a:pt x="7" y="29"/>
                              <a:pt x="15" y="29"/>
                            </a:cubicBezTo>
                            <a:close/>
                          </a:path>
                        </a:pathLst>
                      </a:custGeom>
                      <a:solidFill>
                        <a:srgbClr val="4D4D4F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=""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algn="l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1200" b="0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/>
                          <a:cs typeface=""/>
                        </a:endParaRPr>
                      </a:p>
                    </p:txBody>
                  </p:sp>
                  <p:sp>
                    <p:nvSpPr>
                      <p:cNvPr id="2374" name="Freeform 24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4752976" y="1985963"/>
                        <a:ext cx="52388" cy="26988"/>
                      </a:xfrm>
                      <a:custGeom>
                        <a:avLst/>
                        <a:gdLst>
                          <a:gd name="T0" fmla="*/ 15 w 58"/>
                          <a:gd name="T1" fmla="*/ 29 h 29"/>
                          <a:gd name="T2" fmla="*/ 43 w 58"/>
                          <a:gd name="T3" fmla="*/ 29 h 29"/>
                          <a:gd name="T4" fmla="*/ 58 w 58"/>
                          <a:gd name="T5" fmla="*/ 15 h 29"/>
                          <a:gd name="T6" fmla="*/ 43 w 58"/>
                          <a:gd name="T7" fmla="*/ 0 h 29"/>
                          <a:gd name="T8" fmla="*/ 15 w 58"/>
                          <a:gd name="T9" fmla="*/ 0 h 29"/>
                          <a:gd name="T10" fmla="*/ 0 w 58"/>
                          <a:gd name="T11" fmla="*/ 15 h 29"/>
                          <a:gd name="T12" fmla="*/ 15 w 58"/>
                          <a:gd name="T13" fmla="*/ 29 h 29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</a:cxnLst>
                        <a:rect l="0" t="0" r="r" b="b"/>
                        <a:pathLst>
                          <a:path w="58" h="29">
                            <a:moveTo>
                              <a:pt x="15" y="29"/>
                            </a:moveTo>
                            <a:cubicBezTo>
                              <a:pt x="43" y="29"/>
                              <a:pt x="43" y="29"/>
                              <a:pt x="43" y="29"/>
                            </a:cubicBezTo>
                            <a:cubicBezTo>
                              <a:pt x="51" y="29"/>
                              <a:pt x="58" y="23"/>
                              <a:pt x="58" y="15"/>
                            </a:cubicBezTo>
                            <a:cubicBezTo>
                              <a:pt x="58" y="7"/>
                              <a:pt x="51" y="0"/>
                              <a:pt x="43" y="0"/>
                            </a:cubicBezTo>
                            <a:cubicBezTo>
                              <a:pt x="15" y="0"/>
                              <a:pt x="15" y="0"/>
                              <a:pt x="15" y="0"/>
                            </a:cubicBezTo>
                            <a:cubicBezTo>
                              <a:pt x="7" y="0"/>
                              <a:pt x="0" y="7"/>
                              <a:pt x="0" y="15"/>
                            </a:cubicBezTo>
                            <a:cubicBezTo>
                              <a:pt x="0" y="23"/>
                              <a:pt x="7" y="29"/>
                              <a:pt x="15" y="29"/>
                            </a:cubicBezTo>
                            <a:close/>
                          </a:path>
                        </a:pathLst>
                      </a:custGeom>
                      <a:solidFill>
                        <a:srgbClr val="4D4D4F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=""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algn="l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1200" b="0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/>
                          <a:cs typeface=""/>
                        </a:endParaRPr>
                      </a:p>
                    </p:txBody>
                  </p:sp>
                  <p:sp>
                    <p:nvSpPr>
                      <p:cNvPr id="2375" name="Freeform 25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4471988" y="2349500"/>
                        <a:ext cx="26988" cy="52388"/>
                      </a:xfrm>
                      <a:custGeom>
                        <a:avLst/>
                        <a:gdLst>
                          <a:gd name="T0" fmla="*/ 30 w 31"/>
                          <a:gd name="T1" fmla="*/ 42 h 58"/>
                          <a:gd name="T2" fmla="*/ 29 w 31"/>
                          <a:gd name="T3" fmla="*/ 28 h 58"/>
                          <a:gd name="T4" fmla="*/ 29 w 31"/>
                          <a:gd name="T5" fmla="*/ 15 h 58"/>
                          <a:gd name="T6" fmla="*/ 14 w 31"/>
                          <a:gd name="T7" fmla="*/ 0 h 58"/>
                          <a:gd name="T8" fmla="*/ 0 w 31"/>
                          <a:gd name="T9" fmla="*/ 15 h 58"/>
                          <a:gd name="T10" fmla="*/ 0 w 31"/>
                          <a:gd name="T11" fmla="*/ 28 h 58"/>
                          <a:gd name="T12" fmla="*/ 1 w 31"/>
                          <a:gd name="T13" fmla="*/ 45 h 58"/>
                          <a:gd name="T14" fmla="*/ 15 w 31"/>
                          <a:gd name="T15" fmla="*/ 58 h 58"/>
                          <a:gd name="T16" fmla="*/ 17 w 31"/>
                          <a:gd name="T17" fmla="*/ 58 h 58"/>
                          <a:gd name="T18" fmla="*/ 30 w 31"/>
                          <a:gd name="T19" fmla="*/ 42 h 58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  <a:cxn ang="0">
                            <a:pos x="T14" y="T15"/>
                          </a:cxn>
                          <a:cxn ang="0">
                            <a:pos x="T16" y="T17"/>
                          </a:cxn>
                          <a:cxn ang="0">
                            <a:pos x="T18" y="T19"/>
                          </a:cxn>
                        </a:cxnLst>
                        <a:rect l="0" t="0" r="r" b="b"/>
                        <a:pathLst>
                          <a:path w="31" h="58">
                            <a:moveTo>
                              <a:pt x="30" y="42"/>
                            </a:moveTo>
                            <a:cubicBezTo>
                              <a:pt x="29" y="37"/>
                              <a:pt x="29" y="33"/>
                              <a:pt x="29" y="28"/>
                            </a:cubicBezTo>
                            <a:cubicBezTo>
                              <a:pt x="29" y="15"/>
                              <a:pt x="29" y="15"/>
                              <a:pt x="29" y="15"/>
                            </a:cubicBezTo>
                            <a:cubicBezTo>
                              <a:pt x="29" y="7"/>
                              <a:pt x="22" y="0"/>
                              <a:pt x="14" y="0"/>
                            </a:cubicBezTo>
                            <a:cubicBezTo>
                              <a:pt x="7" y="0"/>
                              <a:pt x="0" y="7"/>
                              <a:pt x="0" y="15"/>
                            </a:cubicBezTo>
                            <a:cubicBezTo>
                              <a:pt x="0" y="28"/>
                              <a:pt x="0" y="28"/>
                              <a:pt x="0" y="28"/>
                            </a:cubicBezTo>
                            <a:cubicBezTo>
                              <a:pt x="0" y="34"/>
                              <a:pt x="0" y="39"/>
                              <a:pt x="1" y="45"/>
                            </a:cubicBezTo>
                            <a:cubicBezTo>
                              <a:pt x="2" y="52"/>
                              <a:pt x="8" y="58"/>
                              <a:pt x="15" y="58"/>
                            </a:cubicBezTo>
                            <a:cubicBezTo>
                              <a:pt x="16" y="58"/>
                              <a:pt x="17" y="58"/>
                              <a:pt x="17" y="58"/>
                            </a:cubicBezTo>
                            <a:cubicBezTo>
                              <a:pt x="25" y="57"/>
                              <a:pt x="31" y="50"/>
                              <a:pt x="30" y="42"/>
                            </a:cubicBezTo>
                            <a:close/>
                          </a:path>
                        </a:pathLst>
                      </a:custGeom>
                      <a:solidFill>
                        <a:srgbClr val="4D4D4F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=""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algn="l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1200" b="0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/>
                          <a:cs typeface=""/>
                        </a:endParaRPr>
                      </a:p>
                    </p:txBody>
                  </p:sp>
                  <p:sp>
                    <p:nvSpPr>
                      <p:cNvPr id="2376" name="Freeform 26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4973638" y="2282825"/>
                        <a:ext cx="25400" cy="52388"/>
                      </a:xfrm>
                      <a:custGeom>
                        <a:avLst/>
                        <a:gdLst>
                          <a:gd name="T0" fmla="*/ 14 w 29"/>
                          <a:gd name="T1" fmla="*/ 0 h 58"/>
                          <a:gd name="T2" fmla="*/ 0 w 29"/>
                          <a:gd name="T3" fmla="*/ 15 h 58"/>
                          <a:gd name="T4" fmla="*/ 0 w 29"/>
                          <a:gd name="T5" fmla="*/ 44 h 58"/>
                          <a:gd name="T6" fmla="*/ 14 w 29"/>
                          <a:gd name="T7" fmla="*/ 58 h 58"/>
                          <a:gd name="T8" fmla="*/ 29 w 29"/>
                          <a:gd name="T9" fmla="*/ 44 h 58"/>
                          <a:gd name="T10" fmla="*/ 29 w 29"/>
                          <a:gd name="T11" fmla="*/ 15 h 58"/>
                          <a:gd name="T12" fmla="*/ 14 w 29"/>
                          <a:gd name="T13" fmla="*/ 0 h 58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</a:cxnLst>
                        <a:rect l="0" t="0" r="r" b="b"/>
                        <a:pathLst>
                          <a:path w="29" h="58">
                            <a:moveTo>
                              <a:pt x="14" y="0"/>
                            </a:moveTo>
                            <a:cubicBezTo>
                              <a:pt x="6" y="0"/>
                              <a:pt x="0" y="7"/>
                              <a:pt x="0" y="15"/>
                            </a:cubicBezTo>
                            <a:cubicBezTo>
                              <a:pt x="0" y="44"/>
                              <a:pt x="0" y="44"/>
                              <a:pt x="0" y="44"/>
                            </a:cubicBezTo>
                            <a:cubicBezTo>
                              <a:pt x="0" y="52"/>
                              <a:pt x="6" y="58"/>
                              <a:pt x="14" y="58"/>
                            </a:cubicBezTo>
                            <a:cubicBezTo>
                              <a:pt x="22" y="58"/>
                              <a:pt x="29" y="52"/>
                              <a:pt x="29" y="44"/>
                            </a:cubicBezTo>
                            <a:cubicBezTo>
                              <a:pt x="29" y="15"/>
                              <a:pt x="29" y="15"/>
                              <a:pt x="29" y="15"/>
                            </a:cubicBezTo>
                            <a:cubicBezTo>
                              <a:pt x="29" y="7"/>
                              <a:pt x="22" y="0"/>
                              <a:pt x="14" y="0"/>
                            </a:cubicBezTo>
                            <a:close/>
                          </a:path>
                        </a:pathLst>
                      </a:custGeom>
                      <a:solidFill>
                        <a:srgbClr val="4D4D4F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=""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algn="l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1200" b="0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/>
                          <a:cs typeface=""/>
                        </a:endParaRPr>
                      </a:p>
                    </p:txBody>
                  </p:sp>
                  <p:sp>
                    <p:nvSpPr>
                      <p:cNvPr id="2377" name="Freeform 28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4927601" y="2432050"/>
                        <a:ext cx="47625" cy="46038"/>
                      </a:xfrm>
                      <a:custGeom>
                        <a:avLst/>
                        <a:gdLst>
                          <a:gd name="T0" fmla="*/ 25 w 53"/>
                          <a:gd name="T1" fmla="*/ 7 h 51"/>
                          <a:gd name="T2" fmla="*/ 7 w 53"/>
                          <a:gd name="T3" fmla="*/ 25 h 51"/>
                          <a:gd name="T4" fmla="*/ 5 w 53"/>
                          <a:gd name="T5" fmla="*/ 45 h 51"/>
                          <a:gd name="T6" fmla="*/ 16 w 53"/>
                          <a:gd name="T7" fmla="*/ 51 h 51"/>
                          <a:gd name="T8" fmla="*/ 25 w 53"/>
                          <a:gd name="T9" fmla="*/ 47 h 51"/>
                          <a:gd name="T10" fmla="*/ 48 w 53"/>
                          <a:gd name="T11" fmla="*/ 25 h 51"/>
                          <a:gd name="T12" fmla="*/ 45 w 53"/>
                          <a:gd name="T13" fmla="*/ 5 h 51"/>
                          <a:gd name="T14" fmla="*/ 25 w 53"/>
                          <a:gd name="T15" fmla="*/ 7 h 51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  <a:cxn ang="0">
                            <a:pos x="T14" y="T15"/>
                          </a:cxn>
                        </a:cxnLst>
                        <a:rect l="0" t="0" r="r" b="b"/>
                        <a:pathLst>
                          <a:path w="53" h="51">
                            <a:moveTo>
                              <a:pt x="25" y="7"/>
                            </a:moveTo>
                            <a:cubicBezTo>
                              <a:pt x="20" y="14"/>
                              <a:pt x="14" y="20"/>
                              <a:pt x="7" y="25"/>
                            </a:cubicBezTo>
                            <a:cubicBezTo>
                              <a:pt x="1" y="30"/>
                              <a:pt x="0" y="39"/>
                              <a:pt x="5" y="45"/>
                            </a:cubicBezTo>
                            <a:cubicBezTo>
                              <a:pt x="8" y="49"/>
                              <a:pt x="12" y="51"/>
                              <a:pt x="16" y="51"/>
                            </a:cubicBezTo>
                            <a:cubicBezTo>
                              <a:pt x="20" y="51"/>
                              <a:pt x="23" y="50"/>
                              <a:pt x="25" y="47"/>
                            </a:cubicBezTo>
                            <a:cubicBezTo>
                              <a:pt x="34" y="41"/>
                              <a:pt x="41" y="33"/>
                              <a:pt x="48" y="25"/>
                            </a:cubicBezTo>
                            <a:cubicBezTo>
                              <a:pt x="53" y="19"/>
                              <a:pt x="52" y="9"/>
                              <a:pt x="45" y="5"/>
                            </a:cubicBezTo>
                            <a:cubicBezTo>
                              <a:pt x="39" y="0"/>
                              <a:pt x="30" y="1"/>
                              <a:pt x="25" y="7"/>
                            </a:cubicBezTo>
                            <a:close/>
                          </a:path>
                        </a:pathLst>
                      </a:custGeom>
                      <a:solidFill>
                        <a:srgbClr val="4D4D4F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=""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algn="l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1200" b="0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/>
                          <a:cs typeface=""/>
                        </a:endParaRPr>
                      </a:p>
                    </p:txBody>
                  </p:sp>
                  <p:sp>
                    <p:nvSpPr>
                      <p:cNvPr id="2378" name="Freeform 29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4968876" y="2360613"/>
                        <a:ext cx="30163" cy="52388"/>
                      </a:xfrm>
                      <a:custGeom>
                        <a:avLst/>
                        <a:gdLst>
                          <a:gd name="T0" fmla="*/ 19 w 34"/>
                          <a:gd name="T1" fmla="*/ 0 h 58"/>
                          <a:gd name="T2" fmla="*/ 5 w 34"/>
                          <a:gd name="T3" fmla="*/ 15 h 58"/>
                          <a:gd name="T4" fmla="*/ 2 w 34"/>
                          <a:gd name="T5" fmla="*/ 40 h 58"/>
                          <a:gd name="T6" fmla="*/ 13 w 34"/>
                          <a:gd name="T7" fmla="*/ 58 h 58"/>
                          <a:gd name="T8" fmla="*/ 16 w 34"/>
                          <a:gd name="T9" fmla="*/ 58 h 58"/>
                          <a:gd name="T10" fmla="*/ 30 w 34"/>
                          <a:gd name="T11" fmla="*/ 47 h 58"/>
                          <a:gd name="T12" fmla="*/ 34 w 34"/>
                          <a:gd name="T13" fmla="*/ 15 h 58"/>
                          <a:gd name="T14" fmla="*/ 34 w 34"/>
                          <a:gd name="T15" fmla="*/ 14 h 58"/>
                          <a:gd name="T16" fmla="*/ 19 w 34"/>
                          <a:gd name="T17" fmla="*/ 0 h 58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  <a:cxn ang="0">
                            <a:pos x="T14" y="T15"/>
                          </a:cxn>
                          <a:cxn ang="0">
                            <a:pos x="T16" y="T17"/>
                          </a:cxn>
                        </a:cxnLst>
                        <a:rect l="0" t="0" r="r" b="b"/>
                        <a:pathLst>
                          <a:path w="34" h="58">
                            <a:moveTo>
                              <a:pt x="19" y="0"/>
                            </a:moveTo>
                            <a:cubicBezTo>
                              <a:pt x="11" y="0"/>
                              <a:pt x="5" y="7"/>
                              <a:pt x="5" y="15"/>
                            </a:cubicBezTo>
                            <a:cubicBezTo>
                              <a:pt x="5" y="24"/>
                              <a:pt x="4" y="32"/>
                              <a:pt x="2" y="40"/>
                            </a:cubicBezTo>
                            <a:cubicBezTo>
                              <a:pt x="0" y="48"/>
                              <a:pt x="5" y="56"/>
                              <a:pt x="13" y="58"/>
                            </a:cubicBezTo>
                            <a:cubicBezTo>
                              <a:pt x="14" y="58"/>
                              <a:pt x="15" y="58"/>
                              <a:pt x="16" y="58"/>
                            </a:cubicBezTo>
                            <a:cubicBezTo>
                              <a:pt x="23" y="58"/>
                              <a:pt x="29" y="53"/>
                              <a:pt x="30" y="47"/>
                            </a:cubicBezTo>
                            <a:cubicBezTo>
                              <a:pt x="32" y="36"/>
                              <a:pt x="34" y="26"/>
                              <a:pt x="34" y="15"/>
                            </a:cubicBezTo>
                            <a:cubicBezTo>
                              <a:pt x="34" y="14"/>
                              <a:pt x="34" y="14"/>
                              <a:pt x="34" y="14"/>
                            </a:cubicBezTo>
                            <a:cubicBezTo>
                              <a:pt x="34" y="6"/>
                              <a:pt x="27" y="0"/>
                              <a:pt x="19" y="0"/>
                            </a:cubicBezTo>
                            <a:close/>
                          </a:path>
                        </a:pathLst>
                      </a:custGeom>
                      <a:solidFill>
                        <a:srgbClr val="4D4D4F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=""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algn="l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1200" b="0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/>
                          <a:cs typeface=""/>
                        </a:endParaRPr>
                      </a:p>
                    </p:txBody>
                  </p:sp>
                  <p:sp>
                    <p:nvSpPr>
                      <p:cNvPr id="2379" name="Freeform 30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4973638" y="2205038"/>
                        <a:ext cx="25400" cy="52388"/>
                      </a:xfrm>
                      <a:custGeom>
                        <a:avLst/>
                        <a:gdLst>
                          <a:gd name="T0" fmla="*/ 14 w 29"/>
                          <a:gd name="T1" fmla="*/ 0 h 58"/>
                          <a:gd name="T2" fmla="*/ 0 w 29"/>
                          <a:gd name="T3" fmla="*/ 15 h 58"/>
                          <a:gd name="T4" fmla="*/ 0 w 29"/>
                          <a:gd name="T5" fmla="*/ 43 h 58"/>
                          <a:gd name="T6" fmla="*/ 14 w 29"/>
                          <a:gd name="T7" fmla="*/ 58 h 58"/>
                          <a:gd name="T8" fmla="*/ 29 w 29"/>
                          <a:gd name="T9" fmla="*/ 43 h 58"/>
                          <a:gd name="T10" fmla="*/ 29 w 29"/>
                          <a:gd name="T11" fmla="*/ 15 h 58"/>
                          <a:gd name="T12" fmla="*/ 14 w 29"/>
                          <a:gd name="T13" fmla="*/ 0 h 58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</a:cxnLst>
                        <a:rect l="0" t="0" r="r" b="b"/>
                        <a:pathLst>
                          <a:path w="29" h="58">
                            <a:moveTo>
                              <a:pt x="14" y="0"/>
                            </a:moveTo>
                            <a:cubicBezTo>
                              <a:pt x="6" y="0"/>
                              <a:pt x="0" y="7"/>
                              <a:pt x="0" y="15"/>
                            </a:cubicBezTo>
                            <a:cubicBezTo>
                              <a:pt x="0" y="43"/>
                              <a:pt x="0" y="43"/>
                              <a:pt x="0" y="43"/>
                            </a:cubicBezTo>
                            <a:cubicBezTo>
                              <a:pt x="0" y="51"/>
                              <a:pt x="6" y="58"/>
                              <a:pt x="14" y="58"/>
                            </a:cubicBezTo>
                            <a:cubicBezTo>
                              <a:pt x="22" y="58"/>
                              <a:pt x="29" y="51"/>
                              <a:pt x="29" y="43"/>
                            </a:cubicBezTo>
                            <a:cubicBezTo>
                              <a:pt x="29" y="15"/>
                              <a:pt x="29" y="15"/>
                              <a:pt x="29" y="15"/>
                            </a:cubicBezTo>
                            <a:cubicBezTo>
                              <a:pt x="29" y="7"/>
                              <a:pt x="22" y="0"/>
                              <a:pt x="14" y="0"/>
                            </a:cubicBezTo>
                            <a:close/>
                          </a:path>
                        </a:pathLst>
                      </a:custGeom>
                      <a:solidFill>
                        <a:srgbClr val="4D4D4F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=""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algn="l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1200" b="0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/>
                          <a:cs typeface=""/>
                        </a:endParaRPr>
                      </a:p>
                    </p:txBody>
                  </p:sp>
                  <p:sp>
                    <p:nvSpPr>
                      <p:cNvPr id="2380" name="Freeform 31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4973638" y="2127250"/>
                        <a:ext cx="25400" cy="52388"/>
                      </a:xfrm>
                      <a:custGeom>
                        <a:avLst/>
                        <a:gdLst>
                          <a:gd name="T0" fmla="*/ 14 w 29"/>
                          <a:gd name="T1" fmla="*/ 0 h 58"/>
                          <a:gd name="T2" fmla="*/ 0 w 29"/>
                          <a:gd name="T3" fmla="*/ 15 h 58"/>
                          <a:gd name="T4" fmla="*/ 0 w 29"/>
                          <a:gd name="T5" fmla="*/ 43 h 58"/>
                          <a:gd name="T6" fmla="*/ 14 w 29"/>
                          <a:gd name="T7" fmla="*/ 58 h 58"/>
                          <a:gd name="T8" fmla="*/ 29 w 29"/>
                          <a:gd name="T9" fmla="*/ 43 h 58"/>
                          <a:gd name="T10" fmla="*/ 29 w 29"/>
                          <a:gd name="T11" fmla="*/ 15 h 58"/>
                          <a:gd name="T12" fmla="*/ 14 w 29"/>
                          <a:gd name="T13" fmla="*/ 0 h 58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</a:cxnLst>
                        <a:rect l="0" t="0" r="r" b="b"/>
                        <a:pathLst>
                          <a:path w="29" h="58">
                            <a:moveTo>
                              <a:pt x="14" y="0"/>
                            </a:moveTo>
                            <a:cubicBezTo>
                              <a:pt x="6" y="0"/>
                              <a:pt x="0" y="7"/>
                              <a:pt x="0" y="15"/>
                            </a:cubicBezTo>
                            <a:cubicBezTo>
                              <a:pt x="0" y="43"/>
                              <a:pt x="0" y="43"/>
                              <a:pt x="0" y="43"/>
                            </a:cubicBezTo>
                            <a:cubicBezTo>
                              <a:pt x="0" y="51"/>
                              <a:pt x="6" y="58"/>
                              <a:pt x="14" y="58"/>
                            </a:cubicBezTo>
                            <a:cubicBezTo>
                              <a:pt x="22" y="58"/>
                              <a:pt x="29" y="51"/>
                              <a:pt x="29" y="43"/>
                            </a:cubicBezTo>
                            <a:cubicBezTo>
                              <a:pt x="29" y="15"/>
                              <a:pt x="29" y="15"/>
                              <a:pt x="29" y="15"/>
                            </a:cubicBezTo>
                            <a:cubicBezTo>
                              <a:pt x="29" y="7"/>
                              <a:pt x="22" y="0"/>
                              <a:pt x="14" y="0"/>
                            </a:cubicBezTo>
                            <a:close/>
                          </a:path>
                        </a:pathLst>
                      </a:custGeom>
                      <a:solidFill>
                        <a:srgbClr val="4D4D4F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=""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algn="l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1200" b="0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/>
                          <a:cs typeface=""/>
                        </a:endParaRPr>
                      </a:p>
                    </p:txBody>
                  </p:sp>
                  <p:sp>
                    <p:nvSpPr>
                      <p:cNvPr id="2381" name="Freeform 32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4546601" y="2470150"/>
                        <a:ext cx="53975" cy="33338"/>
                      </a:xfrm>
                      <a:custGeom>
                        <a:avLst/>
                        <a:gdLst>
                          <a:gd name="T0" fmla="*/ 46 w 60"/>
                          <a:gd name="T1" fmla="*/ 8 h 37"/>
                          <a:gd name="T2" fmla="*/ 21 w 60"/>
                          <a:gd name="T3" fmla="*/ 2 h 37"/>
                          <a:gd name="T4" fmla="*/ 3 w 60"/>
                          <a:gd name="T5" fmla="*/ 11 h 37"/>
                          <a:gd name="T6" fmla="*/ 12 w 60"/>
                          <a:gd name="T7" fmla="*/ 30 h 37"/>
                          <a:gd name="T8" fmla="*/ 43 w 60"/>
                          <a:gd name="T9" fmla="*/ 37 h 37"/>
                          <a:gd name="T10" fmla="*/ 44 w 60"/>
                          <a:gd name="T11" fmla="*/ 37 h 37"/>
                          <a:gd name="T12" fmla="*/ 59 w 60"/>
                          <a:gd name="T13" fmla="*/ 24 h 37"/>
                          <a:gd name="T14" fmla="*/ 46 w 60"/>
                          <a:gd name="T15" fmla="*/ 8 h 37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  <a:cxn ang="0">
                            <a:pos x="T14" y="T15"/>
                          </a:cxn>
                        </a:cxnLst>
                        <a:rect l="0" t="0" r="r" b="b"/>
                        <a:pathLst>
                          <a:path w="60" h="37">
                            <a:moveTo>
                              <a:pt x="46" y="8"/>
                            </a:moveTo>
                            <a:cubicBezTo>
                              <a:pt x="38" y="7"/>
                              <a:pt x="29" y="5"/>
                              <a:pt x="21" y="2"/>
                            </a:cubicBezTo>
                            <a:cubicBezTo>
                              <a:pt x="14" y="0"/>
                              <a:pt x="6" y="4"/>
                              <a:pt x="3" y="11"/>
                            </a:cubicBezTo>
                            <a:cubicBezTo>
                              <a:pt x="0" y="19"/>
                              <a:pt x="4" y="27"/>
                              <a:pt x="12" y="30"/>
                            </a:cubicBezTo>
                            <a:cubicBezTo>
                              <a:pt x="22" y="33"/>
                              <a:pt x="32" y="36"/>
                              <a:pt x="43" y="37"/>
                            </a:cubicBezTo>
                            <a:cubicBezTo>
                              <a:pt x="43" y="37"/>
                              <a:pt x="44" y="37"/>
                              <a:pt x="44" y="37"/>
                            </a:cubicBezTo>
                            <a:cubicBezTo>
                              <a:pt x="51" y="37"/>
                              <a:pt x="58" y="32"/>
                              <a:pt x="59" y="24"/>
                            </a:cubicBezTo>
                            <a:cubicBezTo>
                              <a:pt x="60" y="16"/>
                              <a:pt x="54" y="9"/>
                              <a:pt x="46" y="8"/>
                            </a:cubicBezTo>
                            <a:close/>
                          </a:path>
                        </a:pathLst>
                      </a:custGeom>
                      <a:solidFill>
                        <a:srgbClr val="4D4D4F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=""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algn="l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1200" b="0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/>
                          <a:cs typeface=""/>
                        </a:endParaRPr>
                      </a:p>
                    </p:txBody>
                  </p:sp>
                  <p:sp>
                    <p:nvSpPr>
                      <p:cNvPr id="2382" name="Freeform 33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4781551" y="2478088"/>
                        <a:ext cx="50800" cy="25400"/>
                      </a:xfrm>
                      <a:custGeom>
                        <a:avLst/>
                        <a:gdLst>
                          <a:gd name="T0" fmla="*/ 43 w 57"/>
                          <a:gd name="T1" fmla="*/ 0 h 29"/>
                          <a:gd name="T2" fmla="*/ 14 w 57"/>
                          <a:gd name="T3" fmla="*/ 0 h 29"/>
                          <a:gd name="T4" fmla="*/ 0 w 57"/>
                          <a:gd name="T5" fmla="*/ 15 h 29"/>
                          <a:gd name="T6" fmla="*/ 14 w 57"/>
                          <a:gd name="T7" fmla="*/ 29 h 29"/>
                          <a:gd name="T8" fmla="*/ 43 w 57"/>
                          <a:gd name="T9" fmla="*/ 29 h 29"/>
                          <a:gd name="T10" fmla="*/ 57 w 57"/>
                          <a:gd name="T11" fmla="*/ 15 h 29"/>
                          <a:gd name="T12" fmla="*/ 43 w 57"/>
                          <a:gd name="T13" fmla="*/ 0 h 29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</a:cxnLst>
                        <a:rect l="0" t="0" r="r" b="b"/>
                        <a:pathLst>
                          <a:path w="57" h="29">
                            <a:moveTo>
                              <a:pt x="43" y="0"/>
                            </a:moveTo>
                            <a:cubicBezTo>
                              <a:pt x="14" y="0"/>
                              <a:pt x="14" y="0"/>
                              <a:pt x="14" y="0"/>
                            </a:cubicBezTo>
                            <a:cubicBezTo>
                              <a:pt x="6" y="0"/>
                              <a:pt x="0" y="7"/>
                              <a:pt x="0" y="15"/>
                            </a:cubicBezTo>
                            <a:cubicBezTo>
                              <a:pt x="0" y="23"/>
                              <a:pt x="6" y="29"/>
                              <a:pt x="14" y="29"/>
                            </a:cubicBezTo>
                            <a:cubicBezTo>
                              <a:pt x="43" y="29"/>
                              <a:pt x="43" y="29"/>
                              <a:pt x="43" y="29"/>
                            </a:cubicBezTo>
                            <a:cubicBezTo>
                              <a:pt x="51" y="29"/>
                              <a:pt x="57" y="23"/>
                              <a:pt x="57" y="15"/>
                            </a:cubicBezTo>
                            <a:cubicBezTo>
                              <a:pt x="57" y="7"/>
                              <a:pt x="51" y="0"/>
                              <a:pt x="43" y="0"/>
                            </a:cubicBezTo>
                            <a:close/>
                          </a:path>
                        </a:pathLst>
                      </a:custGeom>
                      <a:solidFill>
                        <a:srgbClr val="4D4D4F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=""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algn="l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1200" b="0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/>
                          <a:cs typeface=""/>
                        </a:endParaRPr>
                      </a:p>
                    </p:txBody>
                  </p:sp>
                  <p:sp>
                    <p:nvSpPr>
                      <p:cNvPr id="2383" name="Freeform 34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4703763" y="2478088"/>
                        <a:ext cx="50800" cy="25400"/>
                      </a:xfrm>
                      <a:custGeom>
                        <a:avLst/>
                        <a:gdLst>
                          <a:gd name="T0" fmla="*/ 44 w 58"/>
                          <a:gd name="T1" fmla="*/ 0 h 29"/>
                          <a:gd name="T2" fmla="*/ 15 w 58"/>
                          <a:gd name="T3" fmla="*/ 0 h 29"/>
                          <a:gd name="T4" fmla="*/ 0 w 58"/>
                          <a:gd name="T5" fmla="*/ 15 h 29"/>
                          <a:gd name="T6" fmla="*/ 15 w 58"/>
                          <a:gd name="T7" fmla="*/ 29 h 29"/>
                          <a:gd name="T8" fmla="*/ 44 w 58"/>
                          <a:gd name="T9" fmla="*/ 29 h 29"/>
                          <a:gd name="T10" fmla="*/ 58 w 58"/>
                          <a:gd name="T11" fmla="*/ 15 h 29"/>
                          <a:gd name="T12" fmla="*/ 44 w 58"/>
                          <a:gd name="T13" fmla="*/ 0 h 29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</a:cxnLst>
                        <a:rect l="0" t="0" r="r" b="b"/>
                        <a:pathLst>
                          <a:path w="58" h="29">
                            <a:moveTo>
                              <a:pt x="44" y="0"/>
                            </a:moveTo>
                            <a:cubicBezTo>
                              <a:pt x="15" y="0"/>
                              <a:pt x="15" y="0"/>
                              <a:pt x="15" y="0"/>
                            </a:cubicBezTo>
                            <a:cubicBezTo>
                              <a:pt x="7" y="0"/>
                              <a:pt x="0" y="7"/>
                              <a:pt x="0" y="15"/>
                            </a:cubicBezTo>
                            <a:cubicBezTo>
                              <a:pt x="0" y="23"/>
                              <a:pt x="7" y="29"/>
                              <a:pt x="15" y="29"/>
                            </a:cubicBezTo>
                            <a:cubicBezTo>
                              <a:pt x="44" y="29"/>
                              <a:pt x="44" y="29"/>
                              <a:pt x="44" y="29"/>
                            </a:cubicBezTo>
                            <a:cubicBezTo>
                              <a:pt x="51" y="29"/>
                              <a:pt x="58" y="23"/>
                              <a:pt x="58" y="15"/>
                            </a:cubicBezTo>
                            <a:cubicBezTo>
                              <a:pt x="58" y="7"/>
                              <a:pt x="51" y="0"/>
                              <a:pt x="44" y="0"/>
                            </a:cubicBezTo>
                            <a:close/>
                          </a:path>
                        </a:pathLst>
                      </a:custGeom>
                      <a:solidFill>
                        <a:srgbClr val="4D4D4F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=""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algn="l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1200" b="0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/>
                          <a:cs typeface=""/>
                        </a:endParaRPr>
                      </a:p>
                    </p:txBody>
                  </p:sp>
                  <p:sp>
                    <p:nvSpPr>
                      <p:cNvPr id="2384" name="Freeform 35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4625976" y="2478088"/>
                        <a:ext cx="52388" cy="25400"/>
                      </a:xfrm>
                      <a:custGeom>
                        <a:avLst/>
                        <a:gdLst>
                          <a:gd name="T0" fmla="*/ 43 w 58"/>
                          <a:gd name="T1" fmla="*/ 0 h 29"/>
                          <a:gd name="T2" fmla="*/ 15 w 58"/>
                          <a:gd name="T3" fmla="*/ 0 h 29"/>
                          <a:gd name="T4" fmla="*/ 0 w 58"/>
                          <a:gd name="T5" fmla="*/ 15 h 29"/>
                          <a:gd name="T6" fmla="*/ 15 w 58"/>
                          <a:gd name="T7" fmla="*/ 29 h 29"/>
                          <a:gd name="T8" fmla="*/ 43 w 58"/>
                          <a:gd name="T9" fmla="*/ 29 h 29"/>
                          <a:gd name="T10" fmla="*/ 58 w 58"/>
                          <a:gd name="T11" fmla="*/ 15 h 29"/>
                          <a:gd name="T12" fmla="*/ 43 w 58"/>
                          <a:gd name="T13" fmla="*/ 0 h 29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</a:cxnLst>
                        <a:rect l="0" t="0" r="r" b="b"/>
                        <a:pathLst>
                          <a:path w="58" h="29">
                            <a:moveTo>
                              <a:pt x="43" y="0"/>
                            </a:moveTo>
                            <a:cubicBezTo>
                              <a:pt x="15" y="0"/>
                              <a:pt x="15" y="0"/>
                              <a:pt x="15" y="0"/>
                            </a:cubicBezTo>
                            <a:cubicBezTo>
                              <a:pt x="7" y="0"/>
                              <a:pt x="0" y="7"/>
                              <a:pt x="0" y="15"/>
                            </a:cubicBezTo>
                            <a:cubicBezTo>
                              <a:pt x="0" y="23"/>
                              <a:pt x="7" y="29"/>
                              <a:pt x="15" y="29"/>
                            </a:cubicBezTo>
                            <a:cubicBezTo>
                              <a:pt x="43" y="29"/>
                              <a:pt x="43" y="29"/>
                              <a:pt x="43" y="29"/>
                            </a:cubicBezTo>
                            <a:cubicBezTo>
                              <a:pt x="51" y="29"/>
                              <a:pt x="58" y="23"/>
                              <a:pt x="58" y="15"/>
                            </a:cubicBezTo>
                            <a:cubicBezTo>
                              <a:pt x="58" y="7"/>
                              <a:pt x="51" y="0"/>
                              <a:pt x="43" y="0"/>
                            </a:cubicBezTo>
                            <a:close/>
                          </a:path>
                        </a:pathLst>
                      </a:custGeom>
                      <a:solidFill>
                        <a:srgbClr val="4D4D4F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=""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algn="l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1200" b="0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/>
                          <a:cs typeface=""/>
                        </a:endParaRPr>
                      </a:p>
                    </p:txBody>
                  </p:sp>
                  <p:sp>
                    <p:nvSpPr>
                      <p:cNvPr id="2385" name="Freeform 38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4859338" y="2473325"/>
                        <a:ext cx="52388" cy="30163"/>
                      </a:xfrm>
                      <a:custGeom>
                        <a:avLst/>
                        <a:gdLst>
                          <a:gd name="T0" fmla="*/ 39 w 58"/>
                          <a:gd name="T1" fmla="*/ 2 h 34"/>
                          <a:gd name="T2" fmla="*/ 14 w 58"/>
                          <a:gd name="T3" fmla="*/ 5 h 34"/>
                          <a:gd name="T4" fmla="*/ 0 w 58"/>
                          <a:gd name="T5" fmla="*/ 20 h 34"/>
                          <a:gd name="T6" fmla="*/ 14 w 58"/>
                          <a:gd name="T7" fmla="*/ 34 h 34"/>
                          <a:gd name="T8" fmla="*/ 14 w 58"/>
                          <a:gd name="T9" fmla="*/ 34 h 34"/>
                          <a:gd name="T10" fmla="*/ 46 w 58"/>
                          <a:gd name="T11" fmla="*/ 30 h 34"/>
                          <a:gd name="T12" fmla="*/ 56 w 58"/>
                          <a:gd name="T13" fmla="*/ 12 h 34"/>
                          <a:gd name="T14" fmla="*/ 39 w 58"/>
                          <a:gd name="T15" fmla="*/ 2 h 34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  <a:cxn ang="0">
                            <a:pos x="T14" y="T15"/>
                          </a:cxn>
                        </a:cxnLst>
                        <a:rect l="0" t="0" r="r" b="b"/>
                        <a:pathLst>
                          <a:path w="58" h="34">
                            <a:moveTo>
                              <a:pt x="39" y="2"/>
                            </a:moveTo>
                            <a:cubicBezTo>
                              <a:pt x="31" y="4"/>
                              <a:pt x="22" y="5"/>
                              <a:pt x="14" y="5"/>
                            </a:cubicBezTo>
                            <a:cubicBezTo>
                              <a:pt x="6" y="5"/>
                              <a:pt x="0" y="12"/>
                              <a:pt x="0" y="20"/>
                            </a:cubicBezTo>
                            <a:cubicBezTo>
                              <a:pt x="0" y="28"/>
                              <a:pt x="6" y="34"/>
                              <a:pt x="14" y="34"/>
                            </a:cubicBezTo>
                            <a:cubicBezTo>
                              <a:pt x="14" y="34"/>
                              <a:pt x="14" y="34"/>
                              <a:pt x="14" y="34"/>
                            </a:cubicBezTo>
                            <a:cubicBezTo>
                              <a:pt x="25" y="34"/>
                              <a:pt x="36" y="32"/>
                              <a:pt x="46" y="30"/>
                            </a:cubicBezTo>
                            <a:cubicBezTo>
                              <a:pt x="54" y="28"/>
                              <a:pt x="58" y="20"/>
                              <a:pt x="56" y="12"/>
                            </a:cubicBezTo>
                            <a:cubicBezTo>
                              <a:pt x="55" y="5"/>
                              <a:pt x="47" y="0"/>
                              <a:pt x="39" y="2"/>
                            </a:cubicBezTo>
                            <a:close/>
                          </a:path>
                        </a:pathLst>
                      </a:custGeom>
                      <a:solidFill>
                        <a:srgbClr val="4D4D4F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=""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algn="l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1200" b="0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/>
                          <a:cs typeface=""/>
                        </a:endParaRPr>
                      </a:p>
                    </p:txBody>
                  </p:sp>
                </p:grpSp>
                <p:sp>
                  <p:nvSpPr>
                    <p:cNvPr id="2362" name="Freeform 12"/>
                    <p:cNvSpPr>
                      <a:spLocks noEditPoints="1"/>
                    </p:cNvSpPr>
                    <p:nvPr/>
                  </p:nvSpPr>
                  <p:spPr bwMode="auto">
                    <a:xfrm>
                      <a:off x="5406483" y="2446478"/>
                      <a:ext cx="214941" cy="191168"/>
                    </a:xfrm>
                    <a:custGeom>
                      <a:avLst/>
                      <a:gdLst>
                        <a:gd name="T0" fmla="*/ 419 w 494"/>
                        <a:gd name="T1" fmla="*/ 299 h 448"/>
                        <a:gd name="T2" fmla="*/ 403 w 494"/>
                        <a:gd name="T3" fmla="*/ 301 h 448"/>
                        <a:gd name="T4" fmla="*/ 302 w 494"/>
                        <a:gd name="T5" fmla="*/ 126 h 448"/>
                        <a:gd name="T6" fmla="*/ 322 w 494"/>
                        <a:gd name="T7" fmla="*/ 75 h 448"/>
                        <a:gd name="T8" fmla="*/ 247 w 494"/>
                        <a:gd name="T9" fmla="*/ 0 h 448"/>
                        <a:gd name="T10" fmla="*/ 173 w 494"/>
                        <a:gd name="T11" fmla="*/ 75 h 448"/>
                        <a:gd name="T12" fmla="*/ 193 w 494"/>
                        <a:gd name="T13" fmla="*/ 126 h 448"/>
                        <a:gd name="T14" fmla="*/ 91 w 494"/>
                        <a:gd name="T15" fmla="*/ 301 h 448"/>
                        <a:gd name="T16" fmla="*/ 75 w 494"/>
                        <a:gd name="T17" fmla="*/ 299 h 448"/>
                        <a:gd name="T18" fmla="*/ 0 w 494"/>
                        <a:gd name="T19" fmla="*/ 373 h 448"/>
                        <a:gd name="T20" fmla="*/ 75 w 494"/>
                        <a:gd name="T21" fmla="*/ 448 h 448"/>
                        <a:gd name="T22" fmla="*/ 146 w 494"/>
                        <a:gd name="T23" fmla="*/ 395 h 448"/>
                        <a:gd name="T24" fmla="*/ 349 w 494"/>
                        <a:gd name="T25" fmla="*/ 395 h 448"/>
                        <a:gd name="T26" fmla="*/ 419 w 494"/>
                        <a:gd name="T27" fmla="*/ 448 h 448"/>
                        <a:gd name="T28" fmla="*/ 494 w 494"/>
                        <a:gd name="T29" fmla="*/ 373 h 448"/>
                        <a:gd name="T30" fmla="*/ 419 w 494"/>
                        <a:gd name="T31" fmla="*/ 299 h 448"/>
                        <a:gd name="T32" fmla="*/ 349 w 494"/>
                        <a:gd name="T33" fmla="*/ 351 h 448"/>
                        <a:gd name="T34" fmla="*/ 146 w 494"/>
                        <a:gd name="T35" fmla="*/ 351 h 448"/>
                        <a:gd name="T36" fmla="*/ 130 w 494"/>
                        <a:gd name="T37" fmla="*/ 323 h 448"/>
                        <a:gd name="T38" fmla="*/ 231 w 494"/>
                        <a:gd name="T39" fmla="*/ 148 h 448"/>
                        <a:gd name="T40" fmla="*/ 247 w 494"/>
                        <a:gd name="T41" fmla="*/ 150 h 448"/>
                        <a:gd name="T42" fmla="*/ 264 w 494"/>
                        <a:gd name="T43" fmla="*/ 148 h 448"/>
                        <a:gd name="T44" fmla="*/ 365 w 494"/>
                        <a:gd name="T45" fmla="*/ 323 h 448"/>
                        <a:gd name="T46" fmla="*/ 349 w 494"/>
                        <a:gd name="T47" fmla="*/ 351 h 44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</a:cxnLst>
                      <a:rect l="0" t="0" r="r" b="b"/>
                      <a:pathLst>
                        <a:path w="494" h="448">
                          <a:moveTo>
                            <a:pt x="419" y="299"/>
                          </a:moveTo>
                          <a:cubicBezTo>
                            <a:pt x="414" y="299"/>
                            <a:pt x="408" y="300"/>
                            <a:pt x="403" y="301"/>
                          </a:cubicBezTo>
                          <a:cubicBezTo>
                            <a:pt x="302" y="126"/>
                            <a:pt x="302" y="126"/>
                            <a:pt x="302" y="126"/>
                          </a:cubicBezTo>
                          <a:cubicBezTo>
                            <a:pt x="314" y="112"/>
                            <a:pt x="322" y="95"/>
                            <a:pt x="322" y="75"/>
                          </a:cubicBezTo>
                          <a:cubicBezTo>
                            <a:pt x="322" y="34"/>
                            <a:pt x="288" y="0"/>
                            <a:pt x="247" y="0"/>
                          </a:cubicBezTo>
                          <a:cubicBezTo>
                            <a:pt x="206" y="0"/>
                            <a:pt x="173" y="34"/>
                            <a:pt x="173" y="75"/>
                          </a:cubicBezTo>
                          <a:cubicBezTo>
                            <a:pt x="173" y="95"/>
                            <a:pt x="180" y="112"/>
                            <a:pt x="193" y="126"/>
                          </a:cubicBezTo>
                          <a:cubicBezTo>
                            <a:pt x="91" y="301"/>
                            <a:pt x="91" y="301"/>
                            <a:pt x="91" y="301"/>
                          </a:cubicBezTo>
                          <a:cubicBezTo>
                            <a:pt x="86" y="300"/>
                            <a:pt x="81" y="299"/>
                            <a:pt x="75" y="299"/>
                          </a:cubicBezTo>
                          <a:cubicBezTo>
                            <a:pt x="34" y="299"/>
                            <a:pt x="0" y="332"/>
                            <a:pt x="0" y="373"/>
                          </a:cubicBezTo>
                          <a:cubicBezTo>
                            <a:pt x="0" y="415"/>
                            <a:pt x="34" y="448"/>
                            <a:pt x="75" y="448"/>
                          </a:cubicBezTo>
                          <a:cubicBezTo>
                            <a:pt x="108" y="448"/>
                            <a:pt x="136" y="426"/>
                            <a:pt x="146" y="395"/>
                          </a:cubicBezTo>
                          <a:cubicBezTo>
                            <a:pt x="349" y="395"/>
                            <a:pt x="349" y="395"/>
                            <a:pt x="349" y="395"/>
                          </a:cubicBezTo>
                          <a:cubicBezTo>
                            <a:pt x="358" y="426"/>
                            <a:pt x="386" y="448"/>
                            <a:pt x="419" y="448"/>
                          </a:cubicBezTo>
                          <a:cubicBezTo>
                            <a:pt x="461" y="448"/>
                            <a:pt x="494" y="415"/>
                            <a:pt x="494" y="373"/>
                          </a:cubicBezTo>
                          <a:cubicBezTo>
                            <a:pt x="494" y="332"/>
                            <a:pt x="461" y="299"/>
                            <a:pt x="419" y="299"/>
                          </a:cubicBezTo>
                          <a:close/>
                          <a:moveTo>
                            <a:pt x="349" y="351"/>
                          </a:moveTo>
                          <a:cubicBezTo>
                            <a:pt x="146" y="351"/>
                            <a:pt x="146" y="351"/>
                            <a:pt x="146" y="351"/>
                          </a:cubicBezTo>
                          <a:cubicBezTo>
                            <a:pt x="142" y="341"/>
                            <a:pt x="137" y="331"/>
                            <a:pt x="130" y="323"/>
                          </a:cubicBezTo>
                          <a:cubicBezTo>
                            <a:pt x="231" y="148"/>
                            <a:pt x="231" y="148"/>
                            <a:pt x="231" y="148"/>
                          </a:cubicBezTo>
                          <a:cubicBezTo>
                            <a:pt x="236" y="149"/>
                            <a:pt x="242" y="150"/>
                            <a:pt x="247" y="150"/>
                          </a:cubicBezTo>
                          <a:cubicBezTo>
                            <a:pt x="253" y="150"/>
                            <a:pt x="258" y="149"/>
                            <a:pt x="264" y="148"/>
                          </a:cubicBezTo>
                          <a:cubicBezTo>
                            <a:pt x="365" y="323"/>
                            <a:pt x="365" y="323"/>
                            <a:pt x="365" y="323"/>
                          </a:cubicBezTo>
                          <a:cubicBezTo>
                            <a:pt x="358" y="331"/>
                            <a:pt x="352" y="341"/>
                            <a:pt x="349" y="351"/>
                          </a:cubicBezTo>
                          <a:close/>
                        </a:path>
                      </a:pathLst>
                    </a:custGeom>
                    <a:solidFill>
                      <a:sysClr val="window" lastClr="FFFFFF"/>
                    </a:solidFill>
                    <a:ln>
                      <a:noFill/>
                    </a:ln>
                    <a:extLst/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algn="l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200" b="0" i="0" u="none" strike="noStrike" kern="0" cap="none" spc="0" normalizeH="0" baseline="0" noProof="0" dirty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Arial"/>
                        <a:cs typeface=""/>
                      </a:endParaRPr>
                    </a:p>
                  </p:txBody>
                </p:sp>
              </p:grpSp>
            </p:grpSp>
            <p:grpSp>
              <p:nvGrpSpPr>
                <p:cNvPr id="2247" name="Group 2246"/>
                <p:cNvGrpSpPr/>
                <p:nvPr/>
              </p:nvGrpSpPr>
              <p:grpSpPr>
                <a:xfrm>
                  <a:off x="4061758" y="2986823"/>
                  <a:ext cx="309857" cy="268010"/>
                  <a:chOff x="5310724" y="2352924"/>
                  <a:chExt cx="398754" cy="374816"/>
                </a:xfrm>
              </p:grpSpPr>
              <p:sp>
                <p:nvSpPr>
                  <p:cNvPr id="2332" name="Rounded Rectangle 2331"/>
                  <p:cNvSpPr/>
                  <p:nvPr/>
                </p:nvSpPr>
                <p:spPr>
                  <a:xfrm>
                    <a:off x="5351561" y="2386601"/>
                    <a:ext cx="308105" cy="310923"/>
                  </a:xfrm>
                  <a:prstGeom prst="roundRect">
                    <a:avLst/>
                  </a:prstGeom>
                  <a:solidFill>
                    <a:srgbClr val="9BBB59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 smtClean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Arial"/>
                      <a:ea typeface=""/>
                      <a:cs typeface=""/>
                    </a:endParaRPr>
                  </a:p>
                </p:txBody>
              </p:sp>
              <p:grpSp>
                <p:nvGrpSpPr>
                  <p:cNvPr id="2333" name="Group 2332"/>
                  <p:cNvGrpSpPr/>
                  <p:nvPr/>
                </p:nvGrpSpPr>
                <p:grpSpPr>
                  <a:xfrm>
                    <a:off x="5310724" y="2352924"/>
                    <a:ext cx="398754" cy="374816"/>
                    <a:chOff x="5310724" y="2352924"/>
                    <a:chExt cx="398754" cy="374816"/>
                  </a:xfrm>
                </p:grpSpPr>
                <p:grpSp>
                  <p:nvGrpSpPr>
                    <p:cNvPr id="2334" name="Group 2333"/>
                    <p:cNvGrpSpPr/>
                    <p:nvPr/>
                  </p:nvGrpSpPr>
                  <p:grpSpPr>
                    <a:xfrm rot="5400000">
                      <a:off x="5322693" y="2340955"/>
                      <a:ext cx="374816" cy="398754"/>
                      <a:chOff x="4471988" y="1985963"/>
                      <a:chExt cx="527051" cy="517525"/>
                    </a:xfrm>
                  </p:grpSpPr>
                  <p:sp>
                    <p:nvSpPr>
                      <p:cNvPr id="2336" name="Freeform 13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4471988" y="2117725"/>
                        <a:ext cx="25400" cy="50800"/>
                      </a:xfrm>
                      <a:custGeom>
                        <a:avLst/>
                        <a:gdLst>
                          <a:gd name="T0" fmla="*/ 14 w 29"/>
                          <a:gd name="T1" fmla="*/ 57 h 57"/>
                          <a:gd name="T2" fmla="*/ 29 w 29"/>
                          <a:gd name="T3" fmla="*/ 43 h 57"/>
                          <a:gd name="T4" fmla="*/ 29 w 29"/>
                          <a:gd name="T5" fmla="*/ 14 h 57"/>
                          <a:gd name="T6" fmla="*/ 14 w 29"/>
                          <a:gd name="T7" fmla="*/ 0 h 57"/>
                          <a:gd name="T8" fmla="*/ 0 w 29"/>
                          <a:gd name="T9" fmla="*/ 14 h 57"/>
                          <a:gd name="T10" fmla="*/ 0 w 29"/>
                          <a:gd name="T11" fmla="*/ 43 h 57"/>
                          <a:gd name="T12" fmla="*/ 14 w 29"/>
                          <a:gd name="T13" fmla="*/ 57 h 57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</a:cxnLst>
                        <a:rect l="0" t="0" r="r" b="b"/>
                        <a:pathLst>
                          <a:path w="29" h="57">
                            <a:moveTo>
                              <a:pt x="14" y="57"/>
                            </a:moveTo>
                            <a:cubicBezTo>
                              <a:pt x="22" y="57"/>
                              <a:pt x="29" y="51"/>
                              <a:pt x="29" y="43"/>
                            </a:cubicBezTo>
                            <a:cubicBezTo>
                              <a:pt x="29" y="14"/>
                              <a:pt x="29" y="14"/>
                              <a:pt x="29" y="14"/>
                            </a:cubicBezTo>
                            <a:cubicBezTo>
                              <a:pt x="29" y="6"/>
                              <a:pt x="22" y="0"/>
                              <a:pt x="14" y="0"/>
                            </a:cubicBezTo>
                            <a:cubicBezTo>
                              <a:pt x="7" y="0"/>
                              <a:pt x="0" y="6"/>
                              <a:pt x="0" y="14"/>
                            </a:cubicBezTo>
                            <a:cubicBezTo>
                              <a:pt x="0" y="43"/>
                              <a:pt x="0" y="43"/>
                              <a:pt x="0" y="43"/>
                            </a:cubicBezTo>
                            <a:cubicBezTo>
                              <a:pt x="0" y="51"/>
                              <a:pt x="7" y="57"/>
                              <a:pt x="14" y="57"/>
                            </a:cubicBezTo>
                            <a:close/>
                          </a:path>
                        </a:pathLst>
                      </a:custGeom>
                      <a:solidFill>
                        <a:srgbClr val="4D4D4F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=""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algn="l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1200" b="0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/>
                          <a:cs typeface=""/>
                        </a:endParaRPr>
                      </a:p>
                    </p:txBody>
                  </p:sp>
                  <p:sp>
                    <p:nvSpPr>
                      <p:cNvPr id="2337" name="Freeform 14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4471988" y="2271713"/>
                        <a:ext cx="25400" cy="52388"/>
                      </a:xfrm>
                      <a:custGeom>
                        <a:avLst/>
                        <a:gdLst>
                          <a:gd name="T0" fmla="*/ 14 w 29"/>
                          <a:gd name="T1" fmla="*/ 58 h 58"/>
                          <a:gd name="T2" fmla="*/ 29 w 29"/>
                          <a:gd name="T3" fmla="*/ 43 h 58"/>
                          <a:gd name="T4" fmla="*/ 29 w 29"/>
                          <a:gd name="T5" fmla="*/ 15 h 58"/>
                          <a:gd name="T6" fmla="*/ 14 w 29"/>
                          <a:gd name="T7" fmla="*/ 0 h 58"/>
                          <a:gd name="T8" fmla="*/ 0 w 29"/>
                          <a:gd name="T9" fmla="*/ 15 h 58"/>
                          <a:gd name="T10" fmla="*/ 0 w 29"/>
                          <a:gd name="T11" fmla="*/ 43 h 58"/>
                          <a:gd name="T12" fmla="*/ 14 w 29"/>
                          <a:gd name="T13" fmla="*/ 58 h 58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</a:cxnLst>
                        <a:rect l="0" t="0" r="r" b="b"/>
                        <a:pathLst>
                          <a:path w="29" h="58">
                            <a:moveTo>
                              <a:pt x="14" y="58"/>
                            </a:moveTo>
                            <a:cubicBezTo>
                              <a:pt x="22" y="58"/>
                              <a:pt x="29" y="51"/>
                              <a:pt x="29" y="43"/>
                            </a:cubicBezTo>
                            <a:cubicBezTo>
                              <a:pt x="29" y="15"/>
                              <a:pt x="29" y="15"/>
                              <a:pt x="29" y="15"/>
                            </a:cubicBezTo>
                            <a:cubicBezTo>
                              <a:pt x="29" y="7"/>
                              <a:pt x="22" y="0"/>
                              <a:pt x="14" y="0"/>
                            </a:cubicBezTo>
                            <a:cubicBezTo>
                              <a:pt x="7" y="0"/>
                              <a:pt x="0" y="7"/>
                              <a:pt x="0" y="15"/>
                            </a:cubicBezTo>
                            <a:cubicBezTo>
                              <a:pt x="0" y="43"/>
                              <a:pt x="0" y="43"/>
                              <a:pt x="0" y="43"/>
                            </a:cubicBezTo>
                            <a:cubicBezTo>
                              <a:pt x="0" y="51"/>
                              <a:pt x="7" y="58"/>
                              <a:pt x="14" y="58"/>
                            </a:cubicBezTo>
                            <a:close/>
                          </a:path>
                        </a:pathLst>
                      </a:custGeom>
                      <a:solidFill>
                        <a:srgbClr val="4D4D4F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=""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algn="l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1200" b="0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/>
                          <a:cs typeface=""/>
                        </a:endParaRPr>
                      </a:p>
                    </p:txBody>
                  </p:sp>
                  <p:sp>
                    <p:nvSpPr>
                      <p:cNvPr id="2338" name="Freeform 15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4487863" y="2422525"/>
                        <a:ext cx="44450" cy="47625"/>
                      </a:xfrm>
                      <a:custGeom>
                        <a:avLst/>
                        <a:gdLst>
                          <a:gd name="T0" fmla="*/ 29 w 50"/>
                          <a:gd name="T1" fmla="*/ 8 h 53"/>
                          <a:gd name="T2" fmla="*/ 9 w 50"/>
                          <a:gd name="T3" fmla="*/ 4 h 53"/>
                          <a:gd name="T4" fmla="*/ 4 w 50"/>
                          <a:gd name="T5" fmla="*/ 24 h 53"/>
                          <a:gd name="T6" fmla="*/ 24 w 50"/>
                          <a:gd name="T7" fmla="*/ 49 h 53"/>
                          <a:gd name="T8" fmla="*/ 34 w 50"/>
                          <a:gd name="T9" fmla="*/ 53 h 53"/>
                          <a:gd name="T10" fmla="*/ 45 w 50"/>
                          <a:gd name="T11" fmla="*/ 49 h 53"/>
                          <a:gd name="T12" fmla="*/ 45 w 50"/>
                          <a:gd name="T13" fmla="*/ 28 h 53"/>
                          <a:gd name="T14" fmla="*/ 29 w 50"/>
                          <a:gd name="T15" fmla="*/ 8 h 53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  <a:cxn ang="0">
                            <a:pos x="T14" y="T15"/>
                          </a:cxn>
                        </a:cxnLst>
                        <a:rect l="0" t="0" r="r" b="b"/>
                        <a:pathLst>
                          <a:path w="50" h="53">
                            <a:moveTo>
                              <a:pt x="29" y="8"/>
                            </a:moveTo>
                            <a:cubicBezTo>
                              <a:pt x="24" y="2"/>
                              <a:pt x="15" y="0"/>
                              <a:pt x="9" y="4"/>
                            </a:cubicBezTo>
                            <a:cubicBezTo>
                              <a:pt x="2" y="8"/>
                              <a:pt x="0" y="17"/>
                              <a:pt x="4" y="24"/>
                            </a:cubicBezTo>
                            <a:cubicBezTo>
                              <a:pt x="10" y="33"/>
                              <a:pt x="17" y="41"/>
                              <a:pt x="24" y="49"/>
                            </a:cubicBezTo>
                            <a:cubicBezTo>
                              <a:pt x="27" y="51"/>
                              <a:pt x="31" y="53"/>
                              <a:pt x="34" y="53"/>
                            </a:cubicBezTo>
                            <a:cubicBezTo>
                              <a:pt x="38" y="53"/>
                              <a:pt x="42" y="51"/>
                              <a:pt x="45" y="49"/>
                            </a:cubicBezTo>
                            <a:cubicBezTo>
                              <a:pt x="50" y="43"/>
                              <a:pt x="50" y="34"/>
                              <a:pt x="45" y="28"/>
                            </a:cubicBezTo>
                            <a:cubicBezTo>
                              <a:pt x="39" y="22"/>
                              <a:pt x="33" y="15"/>
                              <a:pt x="29" y="8"/>
                            </a:cubicBezTo>
                            <a:close/>
                          </a:path>
                        </a:pathLst>
                      </a:custGeom>
                      <a:solidFill>
                        <a:srgbClr val="4D4D4F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=""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algn="l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1200" b="0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/>
                          <a:cs typeface=""/>
                        </a:endParaRPr>
                      </a:p>
                    </p:txBody>
                  </p:sp>
                  <p:sp>
                    <p:nvSpPr>
                      <p:cNvPr id="2339" name="Freeform 16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4471988" y="2193925"/>
                        <a:ext cx="25400" cy="52388"/>
                      </a:xfrm>
                      <a:custGeom>
                        <a:avLst/>
                        <a:gdLst>
                          <a:gd name="T0" fmla="*/ 14 w 29"/>
                          <a:gd name="T1" fmla="*/ 58 h 58"/>
                          <a:gd name="T2" fmla="*/ 29 w 29"/>
                          <a:gd name="T3" fmla="*/ 43 h 58"/>
                          <a:gd name="T4" fmla="*/ 29 w 29"/>
                          <a:gd name="T5" fmla="*/ 14 h 58"/>
                          <a:gd name="T6" fmla="*/ 14 w 29"/>
                          <a:gd name="T7" fmla="*/ 0 h 58"/>
                          <a:gd name="T8" fmla="*/ 0 w 29"/>
                          <a:gd name="T9" fmla="*/ 14 h 58"/>
                          <a:gd name="T10" fmla="*/ 0 w 29"/>
                          <a:gd name="T11" fmla="*/ 43 h 58"/>
                          <a:gd name="T12" fmla="*/ 14 w 29"/>
                          <a:gd name="T13" fmla="*/ 58 h 58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</a:cxnLst>
                        <a:rect l="0" t="0" r="r" b="b"/>
                        <a:pathLst>
                          <a:path w="29" h="58">
                            <a:moveTo>
                              <a:pt x="14" y="58"/>
                            </a:moveTo>
                            <a:cubicBezTo>
                              <a:pt x="22" y="58"/>
                              <a:pt x="29" y="51"/>
                              <a:pt x="29" y="43"/>
                            </a:cubicBezTo>
                            <a:cubicBezTo>
                              <a:pt x="29" y="14"/>
                              <a:pt x="29" y="14"/>
                              <a:pt x="29" y="14"/>
                            </a:cubicBezTo>
                            <a:cubicBezTo>
                              <a:pt x="29" y="6"/>
                              <a:pt x="22" y="0"/>
                              <a:pt x="14" y="0"/>
                            </a:cubicBezTo>
                            <a:cubicBezTo>
                              <a:pt x="7" y="0"/>
                              <a:pt x="0" y="6"/>
                              <a:pt x="0" y="14"/>
                            </a:cubicBezTo>
                            <a:cubicBezTo>
                              <a:pt x="0" y="43"/>
                              <a:pt x="0" y="43"/>
                              <a:pt x="0" y="43"/>
                            </a:cubicBezTo>
                            <a:cubicBezTo>
                              <a:pt x="0" y="51"/>
                              <a:pt x="7" y="58"/>
                              <a:pt x="14" y="58"/>
                            </a:cubicBezTo>
                            <a:close/>
                          </a:path>
                        </a:pathLst>
                      </a:custGeom>
                      <a:solidFill>
                        <a:srgbClr val="4D4D4F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=""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algn="l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1200" b="0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/>
                          <a:cs typeface=""/>
                        </a:endParaRPr>
                      </a:p>
                    </p:txBody>
                  </p:sp>
                  <p:sp>
                    <p:nvSpPr>
                      <p:cNvPr id="2340" name="Freeform 17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4830763" y="1985963"/>
                        <a:ext cx="50800" cy="26988"/>
                      </a:xfrm>
                      <a:custGeom>
                        <a:avLst/>
                        <a:gdLst>
                          <a:gd name="T0" fmla="*/ 15 w 57"/>
                          <a:gd name="T1" fmla="*/ 29 h 29"/>
                          <a:gd name="T2" fmla="*/ 44 w 57"/>
                          <a:gd name="T3" fmla="*/ 29 h 29"/>
                          <a:gd name="T4" fmla="*/ 57 w 57"/>
                          <a:gd name="T5" fmla="*/ 15 h 29"/>
                          <a:gd name="T6" fmla="*/ 43 w 57"/>
                          <a:gd name="T7" fmla="*/ 0 h 29"/>
                          <a:gd name="T8" fmla="*/ 15 w 57"/>
                          <a:gd name="T9" fmla="*/ 0 h 29"/>
                          <a:gd name="T10" fmla="*/ 0 w 57"/>
                          <a:gd name="T11" fmla="*/ 15 h 29"/>
                          <a:gd name="T12" fmla="*/ 15 w 57"/>
                          <a:gd name="T13" fmla="*/ 29 h 29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</a:cxnLst>
                        <a:rect l="0" t="0" r="r" b="b"/>
                        <a:pathLst>
                          <a:path w="57" h="29">
                            <a:moveTo>
                              <a:pt x="15" y="29"/>
                            </a:moveTo>
                            <a:cubicBezTo>
                              <a:pt x="44" y="29"/>
                              <a:pt x="44" y="29"/>
                              <a:pt x="44" y="29"/>
                            </a:cubicBezTo>
                            <a:cubicBezTo>
                              <a:pt x="51" y="29"/>
                              <a:pt x="57" y="23"/>
                              <a:pt x="57" y="15"/>
                            </a:cubicBezTo>
                            <a:cubicBezTo>
                              <a:pt x="57" y="7"/>
                              <a:pt x="50" y="0"/>
                              <a:pt x="43" y="0"/>
                            </a:cubicBezTo>
                            <a:cubicBezTo>
                              <a:pt x="15" y="0"/>
                              <a:pt x="15" y="0"/>
                              <a:pt x="15" y="0"/>
                            </a:cubicBezTo>
                            <a:cubicBezTo>
                              <a:pt x="7" y="0"/>
                              <a:pt x="0" y="7"/>
                              <a:pt x="0" y="15"/>
                            </a:cubicBezTo>
                            <a:cubicBezTo>
                              <a:pt x="0" y="23"/>
                              <a:pt x="7" y="29"/>
                              <a:pt x="15" y="29"/>
                            </a:cubicBezTo>
                            <a:close/>
                          </a:path>
                        </a:pathLst>
                      </a:custGeom>
                      <a:solidFill>
                        <a:srgbClr val="4D4D4F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=""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algn="l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1200" b="0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/>
                          <a:cs typeface=""/>
                        </a:endParaRPr>
                      </a:p>
                    </p:txBody>
                  </p:sp>
                  <p:sp>
                    <p:nvSpPr>
                      <p:cNvPr id="2341" name="Freeform 18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4905376" y="1997075"/>
                        <a:ext cx="50800" cy="41275"/>
                      </a:xfrm>
                      <a:custGeom>
                        <a:avLst/>
                        <a:gdLst>
                          <a:gd name="T0" fmla="*/ 10 w 56"/>
                          <a:gd name="T1" fmla="*/ 30 h 47"/>
                          <a:gd name="T2" fmla="*/ 31 w 56"/>
                          <a:gd name="T3" fmla="*/ 43 h 47"/>
                          <a:gd name="T4" fmla="*/ 40 w 56"/>
                          <a:gd name="T5" fmla="*/ 47 h 47"/>
                          <a:gd name="T6" fmla="*/ 51 w 56"/>
                          <a:gd name="T7" fmla="*/ 41 h 47"/>
                          <a:gd name="T8" fmla="*/ 49 w 56"/>
                          <a:gd name="T9" fmla="*/ 21 h 47"/>
                          <a:gd name="T10" fmla="*/ 22 w 56"/>
                          <a:gd name="T11" fmla="*/ 4 h 47"/>
                          <a:gd name="T12" fmla="*/ 3 w 56"/>
                          <a:gd name="T13" fmla="*/ 11 h 47"/>
                          <a:gd name="T14" fmla="*/ 10 w 56"/>
                          <a:gd name="T15" fmla="*/ 30 h 47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  <a:cxn ang="0">
                            <a:pos x="T14" y="T15"/>
                          </a:cxn>
                        </a:cxnLst>
                        <a:rect l="0" t="0" r="r" b="b"/>
                        <a:pathLst>
                          <a:path w="56" h="47">
                            <a:moveTo>
                              <a:pt x="10" y="30"/>
                            </a:moveTo>
                            <a:cubicBezTo>
                              <a:pt x="17" y="33"/>
                              <a:pt x="25" y="38"/>
                              <a:pt x="31" y="43"/>
                            </a:cubicBezTo>
                            <a:cubicBezTo>
                              <a:pt x="34" y="46"/>
                              <a:pt x="37" y="47"/>
                              <a:pt x="40" y="47"/>
                            </a:cubicBezTo>
                            <a:cubicBezTo>
                              <a:pt x="44" y="47"/>
                              <a:pt x="49" y="45"/>
                              <a:pt x="51" y="41"/>
                            </a:cubicBezTo>
                            <a:cubicBezTo>
                              <a:pt x="56" y="35"/>
                              <a:pt x="55" y="26"/>
                              <a:pt x="49" y="21"/>
                            </a:cubicBezTo>
                            <a:cubicBezTo>
                              <a:pt x="41" y="14"/>
                              <a:pt x="32" y="9"/>
                              <a:pt x="22" y="4"/>
                            </a:cubicBezTo>
                            <a:cubicBezTo>
                              <a:pt x="15" y="0"/>
                              <a:pt x="7" y="3"/>
                              <a:pt x="3" y="11"/>
                            </a:cubicBezTo>
                            <a:cubicBezTo>
                              <a:pt x="0" y="18"/>
                              <a:pt x="3" y="26"/>
                              <a:pt x="10" y="30"/>
                            </a:cubicBezTo>
                            <a:close/>
                          </a:path>
                        </a:pathLst>
                      </a:custGeom>
                      <a:solidFill>
                        <a:srgbClr val="4D4D4F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=""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algn="l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1200" b="0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/>
                          <a:cs typeface=""/>
                        </a:endParaRPr>
                      </a:p>
                    </p:txBody>
                  </p:sp>
                  <p:sp>
                    <p:nvSpPr>
                      <p:cNvPr id="2342" name="Freeform 19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4476751" y="2039938"/>
                        <a:ext cx="39688" cy="52388"/>
                      </a:xfrm>
                      <a:custGeom>
                        <a:avLst/>
                        <a:gdLst>
                          <a:gd name="T0" fmla="*/ 12 w 45"/>
                          <a:gd name="T1" fmla="*/ 56 h 57"/>
                          <a:gd name="T2" fmla="*/ 16 w 45"/>
                          <a:gd name="T3" fmla="*/ 57 h 57"/>
                          <a:gd name="T4" fmla="*/ 30 w 45"/>
                          <a:gd name="T5" fmla="*/ 47 h 57"/>
                          <a:gd name="T6" fmla="*/ 41 w 45"/>
                          <a:gd name="T7" fmla="*/ 24 h 57"/>
                          <a:gd name="T8" fmla="*/ 36 w 45"/>
                          <a:gd name="T9" fmla="*/ 4 h 57"/>
                          <a:gd name="T10" fmla="*/ 16 w 45"/>
                          <a:gd name="T11" fmla="*/ 9 h 57"/>
                          <a:gd name="T12" fmla="*/ 3 w 45"/>
                          <a:gd name="T13" fmla="*/ 38 h 57"/>
                          <a:gd name="T14" fmla="*/ 12 w 45"/>
                          <a:gd name="T15" fmla="*/ 56 h 57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  <a:cxn ang="0">
                            <a:pos x="T14" y="T15"/>
                          </a:cxn>
                        </a:cxnLst>
                        <a:rect l="0" t="0" r="r" b="b"/>
                        <a:pathLst>
                          <a:path w="45" h="57">
                            <a:moveTo>
                              <a:pt x="12" y="56"/>
                            </a:moveTo>
                            <a:cubicBezTo>
                              <a:pt x="13" y="57"/>
                              <a:pt x="15" y="57"/>
                              <a:pt x="16" y="57"/>
                            </a:cubicBezTo>
                            <a:cubicBezTo>
                              <a:pt x="22" y="57"/>
                              <a:pt x="28" y="53"/>
                              <a:pt x="30" y="47"/>
                            </a:cubicBezTo>
                            <a:cubicBezTo>
                              <a:pt x="33" y="39"/>
                              <a:pt x="36" y="32"/>
                              <a:pt x="41" y="24"/>
                            </a:cubicBezTo>
                            <a:cubicBezTo>
                              <a:pt x="45" y="17"/>
                              <a:pt x="43" y="9"/>
                              <a:pt x="36" y="4"/>
                            </a:cubicBezTo>
                            <a:cubicBezTo>
                              <a:pt x="29" y="0"/>
                              <a:pt x="21" y="2"/>
                              <a:pt x="16" y="9"/>
                            </a:cubicBezTo>
                            <a:cubicBezTo>
                              <a:pt x="11" y="18"/>
                              <a:pt x="6" y="28"/>
                              <a:pt x="3" y="38"/>
                            </a:cubicBezTo>
                            <a:cubicBezTo>
                              <a:pt x="0" y="45"/>
                              <a:pt x="4" y="54"/>
                              <a:pt x="12" y="56"/>
                            </a:cubicBezTo>
                            <a:close/>
                          </a:path>
                        </a:pathLst>
                      </a:custGeom>
                      <a:solidFill>
                        <a:srgbClr val="4D4D4F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=""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algn="l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1200" b="0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/>
                          <a:cs typeface=""/>
                        </a:endParaRPr>
                      </a:p>
                    </p:txBody>
                  </p:sp>
                  <p:sp>
                    <p:nvSpPr>
                      <p:cNvPr id="2343" name="Freeform 20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4522788" y="1992313"/>
                        <a:ext cx="52388" cy="39688"/>
                      </a:xfrm>
                      <a:custGeom>
                        <a:avLst/>
                        <a:gdLst>
                          <a:gd name="T0" fmla="*/ 55 w 58"/>
                          <a:gd name="T1" fmla="*/ 11 h 43"/>
                          <a:gd name="T2" fmla="*/ 37 w 58"/>
                          <a:gd name="T3" fmla="*/ 2 h 43"/>
                          <a:gd name="T4" fmla="*/ 9 w 58"/>
                          <a:gd name="T5" fmla="*/ 17 h 43"/>
                          <a:gd name="T6" fmla="*/ 4 w 58"/>
                          <a:gd name="T7" fmla="*/ 37 h 43"/>
                          <a:gd name="T8" fmla="*/ 16 w 58"/>
                          <a:gd name="T9" fmla="*/ 43 h 43"/>
                          <a:gd name="T10" fmla="*/ 24 w 58"/>
                          <a:gd name="T11" fmla="*/ 41 h 43"/>
                          <a:gd name="T12" fmla="*/ 47 w 58"/>
                          <a:gd name="T13" fmla="*/ 29 h 43"/>
                          <a:gd name="T14" fmla="*/ 55 w 58"/>
                          <a:gd name="T15" fmla="*/ 11 h 43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  <a:cxn ang="0">
                            <a:pos x="T14" y="T15"/>
                          </a:cxn>
                        </a:cxnLst>
                        <a:rect l="0" t="0" r="r" b="b"/>
                        <a:pathLst>
                          <a:path w="58" h="43">
                            <a:moveTo>
                              <a:pt x="55" y="11"/>
                            </a:moveTo>
                            <a:cubicBezTo>
                              <a:pt x="53" y="3"/>
                              <a:pt x="44" y="0"/>
                              <a:pt x="37" y="2"/>
                            </a:cubicBezTo>
                            <a:cubicBezTo>
                              <a:pt x="27" y="6"/>
                              <a:pt x="17" y="11"/>
                              <a:pt x="9" y="17"/>
                            </a:cubicBezTo>
                            <a:cubicBezTo>
                              <a:pt x="2" y="21"/>
                              <a:pt x="0" y="30"/>
                              <a:pt x="4" y="37"/>
                            </a:cubicBezTo>
                            <a:cubicBezTo>
                              <a:pt x="7" y="41"/>
                              <a:pt x="12" y="43"/>
                              <a:pt x="16" y="43"/>
                            </a:cubicBezTo>
                            <a:cubicBezTo>
                              <a:pt x="19" y="43"/>
                              <a:pt x="22" y="43"/>
                              <a:pt x="24" y="41"/>
                            </a:cubicBezTo>
                            <a:cubicBezTo>
                              <a:pt x="31" y="36"/>
                              <a:pt x="39" y="32"/>
                              <a:pt x="47" y="29"/>
                            </a:cubicBezTo>
                            <a:cubicBezTo>
                              <a:pt x="54" y="27"/>
                              <a:pt x="58" y="18"/>
                              <a:pt x="55" y="11"/>
                            </a:cubicBezTo>
                            <a:close/>
                          </a:path>
                        </a:pathLst>
                      </a:custGeom>
                      <a:solidFill>
                        <a:srgbClr val="4D4D4F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=""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algn="l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1200" b="0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/>
                          <a:cs typeface=""/>
                        </a:endParaRPr>
                      </a:p>
                    </p:txBody>
                  </p:sp>
                  <p:sp>
                    <p:nvSpPr>
                      <p:cNvPr id="2344" name="Freeform 21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4959351" y="2051050"/>
                        <a:ext cx="36513" cy="52388"/>
                      </a:xfrm>
                      <a:custGeom>
                        <a:avLst/>
                        <a:gdLst>
                          <a:gd name="T0" fmla="*/ 13 w 42"/>
                          <a:gd name="T1" fmla="*/ 47 h 58"/>
                          <a:gd name="T2" fmla="*/ 27 w 42"/>
                          <a:gd name="T3" fmla="*/ 58 h 58"/>
                          <a:gd name="T4" fmla="*/ 30 w 42"/>
                          <a:gd name="T5" fmla="*/ 57 h 58"/>
                          <a:gd name="T6" fmla="*/ 41 w 42"/>
                          <a:gd name="T7" fmla="*/ 40 h 58"/>
                          <a:gd name="T8" fmla="*/ 30 w 42"/>
                          <a:gd name="T9" fmla="*/ 10 h 58"/>
                          <a:gd name="T10" fmla="*/ 11 w 42"/>
                          <a:gd name="T11" fmla="*/ 4 h 58"/>
                          <a:gd name="T12" fmla="*/ 4 w 42"/>
                          <a:gd name="T13" fmla="*/ 23 h 58"/>
                          <a:gd name="T14" fmla="*/ 13 w 42"/>
                          <a:gd name="T15" fmla="*/ 47 h 58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  <a:cxn ang="0">
                            <a:pos x="T14" y="T15"/>
                          </a:cxn>
                        </a:cxnLst>
                        <a:rect l="0" t="0" r="r" b="b"/>
                        <a:pathLst>
                          <a:path w="42" h="58">
                            <a:moveTo>
                              <a:pt x="13" y="47"/>
                            </a:moveTo>
                            <a:cubicBezTo>
                              <a:pt x="14" y="53"/>
                              <a:pt x="20" y="58"/>
                              <a:pt x="27" y="58"/>
                            </a:cubicBezTo>
                            <a:cubicBezTo>
                              <a:pt x="28" y="58"/>
                              <a:pt x="29" y="58"/>
                              <a:pt x="30" y="57"/>
                            </a:cubicBezTo>
                            <a:cubicBezTo>
                              <a:pt x="38" y="56"/>
                              <a:pt x="42" y="48"/>
                              <a:pt x="41" y="40"/>
                            </a:cubicBezTo>
                            <a:cubicBezTo>
                              <a:pt x="38" y="30"/>
                              <a:pt x="35" y="20"/>
                              <a:pt x="30" y="10"/>
                            </a:cubicBezTo>
                            <a:cubicBezTo>
                              <a:pt x="26" y="3"/>
                              <a:pt x="18" y="0"/>
                              <a:pt x="11" y="4"/>
                            </a:cubicBezTo>
                            <a:cubicBezTo>
                              <a:pt x="3" y="7"/>
                              <a:pt x="0" y="16"/>
                              <a:pt x="4" y="23"/>
                            </a:cubicBezTo>
                            <a:cubicBezTo>
                              <a:pt x="8" y="31"/>
                              <a:pt x="11" y="39"/>
                              <a:pt x="13" y="47"/>
                            </a:cubicBezTo>
                            <a:close/>
                          </a:path>
                        </a:pathLst>
                      </a:custGeom>
                      <a:solidFill>
                        <a:srgbClr val="4D4D4F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=""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algn="l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1200" b="0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/>
                          <a:cs typeface=""/>
                        </a:endParaRPr>
                      </a:p>
                    </p:txBody>
                  </p:sp>
                  <p:sp>
                    <p:nvSpPr>
                      <p:cNvPr id="2345" name="Freeform 22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4598988" y="1985963"/>
                        <a:ext cx="52388" cy="26988"/>
                      </a:xfrm>
                      <a:custGeom>
                        <a:avLst/>
                        <a:gdLst>
                          <a:gd name="T0" fmla="*/ 14 w 58"/>
                          <a:gd name="T1" fmla="*/ 29 h 29"/>
                          <a:gd name="T2" fmla="*/ 43 w 58"/>
                          <a:gd name="T3" fmla="*/ 29 h 29"/>
                          <a:gd name="T4" fmla="*/ 58 w 58"/>
                          <a:gd name="T5" fmla="*/ 15 h 29"/>
                          <a:gd name="T6" fmla="*/ 43 w 58"/>
                          <a:gd name="T7" fmla="*/ 0 h 29"/>
                          <a:gd name="T8" fmla="*/ 14 w 58"/>
                          <a:gd name="T9" fmla="*/ 0 h 29"/>
                          <a:gd name="T10" fmla="*/ 0 w 58"/>
                          <a:gd name="T11" fmla="*/ 15 h 29"/>
                          <a:gd name="T12" fmla="*/ 14 w 58"/>
                          <a:gd name="T13" fmla="*/ 29 h 29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</a:cxnLst>
                        <a:rect l="0" t="0" r="r" b="b"/>
                        <a:pathLst>
                          <a:path w="58" h="29">
                            <a:moveTo>
                              <a:pt x="14" y="29"/>
                            </a:moveTo>
                            <a:cubicBezTo>
                              <a:pt x="43" y="29"/>
                              <a:pt x="43" y="29"/>
                              <a:pt x="43" y="29"/>
                            </a:cubicBezTo>
                            <a:cubicBezTo>
                              <a:pt x="51" y="29"/>
                              <a:pt x="58" y="23"/>
                              <a:pt x="58" y="15"/>
                            </a:cubicBezTo>
                            <a:cubicBezTo>
                              <a:pt x="58" y="7"/>
                              <a:pt x="51" y="0"/>
                              <a:pt x="43" y="0"/>
                            </a:cubicBezTo>
                            <a:cubicBezTo>
                              <a:pt x="14" y="0"/>
                              <a:pt x="14" y="0"/>
                              <a:pt x="14" y="0"/>
                            </a:cubicBezTo>
                            <a:cubicBezTo>
                              <a:pt x="6" y="0"/>
                              <a:pt x="0" y="7"/>
                              <a:pt x="0" y="15"/>
                            </a:cubicBezTo>
                            <a:cubicBezTo>
                              <a:pt x="0" y="23"/>
                              <a:pt x="6" y="29"/>
                              <a:pt x="14" y="29"/>
                            </a:cubicBezTo>
                            <a:close/>
                          </a:path>
                        </a:pathLst>
                      </a:custGeom>
                      <a:solidFill>
                        <a:srgbClr val="4D4D4F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=""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algn="l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1200" b="0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/>
                          <a:cs typeface=""/>
                        </a:endParaRPr>
                      </a:p>
                    </p:txBody>
                  </p:sp>
                  <p:sp>
                    <p:nvSpPr>
                      <p:cNvPr id="2346" name="Freeform 23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4676776" y="1985963"/>
                        <a:ext cx="50800" cy="26988"/>
                      </a:xfrm>
                      <a:custGeom>
                        <a:avLst/>
                        <a:gdLst>
                          <a:gd name="T0" fmla="*/ 15 w 58"/>
                          <a:gd name="T1" fmla="*/ 29 h 29"/>
                          <a:gd name="T2" fmla="*/ 43 w 58"/>
                          <a:gd name="T3" fmla="*/ 29 h 29"/>
                          <a:gd name="T4" fmla="*/ 58 w 58"/>
                          <a:gd name="T5" fmla="*/ 15 h 29"/>
                          <a:gd name="T6" fmla="*/ 43 w 58"/>
                          <a:gd name="T7" fmla="*/ 0 h 29"/>
                          <a:gd name="T8" fmla="*/ 15 w 58"/>
                          <a:gd name="T9" fmla="*/ 0 h 29"/>
                          <a:gd name="T10" fmla="*/ 0 w 58"/>
                          <a:gd name="T11" fmla="*/ 15 h 29"/>
                          <a:gd name="T12" fmla="*/ 15 w 58"/>
                          <a:gd name="T13" fmla="*/ 29 h 29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</a:cxnLst>
                        <a:rect l="0" t="0" r="r" b="b"/>
                        <a:pathLst>
                          <a:path w="58" h="29">
                            <a:moveTo>
                              <a:pt x="15" y="29"/>
                            </a:moveTo>
                            <a:cubicBezTo>
                              <a:pt x="43" y="29"/>
                              <a:pt x="43" y="29"/>
                              <a:pt x="43" y="29"/>
                            </a:cubicBezTo>
                            <a:cubicBezTo>
                              <a:pt x="51" y="29"/>
                              <a:pt x="58" y="23"/>
                              <a:pt x="58" y="15"/>
                            </a:cubicBezTo>
                            <a:cubicBezTo>
                              <a:pt x="58" y="7"/>
                              <a:pt x="51" y="0"/>
                              <a:pt x="43" y="0"/>
                            </a:cubicBezTo>
                            <a:cubicBezTo>
                              <a:pt x="15" y="0"/>
                              <a:pt x="15" y="0"/>
                              <a:pt x="15" y="0"/>
                            </a:cubicBezTo>
                            <a:cubicBezTo>
                              <a:pt x="7" y="0"/>
                              <a:pt x="0" y="7"/>
                              <a:pt x="0" y="15"/>
                            </a:cubicBezTo>
                            <a:cubicBezTo>
                              <a:pt x="0" y="23"/>
                              <a:pt x="7" y="29"/>
                              <a:pt x="15" y="29"/>
                            </a:cubicBezTo>
                            <a:close/>
                          </a:path>
                        </a:pathLst>
                      </a:custGeom>
                      <a:solidFill>
                        <a:srgbClr val="4D4D4F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=""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algn="l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1200" b="0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/>
                          <a:cs typeface=""/>
                        </a:endParaRPr>
                      </a:p>
                    </p:txBody>
                  </p:sp>
                  <p:sp>
                    <p:nvSpPr>
                      <p:cNvPr id="2347" name="Freeform 24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4752976" y="1985963"/>
                        <a:ext cx="52388" cy="26988"/>
                      </a:xfrm>
                      <a:custGeom>
                        <a:avLst/>
                        <a:gdLst>
                          <a:gd name="T0" fmla="*/ 15 w 58"/>
                          <a:gd name="T1" fmla="*/ 29 h 29"/>
                          <a:gd name="T2" fmla="*/ 43 w 58"/>
                          <a:gd name="T3" fmla="*/ 29 h 29"/>
                          <a:gd name="T4" fmla="*/ 58 w 58"/>
                          <a:gd name="T5" fmla="*/ 15 h 29"/>
                          <a:gd name="T6" fmla="*/ 43 w 58"/>
                          <a:gd name="T7" fmla="*/ 0 h 29"/>
                          <a:gd name="T8" fmla="*/ 15 w 58"/>
                          <a:gd name="T9" fmla="*/ 0 h 29"/>
                          <a:gd name="T10" fmla="*/ 0 w 58"/>
                          <a:gd name="T11" fmla="*/ 15 h 29"/>
                          <a:gd name="T12" fmla="*/ 15 w 58"/>
                          <a:gd name="T13" fmla="*/ 29 h 29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</a:cxnLst>
                        <a:rect l="0" t="0" r="r" b="b"/>
                        <a:pathLst>
                          <a:path w="58" h="29">
                            <a:moveTo>
                              <a:pt x="15" y="29"/>
                            </a:moveTo>
                            <a:cubicBezTo>
                              <a:pt x="43" y="29"/>
                              <a:pt x="43" y="29"/>
                              <a:pt x="43" y="29"/>
                            </a:cubicBezTo>
                            <a:cubicBezTo>
                              <a:pt x="51" y="29"/>
                              <a:pt x="58" y="23"/>
                              <a:pt x="58" y="15"/>
                            </a:cubicBezTo>
                            <a:cubicBezTo>
                              <a:pt x="58" y="7"/>
                              <a:pt x="51" y="0"/>
                              <a:pt x="43" y="0"/>
                            </a:cubicBezTo>
                            <a:cubicBezTo>
                              <a:pt x="15" y="0"/>
                              <a:pt x="15" y="0"/>
                              <a:pt x="15" y="0"/>
                            </a:cubicBezTo>
                            <a:cubicBezTo>
                              <a:pt x="7" y="0"/>
                              <a:pt x="0" y="7"/>
                              <a:pt x="0" y="15"/>
                            </a:cubicBezTo>
                            <a:cubicBezTo>
                              <a:pt x="0" y="23"/>
                              <a:pt x="7" y="29"/>
                              <a:pt x="15" y="29"/>
                            </a:cubicBezTo>
                            <a:close/>
                          </a:path>
                        </a:pathLst>
                      </a:custGeom>
                      <a:solidFill>
                        <a:srgbClr val="4D4D4F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=""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algn="l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1200" b="0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/>
                          <a:cs typeface=""/>
                        </a:endParaRPr>
                      </a:p>
                    </p:txBody>
                  </p:sp>
                  <p:sp>
                    <p:nvSpPr>
                      <p:cNvPr id="2348" name="Freeform 25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4471988" y="2349500"/>
                        <a:ext cx="26988" cy="52388"/>
                      </a:xfrm>
                      <a:custGeom>
                        <a:avLst/>
                        <a:gdLst>
                          <a:gd name="T0" fmla="*/ 30 w 31"/>
                          <a:gd name="T1" fmla="*/ 42 h 58"/>
                          <a:gd name="T2" fmla="*/ 29 w 31"/>
                          <a:gd name="T3" fmla="*/ 28 h 58"/>
                          <a:gd name="T4" fmla="*/ 29 w 31"/>
                          <a:gd name="T5" fmla="*/ 15 h 58"/>
                          <a:gd name="T6" fmla="*/ 14 w 31"/>
                          <a:gd name="T7" fmla="*/ 0 h 58"/>
                          <a:gd name="T8" fmla="*/ 0 w 31"/>
                          <a:gd name="T9" fmla="*/ 15 h 58"/>
                          <a:gd name="T10" fmla="*/ 0 w 31"/>
                          <a:gd name="T11" fmla="*/ 28 h 58"/>
                          <a:gd name="T12" fmla="*/ 1 w 31"/>
                          <a:gd name="T13" fmla="*/ 45 h 58"/>
                          <a:gd name="T14" fmla="*/ 15 w 31"/>
                          <a:gd name="T15" fmla="*/ 58 h 58"/>
                          <a:gd name="T16" fmla="*/ 17 w 31"/>
                          <a:gd name="T17" fmla="*/ 58 h 58"/>
                          <a:gd name="T18" fmla="*/ 30 w 31"/>
                          <a:gd name="T19" fmla="*/ 42 h 58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  <a:cxn ang="0">
                            <a:pos x="T14" y="T15"/>
                          </a:cxn>
                          <a:cxn ang="0">
                            <a:pos x="T16" y="T17"/>
                          </a:cxn>
                          <a:cxn ang="0">
                            <a:pos x="T18" y="T19"/>
                          </a:cxn>
                        </a:cxnLst>
                        <a:rect l="0" t="0" r="r" b="b"/>
                        <a:pathLst>
                          <a:path w="31" h="58">
                            <a:moveTo>
                              <a:pt x="30" y="42"/>
                            </a:moveTo>
                            <a:cubicBezTo>
                              <a:pt x="29" y="37"/>
                              <a:pt x="29" y="33"/>
                              <a:pt x="29" y="28"/>
                            </a:cubicBezTo>
                            <a:cubicBezTo>
                              <a:pt x="29" y="15"/>
                              <a:pt x="29" y="15"/>
                              <a:pt x="29" y="15"/>
                            </a:cubicBezTo>
                            <a:cubicBezTo>
                              <a:pt x="29" y="7"/>
                              <a:pt x="22" y="0"/>
                              <a:pt x="14" y="0"/>
                            </a:cubicBezTo>
                            <a:cubicBezTo>
                              <a:pt x="7" y="0"/>
                              <a:pt x="0" y="7"/>
                              <a:pt x="0" y="15"/>
                            </a:cubicBezTo>
                            <a:cubicBezTo>
                              <a:pt x="0" y="28"/>
                              <a:pt x="0" y="28"/>
                              <a:pt x="0" y="28"/>
                            </a:cubicBezTo>
                            <a:cubicBezTo>
                              <a:pt x="0" y="34"/>
                              <a:pt x="0" y="39"/>
                              <a:pt x="1" y="45"/>
                            </a:cubicBezTo>
                            <a:cubicBezTo>
                              <a:pt x="2" y="52"/>
                              <a:pt x="8" y="58"/>
                              <a:pt x="15" y="58"/>
                            </a:cubicBezTo>
                            <a:cubicBezTo>
                              <a:pt x="16" y="58"/>
                              <a:pt x="17" y="58"/>
                              <a:pt x="17" y="58"/>
                            </a:cubicBezTo>
                            <a:cubicBezTo>
                              <a:pt x="25" y="57"/>
                              <a:pt x="31" y="50"/>
                              <a:pt x="30" y="42"/>
                            </a:cubicBezTo>
                            <a:close/>
                          </a:path>
                        </a:pathLst>
                      </a:custGeom>
                      <a:solidFill>
                        <a:srgbClr val="4D4D4F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=""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algn="l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1200" b="0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/>
                          <a:cs typeface=""/>
                        </a:endParaRPr>
                      </a:p>
                    </p:txBody>
                  </p:sp>
                  <p:sp>
                    <p:nvSpPr>
                      <p:cNvPr id="2349" name="Freeform 26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4973638" y="2282825"/>
                        <a:ext cx="25400" cy="52388"/>
                      </a:xfrm>
                      <a:custGeom>
                        <a:avLst/>
                        <a:gdLst>
                          <a:gd name="T0" fmla="*/ 14 w 29"/>
                          <a:gd name="T1" fmla="*/ 0 h 58"/>
                          <a:gd name="T2" fmla="*/ 0 w 29"/>
                          <a:gd name="T3" fmla="*/ 15 h 58"/>
                          <a:gd name="T4" fmla="*/ 0 w 29"/>
                          <a:gd name="T5" fmla="*/ 44 h 58"/>
                          <a:gd name="T6" fmla="*/ 14 w 29"/>
                          <a:gd name="T7" fmla="*/ 58 h 58"/>
                          <a:gd name="T8" fmla="*/ 29 w 29"/>
                          <a:gd name="T9" fmla="*/ 44 h 58"/>
                          <a:gd name="T10" fmla="*/ 29 w 29"/>
                          <a:gd name="T11" fmla="*/ 15 h 58"/>
                          <a:gd name="T12" fmla="*/ 14 w 29"/>
                          <a:gd name="T13" fmla="*/ 0 h 58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</a:cxnLst>
                        <a:rect l="0" t="0" r="r" b="b"/>
                        <a:pathLst>
                          <a:path w="29" h="58">
                            <a:moveTo>
                              <a:pt x="14" y="0"/>
                            </a:moveTo>
                            <a:cubicBezTo>
                              <a:pt x="6" y="0"/>
                              <a:pt x="0" y="7"/>
                              <a:pt x="0" y="15"/>
                            </a:cubicBezTo>
                            <a:cubicBezTo>
                              <a:pt x="0" y="44"/>
                              <a:pt x="0" y="44"/>
                              <a:pt x="0" y="44"/>
                            </a:cubicBezTo>
                            <a:cubicBezTo>
                              <a:pt x="0" y="52"/>
                              <a:pt x="6" y="58"/>
                              <a:pt x="14" y="58"/>
                            </a:cubicBezTo>
                            <a:cubicBezTo>
                              <a:pt x="22" y="58"/>
                              <a:pt x="29" y="52"/>
                              <a:pt x="29" y="44"/>
                            </a:cubicBezTo>
                            <a:cubicBezTo>
                              <a:pt x="29" y="15"/>
                              <a:pt x="29" y="15"/>
                              <a:pt x="29" y="15"/>
                            </a:cubicBezTo>
                            <a:cubicBezTo>
                              <a:pt x="29" y="7"/>
                              <a:pt x="22" y="0"/>
                              <a:pt x="14" y="0"/>
                            </a:cubicBezTo>
                            <a:close/>
                          </a:path>
                        </a:pathLst>
                      </a:custGeom>
                      <a:solidFill>
                        <a:srgbClr val="4D4D4F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=""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algn="l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1200" b="0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/>
                          <a:cs typeface=""/>
                        </a:endParaRPr>
                      </a:p>
                    </p:txBody>
                  </p:sp>
                  <p:sp>
                    <p:nvSpPr>
                      <p:cNvPr id="2350" name="Freeform 28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4927601" y="2432050"/>
                        <a:ext cx="47625" cy="46038"/>
                      </a:xfrm>
                      <a:custGeom>
                        <a:avLst/>
                        <a:gdLst>
                          <a:gd name="T0" fmla="*/ 25 w 53"/>
                          <a:gd name="T1" fmla="*/ 7 h 51"/>
                          <a:gd name="T2" fmla="*/ 7 w 53"/>
                          <a:gd name="T3" fmla="*/ 25 h 51"/>
                          <a:gd name="T4" fmla="*/ 5 w 53"/>
                          <a:gd name="T5" fmla="*/ 45 h 51"/>
                          <a:gd name="T6" fmla="*/ 16 w 53"/>
                          <a:gd name="T7" fmla="*/ 51 h 51"/>
                          <a:gd name="T8" fmla="*/ 25 w 53"/>
                          <a:gd name="T9" fmla="*/ 47 h 51"/>
                          <a:gd name="T10" fmla="*/ 48 w 53"/>
                          <a:gd name="T11" fmla="*/ 25 h 51"/>
                          <a:gd name="T12" fmla="*/ 45 w 53"/>
                          <a:gd name="T13" fmla="*/ 5 h 51"/>
                          <a:gd name="T14" fmla="*/ 25 w 53"/>
                          <a:gd name="T15" fmla="*/ 7 h 51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  <a:cxn ang="0">
                            <a:pos x="T14" y="T15"/>
                          </a:cxn>
                        </a:cxnLst>
                        <a:rect l="0" t="0" r="r" b="b"/>
                        <a:pathLst>
                          <a:path w="53" h="51">
                            <a:moveTo>
                              <a:pt x="25" y="7"/>
                            </a:moveTo>
                            <a:cubicBezTo>
                              <a:pt x="20" y="14"/>
                              <a:pt x="14" y="20"/>
                              <a:pt x="7" y="25"/>
                            </a:cubicBezTo>
                            <a:cubicBezTo>
                              <a:pt x="1" y="30"/>
                              <a:pt x="0" y="39"/>
                              <a:pt x="5" y="45"/>
                            </a:cubicBezTo>
                            <a:cubicBezTo>
                              <a:pt x="8" y="49"/>
                              <a:pt x="12" y="51"/>
                              <a:pt x="16" y="51"/>
                            </a:cubicBezTo>
                            <a:cubicBezTo>
                              <a:pt x="20" y="51"/>
                              <a:pt x="23" y="50"/>
                              <a:pt x="25" y="47"/>
                            </a:cubicBezTo>
                            <a:cubicBezTo>
                              <a:pt x="34" y="41"/>
                              <a:pt x="41" y="33"/>
                              <a:pt x="48" y="25"/>
                            </a:cubicBezTo>
                            <a:cubicBezTo>
                              <a:pt x="53" y="19"/>
                              <a:pt x="52" y="9"/>
                              <a:pt x="45" y="5"/>
                            </a:cubicBezTo>
                            <a:cubicBezTo>
                              <a:pt x="39" y="0"/>
                              <a:pt x="30" y="1"/>
                              <a:pt x="25" y="7"/>
                            </a:cubicBezTo>
                            <a:close/>
                          </a:path>
                        </a:pathLst>
                      </a:custGeom>
                      <a:solidFill>
                        <a:srgbClr val="4D4D4F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=""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algn="l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1200" b="0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/>
                          <a:cs typeface=""/>
                        </a:endParaRPr>
                      </a:p>
                    </p:txBody>
                  </p:sp>
                  <p:sp>
                    <p:nvSpPr>
                      <p:cNvPr id="2351" name="Freeform 29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4968876" y="2360613"/>
                        <a:ext cx="30163" cy="52388"/>
                      </a:xfrm>
                      <a:custGeom>
                        <a:avLst/>
                        <a:gdLst>
                          <a:gd name="T0" fmla="*/ 19 w 34"/>
                          <a:gd name="T1" fmla="*/ 0 h 58"/>
                          <a:gd name="T2" fmla="*/ 5 w 34"/>
                          <a:gd name="T3" fmla="*/ 15 h 58"/>
                          <a:gd name="T4" fmla="*/ 2 w 34"/>
                          <a:gd name="T5" fmla="*/ 40 h 58"/>
                          <a:gd name="T6" fmla="*/ 13 w 34"/>
                          <a:gd name="T7" fmla="*/ 58 h 58"/>
                          <a:gd name="T8" fmla="*/ 16 w 34"/>
                          <a:gd name="T9" fmla="*/ 58 h 58"/>
                          <a:gd name="T10" fmla="*/ 30 w 34"/>
                          <a:gd name="T11" fmla="*/ 47 h 58"/>
                          <a:gd name="T12" fmla="*/ 34 w 34"/>
                          <a:gd name="T13" fmla="*/ 15 h 58"/>
                          <a:gd name="T14" fmla="*/ 34 w 34"/>
                          <a:gd name="T15" fmla="*/ 14 h 58"/>
                          <a:gd name="T16" fmla="*/ 19 w 34"/>
                          <a:gd name="T17" fmla="*/ 0 h 58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  <a:cxn ang="0">
                            <a:pos x="T14" y="T15"/>
                          </a:cxn>
                          <a:cxn ang="0">
                            <a:pos x="T16" y="T17"/>
                          </a:cxn>
                        </a:cxnLst>
                        <a:rect l="0" t="0" r="r" b="b"/>
                        <a:pathLst>
                          <a:path w="34" h="58">
                            <a:moveTo>
                              <a:pt x="19" y="0"/>
                            </a:moveTo>
                            <a:cubicBezTo>
                              <a:pt x="11" y="0"/>
                              <a:pt x="5" y="7"/>
                              <a:pt x="5" y="15"/>
                            </a:cubicBezTo>
                            <a:cubicBezTo>
                              <a:pt x="5" y="24"/>
                              <a:pt x="4" y="32"/>
                              <a:pt x="2" y="40"/>
                            </a:cubicBezTo>
                            <a:cubicBezTo>
                              <a:pt x="0" y="48"/>
                              <a:pt x="5" y="56"/>
                              <a:pt x="13" y="58"/>
                            </a:cubicBezTo>
                            <a:cubicBezTo>
                              <a:pt x="14" y="58"/>
                              <a:pt x="15" y="58"/>
                              <a:pt x="16" y="58"/>
                            </a:cubicBezTo>
                            <a:cubicBezTo>
                              <a:pt x="23" y="58"/>
                              <a:pt x="29" y="53"/>
                              <a:pt x="30" y="47"/>
                            </a:cubicBezTo>
                            <a:cubicBezTo>
                              <a:pt x="32" y="36"/>
                              <a:pt x="34" y="26"/>
                              <a:pt x="34" y="15"/>
                            </a:cubicBezTo>
                            <a:cubicBezTo>
                              <a:pt x="34" y="14"/>
                              <a:pt x="34" y="14"/>
                              <a:pt x="34" y="14"/>
                            </a:cubicBezTo>
                            <a:cubicBezTo>
                              <a:pt x="34" y="6"/>
                              <a:pt x="27" y="0"/>
                              <a:pt x="19" y="0"/>
                            </a:cubicBezTo>
                            <a:close/>
                          </a:path>
                        </a:pathLst>
                      </a:custGeom>
                      <a:solidFill>
                        <a:srgbClr val="4D4D4F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=""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algn="l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1200" b="0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/>
                          <a:cs typeface=""/>
                        </a:endParaRPr>
                      </a:p>
                    </p:txBody>
                  </p:sp>
                  <p:sp>
                    <p:nvSpPr>
                      <p:cNvPr id="2352" name="Freeform 30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4973638" y="2205038"/>
                        <a:ext cx="25400" cy="52388"/>
                      </a:xfrm>
                      <a:custGeom>
                        <a:avLst/>
                        <a:gdLst>
                          <a:gd name="T0" fmla="*/ 14 w 29"/>
                          <a:gd name="T1" fmla="*/ 0 h 58"/>
                          <a:gd name="T2" fmla="*/ 0 w 29"/>
                          <a:gd name="T3" fmla="*/ 15 h 58"/>
                          <a:gd name="T4" fmla="*/ 0 w 29"/>
                          <a:gd name="T5" fmla="*/ 43 h 58"/>
                          <a:gd name="T6" fmla="*/ 14 w 29"/>
                          <a:gd name="T7" fmla="*/ 58 h 58"/>
                          <a:gd name="T8" fmla="*/ 29 w 29"/>
                          <a:gd name="T9" fmla="*/ 43 h 58"/>
                          <a:gd name="T10" fmla="*/ 29 w 29"/>
                          <a:gd name="T11" fmla="*/ 15 h 58"/>
                          <a:gd name="T12" fmla="*/ 14 w 29"/>
                          <a:gd name="T13" fmla="*/ 0 h 58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</a:cxnLst>
                        <a:rect l="0" t="0" r="r" b="b"/>
                        <a:pathLst>
                          <a:path w="29" h="58">
                            <a:moveTo>
                              <a:pt x="14" y="0"/>
                            </a:moveTo>
                            <a:cubicBezTo>
                              <a:pt x="6" y="0"/>
                              <a:pt x="0" y="7"/>
                              <a:pt x="0" y="15"/>
                            </a:cubicBezTo>
                            <a:cubicBezTo>
                              <a:pt x="0" y="43"/>
                              <a:pt x="0" y="43"/>
                              <a:pt x="0" y="43"/>
                            </a:cubicBezTo>
                            <a:cubicBezTo>
                              <a:pt x="0" y="51"/>
                              <a:pt x="6" y="58"/>
                              <a:pt x="14" y="58"/>
                            </a:cubicBezTo>
                            <a:cubicBezTo>
                              <a:pt x="22" y="58"/>
                              <a:pt x="29" y="51"/>
                              <a:pt x="29" y="43"/>
                            </a:cubicBezTo>
                            <a:cubicBezTo>
                              <a:pt x="29" y="15"/>
                              <a:pt x="29" y="15"/>
                              <a:pt x="29" y="15"/>
                            </a:cubicBezTo>
                            <a:cubicBezTo>
                              <a:pt x="29" y="7"/>
                              <a:pt x="22" y="0"/>
                              <a:pt x="14" y="0"/>
                            </a:cubicBezTo>
                            <a:close/>
                          </a:path>
                        </a:pathLst>
                      </a:custGeom>
                      <a:solidFill>
                        <a:srgbClr val="4D4D4F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=""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algn="l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1200" b="0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/>
                          <a:cs typeface=""/>
                        </a:endParaRPr>
                      </a:p>
                    </p:txBody>
                  </p:sp>
                  <p:sp>
                    <p:nvSpPr>
                      <p:cNvPr id="2353" name="Freeform 31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4973638" y="2127250"/>
                        <a:ext cx="25400" cy="52388"/>
                      </a:xfrm>
                      <a:custGeom>
                        <a:avLst/>
                        <a:gdLst>
                          <a:gd name="T0" fmla="*/ 14 w 29"/>
                          <a:gd name="T1" fmla="*/ 0 h 58"/>
                          <a:gd name="T2" fmla="*/ 0 w 29"/>
                          <a:gd name="T3" fmla="*/ 15 h 58"/>
                          <a:gd name="T4" fmla="*/ 0 w 29"/>
                          <a:gd name="T5" fmla="*/ 43 h 58"/>
                          <a:gd name="T6" fmla="*/ 14 w 29"/>
                          <a:gd name="T7" fmla="*/ 58 h 58"/>
                          <a:gd name="T8" fmla="*/ 29 w 29"/>
                          <a:gd name="T9" fmla="*/ 43 h 58"/>
                          <a:gd name="T10" fmla="*/ 29 w 29"/>
                          <a:gd name="T11" fmla="*/ 15 h 58"/>
                          <a:gd name="T12" fmla="*/ 14 w 29"/>
                          <a:gd name="T13" fmla="*/ 0 h 58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</a:cxnLst>
                        <a:rect l="0" t="0" r="r" b="b"/>
                        <a:pathLst>
                          <a:path w="29" h="58">
                            <a:moveTo>
                              <a:pt x="14" y="0"/>
                            </a:moveTo>
                            <a:cubicBezTo>
                              <a:pt x="6" y="0"/>
                              <a:pt x="0" y="7"/>
                              <a:pt x="0" y="15"/>
                            </a:cubicBezTo>
                            <a:cubicBezTo>
                              <a:pt x="0" y="43"/>
                              <a:pt x="0" y="43"/>
                              <a:pt x="0" y="43"/>
                            </a:cubicBezTo>
                            <a:cubicBezTo>
                              <a:pt x="0" y="51"/>
                              <a:pt x="6" y="58"/>
                              <a:pt x="14" y="58"/>
                            </a:cubicBezTo>
                            <a:cubicBezTo>
                              <a:pt x="22" y="58"/>
                              <a:pt x="29" y="51"/>
                              <a:pt x="29" y="43"/>
                            </a:cubicBezTo>
                            <a:cubicBezTo>
                              <a:pt x="29" y="15"/>
                              <a:pt x="29" y="15"/>
                              <a:pt x="29" y="15"/>
                            </a:cubicBezTo>
                            <a:cubicBezTo>
                              <a:pt x="29" y="7"/>
                              <a:pt x="22" y="0"/>
                              <a:pt x="14" y="0"/>
                            </a:cubicBezTo>
                            <a:close/>
                          </a:path>
                        </a:pathLst>
                      </a:custGeom>
                      <a:solidFill>
                        <a:srgbClr val="4D4D4F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=""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algn="l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1200" b="0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/>
                          <a:cs typeface=""/>
                        </a:endParaRPr>
                      </a:p>
                    </p:txBody>
                  </p:sp>
                  <p:sp>
                    <p:nvSpPr>
                      <p:cNvPr id="2354" name="Freeform 32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4546601" y="2470150"/>
                        <a:ext cx="53975" cy="33338"/>
                      </a:xfrm>
                      <a:custGeom>
                        <a:avLst/>
                        <a:gdLst>
                          <a:gd name="T0" fmla="*/ 46 w 60"/>
                          <a:gd name="T1" fmla="*/ 8 h 37"/>
                          <a:gd name="T2" fmla="*/ 21 w 60"/>
                          <a:gd name="T3" fmla="*/ 2 h 37"/>
                          <a:gd name="T4" fmla="*/ 3 w 60"/>
                          <a:gd name="T5" fmla="*/ 11 h 37"/>
                          <a:gd name="T6" fmla="*/ 12 w 60"/>
                          <a:gd name="T7" fmla="*/ 30 h 37"/>
                          <a:gd name="T8" fmla="*/ 43 w 60"/>
                          <a:gd name="T9" fmla="*/ 37 h 37"/>
                          <a:gd name="T10" fmla="*/ 44 w 60"/>
                          <a:gd name="T11" fmla="*/ 37 h 37"/>
                          <a:gd name="T12" fmla="*/ 59 w 60"/>
                          <a:gd name="T13" fmla="*/ 24 h 37"/>
                          <a:gd name="T14" fmla="*/ 46 w 60"/>
                          <a:gd name="T15" fmla="*/ 8 h 37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  <a:cxn ang="0">
                            <a:pos x="T14" y="T15"/>
                          </a:cxn>
                        </a:cxnLst>
                        <a:rect l="0" t="0" r="r" b="b"/>
                        <a:pathLst>
                          <a:path w="60" h="37">
                            <a:moveTo>
                              <a:pt x="46" y="8"/>
                            </a:moveTo>
                            <a:cubicBezTo>
                              <a:pt x="38" y="7"/>
                              <a:pt x="29" y="5"/>
                              <a:pt x="21" y="2"/>
                            </a:cubicBezTo>
                            <a:cubicBezTo>
                              <a:pt x="14" y="0"/>
                              <a:pt x="6" y="4"/>
                              <a:pt x="3" y="11"/>
                            </a:cubicBezTo>
                            <a:cubicBezTo>
                              <a:pt x="0" y="19"/>
                              <a:pt x="4" y="27"/>
                              <a:pt x="12" y="30"/>
                            </a:cubicBezTo>
                            <a:cubicBezTo>
                              <a:pt x="22" y="33"/>
                              <a:pt x="32" y="36"/>
                              <a:pt x="43" y="37"/>
                            </a:cubicBezTo>
                            <a:cubicBezTo>
                              <a:pt x="43" y="37"/>
                              <a:pt x="44" y="37"/>
                              <a:pt x="44" y="37"/>
                            </a:cubicBezTo>
                            <a:cubicBezTo>
                              <a:pt x="51" y="37"/>
                              <a:pt x="58" y="32"/>
                              <a:pt x="59" y="24"/>
                            </a:cubicBezTo>
                            <a:cubicBezTo>
                              <a:pt x="60" y="16"/>
                              <a:pt x="54" y="9"/>
                              <a:pt x="46" y="8"/>
                            </a:cubicBezTo>
                            <a:close/>
                          </a:path>
                        </a:pathLst>
                      </a:custGeom>
                      <a:solidFill>
                        <a:srgbClr val="4D4D4F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=""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algn="l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1200" b="0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/>
                          <a:cs typeface=""/>
                        </a:endParaRPr>
                      </a:p>
                    </p:txBody>
                  </p:sp>
                  <p:sp>
                    <p:nvSpPr>
                      <p:cNvPr id="2355" name="Freeform 33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4781551" y="2478088"/>
                        <a:ext cx="50800" cy="25400"/>
                      </a:xfrm>
                      <a:custGeom>
                        <a:avLst/>
                        <a:gdLst>
                          <a:gd name="T0" fmla="*/ 43 w 57"/>
                          <a:gd name="T1" fmla="*/ 0 h 29"/>
                          <a:gd name="T2" fmla="*/ 14 w 57"/>
                          <a:gd name="T3" fmla="*/ 0 h 29"/>
                          <a:gd name="T4" fmla="*/ 0 w 57"/>
                          <a:gd name="T5" fmla="*/ 15 h 29"/>
                          <a:gd name="T6" fmla="*/ 14 w 57"/>
                          <a:gd name="T7" fmla="*/ 29 h 29"/>
                          <a:gd name="T8" fmla="*/ 43 w 57"/>
                          <a:gd name="T9" fmla="*/ 29 h 29"/>
                          <a:gd name="T10" fmla="*/ 57 w 57"/>
                          <a:gd name="T11" fmla="*/ 15 h 29"/>
                          <a:gd name="T12" fmla="*/ 43 w 57"/>
                          <a:gd name="T13" fmla="*/ 0 h 29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</a:cxnLst>
                        <a:rect l="0" t="0" r="r" b="b"/>
                        <a:pathLst>
                          <a:path w="57" h="29">
                            <a:moveTo>
                              <a:pt x="43" y="0"/>
                            </a:moveTo>
                            <a:cubicBezTo>
                              <a:pt x="14" y="0"/>
                              <a:pt x="14" y="0"/>
                              <a:pt x="14" y="0"/>
                            </a:cubicBezTo>
                            <a:cubicBezTo>
                              <a:pt x="6" y="0"/>
                              <a:pt x="0" y="7"/>
                              <a:pt x="0" y="15"/>
                            </a:cubicBezTo>
                            <a:cubicBezTo>
                              <a:pt x="0" y="23"/>
                              <a:pt x="6" y="29"/>
                              <a:pt x="14" y="29"/>
                            </a:cubicBezTo>
                            <a:cubicBezTo>
                              <a:pt x="43" y="29"/>
                              <a:pt x="43" y="29"/>
                              <a:pt x="43" y="29"/>
                            </a:cubicBezTo>
                            <a:cubicBezTo>
                              <a:pt x="51" y="29"/>
                              <a:pt x="57" y="23"/>
                              <a:pt x="57" y="15"/>
                            </a:cubicBezTo>
                            <a:cubicBezTo>
                              <a:pt x="57" y="7"/>
                              <a:pt x="51" y="0"/>
                              <a:pt x="43" y="0"/>
                            </a:cubicBezTo>
                            <a:close/>
                          </a:path>
                        </a:pathLst>
                      </a:custGeom>
                      <a:solidFill>
                        <a:srgbClr val="4D4D4F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=""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algn="l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1200" b="0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/>
                          <a:cs typeface=""/>
                        </a:endParaRPr>
                      </a:p>
                    </p:txBody>
                  </p:sp>
                  <p:sp>
                    <p:nvSpPr>
                      <p:cNvPr id="2356" name="Freeform 34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4703763" y="2478088"/>
                        <a:ext cx="50800" cy="25400"/>
                      </a:xfrm>
                      <a:custGeom>
                        <a:avLst/>
                        <a:gdLst>
                          <a:gd name="T0" fmla="*/ 44 w 58"/>
                          <a:gd name="T1" fmla="*/ 0 h 29"/>
                          <a:gd name="T2" fmla="*/ 15 w 58"/>
                          <a:gd name="T3" fmla="*/ 0 h 29"/>
                          <a:gd name="T4" fmla="*/ 0 w 58"/>
                          <a:gd name="T5" fmla="*/ 15 h 29"/>
                          <a:gd name="T6" fmla="*/ 15 w 58"/>
                          <a:gd name="T7" fmla="*/ 29 h 29"/>
                          <a:gd name="T8" fmla="*/ 44 w 58"/>
                          <a:gd name="T9" fmla="*/ 29 h 29"/>
                          <a:gd name="T10" fmla="*/ 58 w 58"/>
                          <a:gd name="T11" fmla="*/ 15 h 29"/>
                          <a:gd name="T12" fmla="*/ 44 w 58"/>
                          <a:gd name="T13" fmla="*/ 0 h 29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</a:cxnLst>
                        <a:rect l="0" t="0" r="r" b="b"/>
                        <a:pathLst>
                          <a:path w="58" h="29">
                            <a:moveTo>
                              <a:pt x="44" y="0"/>
                            </a:moveTo>
                            <a:cubicBezTo>
                              <a:pt x="15" y="0"/>
                              <a:pt x="15" y="0"/>
                              <a:pt x="15" y="0"/>
                            </a:cubicBezTo>
                            <a:cubicBezTo>
                              <a:pt x="7" y="0"/>
                              <a:pt x="0" y="7"/>
                              <a:pt x="0" y="15"/>
                            </a:cubicBezTo>
                            <a:cubicBezTo>
                              <a:pt x="0" y="23"/>
                              <a:pt x="7" y="29"/>
                              <a:pt x="15" y="29"/>
                            </a:cubicBezTo>
                            <a:cubicBezTo>
                              <a:pt x="44" y="29"/>
                              <a:pt x="44" y="29"/>
                              <a:pt x="44" y="29"/>
                            </a:cubicBezTo>
                            <a:cubicBezTo>
                              <a:pt x="51" y="29"/>
                              <a:pt x="58" y="23"/>
                              <a:pt x="58" y="15"/>
                            </a:cubicBezTo>
                            <a:cubicBezTo>
                              <a:pt x="58" y="7"/>
                              <a:pt x="51" y="0"/>
                              <a:pt x="44" y="0"/>
                            </a:cubicBezTo>
                            <a:close/>
                          </a:path>
                        </a:pathLst>
                      </a:custGeom>
                      <a:solidFill>
                        <a:srgbClr val="4D4D4F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=""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algn="l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1200" b="0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/>
                          <a:cs typeface=""/>
                        </a:endParaRPr>
                      </a:p>
                    </p:txBody>
                  </p:sp>
                  <p:sp>
                    <p:nvSpPr>
                      <p:cNvPr id="2357" name="Freeform 35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4625976" y="2478088"/>
                        <a:ext cx="52388" cy="25400"/>
                      </a:xfrm>
                      <a:custGeom>
                        <a:avLst/>
                        <a:gdLst>
                          <a:gd name="T0" fmla="*/ 43 w 58"/>
                          <a:gd name="T1" fmla="*/ 0 h 29"/>
                          <a:gd name="T2" fmla="*/ 15 w 58"/>
                          <a:gd name="T3" fmla="*/ 0 h 29"/>
                          <a:gd name="T4" fmla="*/ 0 w 58"/>
                          <a:gd name="T5" fmla="*/ 15 h 29"/>
                          <a:gd name="T6" fmla="*/ 15 w 58"/>
                          <a:gd name="T7" fmla="*/ 29 h 29"/>
                          <a:gd name="T8" fmla="*/ 43 w 58"/>
                          <a:gd name="T9" fmla="*/ 29 h 29"/>
                          <a:gd name="T10" fmla="*/ 58 w 58"/>
                          <a:gd name="T11" fmla="*/ 15 h 29"/>
                          <a:gd name="T12" fmla="*/ 43 w 58"/>
                          <a:gd name="T13" fmla="*/ 0 h 29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</a:cxnLst>
                        <a:rect l="0" t="0" r="r" b="b"/>
                        <a:pathLst>
                          <a:path w="58" h="29">
                            <a:moveTo>
                              <a:pt x="43" y="0"/>
                            </a:moveTo>
                            <a:cubicBezTo>
                              <a:pt x="15" y="0"/>
                              <a:pt x="15" y="0"/>
                              <a:pt x="15" y="0"/>
                            </a:cubicBezTo>
                            <a:cubicBezTo>
                              <a:pt x="7" y="0"/>
                              <a:pt x="0" y="7"/>
                              <a:pt x="0" y="15"/>
                            </a:cubicBezTo>
                            <a:cubicBezTo>
                              <a:pt x="0" y="23"/>
                              <a:pt x="7" y="29"/>
                              <a:pt x="15" y="29"/>
                            </a:cubicBezTo>
                            <a:cubicBezTo>
                              <a:pt x="43" y="29"/>
                              <a:pt x="43" y="29"/>
                              <a:pt x="43" y="29"/>
                            </a:cubicBezTo>
                            <a:cubicBezTo>
                              <a:pt x="51" y="29"/>
                              <a:pt x="58" y="23"/>
                              <a:pt x="58" y="15"/>
                            </a:cubicBezTo>
                            <a:cubicBezTo>
                              <a:pt x="58" y="7"/>
                              <a:pt x="51" y="0"/>
                              <a:pt x="43" y="0"/>
                            </a:cubicBezTo>
                            <a:close/>
                          </a:path>
                        </a:pathLst>
                      </a:custGeom>
                      <a:solidFill>
                        <a:srgbClr val="4D4D4F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=""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algn="l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1200" b="0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/>
                          <a:cs typeface=""/>
                        </a:endParaRPr>
                      </a:p>
                    </p:txBody>
                  </p:sp>
                  <p:sp>
                    <p:nvSpPr>
                      <p:cNvPr id="2358" name="Freeform 38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4859338" y="2473325"/>
                        <a:ext cx="52388" cy="30163"/>
                      </a:xfrm>
                      <a:custGeom>
                        <a:avLst/>
                        <a:gdLst>
                          <a:gd name="T0" fmla="*/ 39 w 58"/>
                          <a:gd name="T1" fmla="*/ 2 h 34"/>
                          <a:gd name="T2" fmla="*/ 14 w 58"/>
                          <a:gd name="T3" fmla="*/ 5 h 34"/>
                          <a:gd name="T4" fmla="*/ 0 w 58"/>
                          <a:gd name="T5" fmla="*/ 20 h 34"/>
                          <a:gd name="T6" fmla="*/ 14 w 58"/>
                          <a:gd name="T7" fmla="*/ 34 h 34"/>
                          <a:gd name="T8" fmla="*/ 14 w 58"/>
                          <a:gd name="T9" fmla="*/ 34 h 34"/>
                          <a:gd name="T10" fmla="*/ 46 w 58"/>
                          <a:gd name="T11" fmla="*/ 30 h 34"/>
                          <a:gd name="T12" fmla="*/ 56 w 58"/>
                          <a:gd name="T13" fmla="*/ 12 h 34"/>
                          <a:gd name="T14" fmla="*/ 39 w 58"/>
                          <a:gd name="T15" fmla="*/ 2 h 34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  <a:cxn ang="0">
                            <a:pos x="T14" y="T15"/>
                          </a:cxn>
                        </a:cxnLst>
                        <a:rect l="0" t="0" r="r" b="b"/>
                        <a:pathLst>
                          <a:path w="58" h="34">
                            <a:moveTo>
                              <a:pt x="39" y="2"/>
                            </a:moveTo>
                            <a:cubicBezTo>
                              <a:pt x="31" y="4"/>
                              <a:pt x="22" y="5"/>
                              <a:pt x="14" y="5"/>
                            </a:cubicBezTo>
                            <a:cubicBezTo>
                              <a:pt x="6" y="5"/>
                              <a:pt x="0" y="12"/>
                              <a:pt x="0" y="20"/>
                            </a:cubicBezTo>
                            <a:cubicBezTo>
                              <a:pt x="0" y="28"/>
                              <a:pt x="6" y="34"/>
                              <a:pt x="14" y="34"/>
                            </a:cubicBezTo>
                            <a:cubicBezTo>
                              <a:pt x="14" y="34"/>
                              <a:pt x="14" y="34"/>
                              <a:pt x="14" y="34"/>
                            </a:cubicBezTo>
                            <a:cubicBezTo>
                              <a:pt x="25" y="34"/>
                              <a:pt x="36" y="32"/>
                              <a:pt x="46" y="30"/>
                            </a:cubicBezTo>
                            <a:cubicBezTo>
                              <a:pt x="54" y="28"/>
                              <a:pt x="58" y="20"/>
                              <a:pt x="56" y="12"/>
                            </a:cubicBezTo>
                            <a:cubicBezTo>
                              <a:pt x="55" y="5"/>
                              <a:pt x="47" y="0"/>
                              <a:pt x="39" y="2"/>
                            </a:cubicBezTo>
                            <a:close/>
                          </a:path>
                        </a:pathLst>
                      </a:custGeom>
                      <a:solidFill>
                        <a:srgbClr val="4D4D4F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=""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algn="l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1200" b="0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/>
                          <a:cs typeface=""/>
                        </a:endParaRPr>
                      </a:p>
                    </p:txBody>
                  </p:sp>
                </p:grpSp>
                <p:sp>
                  <p:nvSpPr>
                    <p:cNvPr id="2335" name="Freeform 12"/>
                    <p:cNvSpPr>
                      <a:spLocks noEditPoints="1"/>
                    </p:cNvSpPr>
                    <p:nvPr/>
                  </p:nvSpPr>
                  <p:spPr bwMode="auto">
                    <a:xfrm>
                      <a:off x="5406483" y="2446478"/>
                      <a:ext cx="214941" cy="191168"/>
                    </a:xfrm>
                    <a:custGeom>
                      <a:avLst/>
                      <a:gdLst>
                        <a:gd name="T0" fmla="*/ 419 w 494"/>
                        <a:gd name="T1" fmla="*/ 299 h 448"/>
                        <a:gd name="T2" fmla="*/ 403 w 494"/>
                        <a:gd name="T3" fmla="*/ 301 h 448"/>
                        <a:gd name="T4" fmla="*/ 302 w 494"/>
                        <a:gd name="T5" fmla="*/ 126 h 448"/>
                        <a:gd name="T6" fmla="*/ 322 w 494"/>
                        <a:gd name="T7" fmla="*/ 75 h 448"/>
                        <a:gd name="T8" fmla="*/ 247 w 494"/>
                        <a:gd name="T9" fmla="*/ 0 h 448"/>
                        <a:gd name="T10" fmla="*/ 173 w 494"/>
                        <a:gd name="T11" fmla="*/ 75 h 448"/>
                        <a:gd name="T12" fmla="*/ 193 w 494"/>
                        <a:gd name="T13" fmla="*/ 126 h 448"/>
                        <a:gd name="T14" fmla="*/ 91 w 494"/>
                        <a:gd name="T15" fmla="*/ 301 h 448"/>
                        <a:gd name="T16" fmla="*/ 75 w 494"/>
                        <a:gd name="T17" fmla="*/ 299 h 448"/>
                        <a:gd name="T18" fmla="*/ 0 w 494"/>
                        <a:gd name="T19" fmla="*/ 373 h 448"/>
                        <a:gd name="T20" fmla="*/ 75 w 494"/>
                        <a:gd name="T21" fmla="*/ 448 h 448"/>
                        <a:gd name="T22" fmla="*/ 146 w 494"/>
                        <a:gd name="T23" fmla="*/ 395 h 448"/>
                        <a:gd name="T24" fmla="*/ 349 w 494"/>
                        <a:gd name="T25" fmla="*/ 395 h 448"/>
                        <a:gd name="T26" fmla="*/ 419 w 494"/>
                        <a:gd name="T27" fmla="*/ 448 h 448"/>
                        <a:gd name="T28" fmla="*/ 494 w 494"/>
                        <a:gd name="T29" fmla="*/ 373 h 448"/>
                        <a:gd name="T30" fmla="*/ 419 w 494"/>
                        <a:gd name="T31" fmla="*/ 299 h 448"/>
                        <a:gd name="T32" fmla="*/ 349 w 494"/>
                        <a:gd name="T33" fmla="*/ 351 h 448"/>
                        <a:gd name="T34" fmla="*/ 146 w 494"/>
                        <a:gd name="T35" fmla="*/ 351 h 448"/>
                        <a:gd name="T36" fmla="*/ 130 w 494"/>
                        <a:gd name="T37" fmla="*/ 323 h 448"/>
                        <a:gd name="T38" fmla="*/ 231 w 494"/>
                        <a:gd name="T39" fmla="*/ 148 h 448"/>
                        <a:gd name="T40" fmla="*/ 247 w 494"/>
                        <a:gd name="T41" fmla="*/ 150 h 448"/>
                        <a:gd name="T42" fmla="*/ 264 w 494"/>
                        <a:gd name="T43" fmla="*/ 148 h 448"/>
                        <a:gd name="T44" fmla="*/ 365 w 494"/>
                        <a:gd name="T45" fmla="*/ 323 h 448"/>
                        <a:gd name="T46" fmla="*/ 349 w 494"/>
                        <a:gd name="T47" fmla="*/ 351 h 44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</a:cxnLst>
                      <a:rect l="0" t="0" r="r" b="b"/>
                      <a:pathLst>
                        <a:path w="494" h="448">
                          <a:moveTo>
                            <a:pt x="419" y="299"/>
                          </a:moveTo>
                          <a:cubicBezTo>
                            <a:pt x="414" y="299"/>
                            <a:pt x="408" y="300"/>
                            <a:pt x="403" y="301"/>
                          </a:cubicBezTo>
                          <a:cubicBezTo>
                            <a:pt x="302" y="126"/>
                            <a:pt x="302" y="126"/>
                            <a:pt x="302" y="126"/>
                          </a:cubicBezTo>
                          <a:cubicBezTo>
                            <a:pt x="314" y="112"/>
                            <a:pt x="322" y="95"/>
                            <a:pt x="322" y="75"/>
                          </a:cubicBezTo>
                          <a:cubicBezTo>
                            <a:pt x="322" y="34"/>
                            <a:pt x="288" y="0"/>
                            <a:pt x="247" y="0"/>
                          </a:cubicBezTo>
                          <a:cubicBezTo>
                            <a:pt x="206" y="0"/>
                            <a:pt x="173" y="34"/>
                            <a:pt x="173" y="75"/>
                          </a:cubicBezTo>
                          <a:cubicBezTo>
                            <a:pt x="173" y="95"/>
                            <a:pt x="180" y="112"/>
                            <a:pt x="193" y="126"/>
                          </a:cubicBezTo>
                          <a:cubicBezTo>
                            <a:pt x="91" y="301"/>
                            <a:pt x="91" y="301"/>
                            <a:pt x="91" y="301"/>
                          </a:cubicBezTo>
                          <a:cubicBezTo>
                            <a:pt x="86" y="300"/>
                            <a:pt x="81" y="299"/>
                            <a:pt x="75" y="299"/>
                          </a:cubicBezTo>
                          <a:cubicBezTo>
                            <a:pt x="34" y="299"/>
                            <a:pt x="0" y="332"/>
                            <a:pt x="0" y="373"/>
                          </a:cubicBezTo>
                          <a:cubicBezTo>
                            <a:pt x="0" y="415"/>
                            <a:pt x="34" y="448"/>
                            <a:pt x="75" y="448"/>
                          </a:cubicBezTo>
                          <a:cubicBezTo>
                            <a:pt x="108" y="448"/>
                            <a:pt x="136" y="426"/>
                            <a:pt x="146" y="395"/>
                          </a:cubicBezTo>
                          <a:cubicBezTo>
                            <a:pt x="349" y="395"/>
                            <a:pt x="349" y="395"/>
                            <a:pt x="349" y="395"/>
                          </a:cubicBezTo>
                          <a:cubicBezTo>
                            <a:pt x="358" y="426"/>
                            <a:pt x="386" y="448"/>
                            <a:pt x="419" y="448"/>
                          </a:cubicBezTo>
                          <a:cubicBezTo>
                            <a:pt x="461" y="448"/>
                            <a:pt x="494" y="415"/>
                            <a:pt x="494" y="373"/>
                          </a:cubicBezTo>
                          <a:cubicBezTo>
                            <a:pt x="494" y="332"/>
                            <a:pt x="461" y="299"/>
                            <a:pt x="419" y="299"/>
                          </a:cubicBezTo>
                          <a:close/>
                          <a:moveTo>
                            <a:pt x="349" y="351"/>
                          </a:moveTo>
                          <a:cubicBezTo>
                            <a:pt x="146" y="351"/>
                            <a:pt x="146" y="351"/>
                            <a:pt x="146" y="351"/>
                          </a:cubicBezTo>
                          <a:cubicBezTo>
                            <a:pt x="142" y="341"/>
                            <a:pt x="137" y="331"/>
                            <a:pt x="130" y="323"/>
                          </a:cubicBezTo>
                          <a:cubicBezTo>
                            <a:pt x="231" y="148"/>
                            <a:pt x="231" y="148"/>
                            <a:pt x="231" y="148"/>
                          </a:cubicBezTo>
                          <a:cubicBezTo>
                            <a:pt x="236" y="149"/>
                            <a:pt x="242" y="150"/>
                            <a:pt x="247" y="150"/>
                          </a:cubicBezTo>
                          <a:cubicBezTo>
                            <a:pt x="253" y="150"/>
                            <a:pt x="258" y="149"/>
                            <a:pt x="264" y="148"/>
                          </a:cubicBezTo>
                          <a:cubicBezTo>
                            <a:pt x="365" y="323"/>
                            <a:pt x="365" y="323"/>
                            <a:pt x="365" y="323"/>
                          </a:cubicBezTo>
                          <a:cubicBezTo>
                            <a:pt x="358" y="331"/>
                            <a:pt x="352" y="341"/>
                            <a:pt x="349" y="351"/>
                          </a:cubicBezTo>
                          <a:close/>
                        </a:path>
                      </a:pathLst>
                    </a:custGeom>
                    <a:solidFill>
                      <a:sysClr val="window" lastClr="FFFFFF"/>
                    </a:solidFill>
                    <a:ln>
                      <a:noFill/>
                    </a:ln>
                    <a:extLst/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algn="l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200" b="0" i="0" u="none" strike="noStrike" kern="0" cap="none" spc="0" normalizeH="0" baseline="0" noProof="0" dirty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Arial"/>
                        <a:cs typeface=""/>
                      </a:endParaRPr>
                    </a:p>
                  </p:txBody>
                </p:sp>
              </p:grpSp>
            </p:grpSp>
            <p:grpSp>
              <p:nvGrpSpPr>
                <p:cNvPr id="2248" name="Group 2247"/>
                <p:cNvGrpSpPr/>
                <p:nvPr/>
              </p:nvGrpSpPr>
              <p:grpSpPr>
                <a:xfrm>
                  <a:off x="3436473" y="3274323"/>
                  <a:ext cx="309857" cy="268010"/>
                  <a:chOff x="5310724" y="2352924"/>
                  <a:chExt cx="398754" cy="374816"/>
                </a:xfrm>
              </p:grpSpPr>
              <p:sp>
                <p:nvSpPr>
                  <p:cNvPr id="2305" name="Rounded Rectangle 2304"/>
                  <p:cNvSpPr/>
                  <p:nvPr/>
                </p:nvSpPr>
                <p:spPr>
                  <a:xfrm>
                    <a:off x="5351561" y="2386601"/>
                    <a:ext cx="308105" cy="310923"/>
                  </a:xfrm>
                  <a:prstGeom prst="roundRect">
                    <a:avLst/>
                  </a:prstGeom>
                  <a:solidFill>
                    <a:srgbClr val="9BBB59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 smtClean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Arial"/>
                      <a:ea typeface=""/>
                      <a:cs typeface=""/>
                    </a:endParaRPr>
                  </a:p>
                </p:txBody>
              </p:sp>
              <p:grpSp>
                <p:nvGrpSpPr>
                  <p:cNvPr id="2306" name="Group 2305"/>
                  <p:cNvGrpSpPr/>
                  <p:nvPr/>
                </p:nvGrpSpPr>
                <p:grpSpPr>
                  <a:xfrm>
                    <a:off x="5310724" y="2352924"/>
                    <a:ext cx="398754" cy="374816"/>
                    <a:chOff x="5310724" y="2352924"/>
                    <a:chExt cx="398754" cy="374816"/>
                  </a:xfrm>
                </p:grpSpPr>
                <p:grpSp>
                  <p:nvGrpSpPr>
                    <p:cNvPr id="2307" name="Group 2306"/>
                    <p:cNvGrpSpPr/>
                    <p:nvPr/>
                  </p:nvGrpSpPr>
                  <p:grpSpPr>
                    <a:xfrm rot="5400000">
                      <a:off x="5322693" y="2340955"/>
                      <a:ext cx="374816" cy="398754"/>
                      <a:chOff x="4471988" y="1985963"/>
                      <a:chExt cx="527051" cy="517525"/>
                    </a:xfrm>
                  </p:grpSpPr>
                  <p:sp>
                    <p:nvSpPr>
                      <p:cNvPr id="2309" name="Freeform 13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4471988" y="2117725"/>
                        <a:ext cx="25400" cy="50800"/>
                      </a:xfrm>
                      <a:custGeom>
                        <a:avLst/>
                        <a:gdLst>
                          <a:gd name="T0" fmla="*/ 14 w 29"/>
                          <a:gd name="T1" fmla="*/ 57 h 57"/>
                          <a:gd name="T2" fmla="*/ 29 w 29"/>
                          <a:gd name="T3" fmla="*/ 43 h 57"/>
                          <a:gd name="T4" fmla="*/ 29 w 29"/>
                          <a:gd name="T5" fmla="*/ 14 h 57"/>
                          <a:gd name="T6" fmla="*/ 14 w 29"/>
                          <a:gd name="T7" fmla="*/ 0 h 57"/>
                          <a:gd name="T8" fmla="*/ 0 w 29"/>
                          <a:gd name="T9" fmla="*/ 14 h 57"/>
                          <a:gd name="T10" fmla="*/ 0 w 29"/>
                          <a:gd name="T11" fmla="*/ 43 h 57"/>
                          <a:gd name="T12" fmla="*/ 14 w 29"/>
                          <a:gd name="T13" fmla="*/ 57 h 57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</a:cxnLst>
                        <a:rect l="0" t="0" r="r" b="b"/>
                        <a:pathLst>
                          <a:path w="29" h="57">
                            <a:moveTo>
                              <a:pt x="14" y="57"/>
                            </a:moveTo>
                            <a:cubicBezTo>
                              <a:pt x="22" y="57"/>
                              <a:pt x="29" y="51"/>
                              <a:pt x="29" y="43"/>
                            </a:cubicBezTo>
                            <a:cubicBezTo>
                              <a:pt x="29" y="14"/>
                              <a:pt x="29" y="14"/>
                              <a:pt x="29" y="14"/>
                            </a:cubicBezTo>
                            <a:cubicBezTo>
                              <a:pt x="29" y="6"/>
                              <a:pt x="22" y="0"/>
                              <a:pt x="14" y="0"/>
                            </a:cubicBezTo>
                            <a:cubicBezTo>
                              <a:pt x="7" y="0"/>
                              <a:pt x="0" y="6"/>
                              <a:pt x="0" y="14"/>
                            </a:cubicBezTo>
                            <a:cubicBezTo>
                              <a:pt x="0" y="43"/>
                              <a:pt x="0" y="43"/>
                              <a:pt x="0" y="43"/>
                            </a:cubicBezTo>
                            <a:cubicBezTo>
                              <a:pt x="0" y="51"/>
                              <a:pt x="7" y="57"/>
                              <a:pt x="14" y="57"/>
                            </a:cubicBezTo>
                            <a:close/>
                          </a:path>
                        </a:pathLst>
                      </a:custGeom>
                      <a:solidFill>
                        <a:srgbClr val="4D4D4F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=""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algn="l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1200" b="0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/>
                          <a:cs typeface=""/>
                        </a:endParaRPr>
                      </a:p>
                    </p:txBody>
                  </p:sp>
                  <p:sp>
                    <p:nvSpPr>
                      <p:cNvPr id="2310" name="Freeform 14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4471988" y="2271713"/>
                        <a:ext cx="25400" cy="52388"/>
                      </a:xfrm>
                      <a:custGeom>
                        <a:avLst/>
                        <a:gdLst>
                          <a:gd name="T0" fmla="*/ 14 w 29"/>
                          <a:gd name="T1" fmla="*/ 58 h 58"/>
                          <a:gd name="T2" fmla="*/ 29 w 29"/>
                          <a:gd name="T3" fmla="*/ 43 h 58"/>
                          <a:gd name="T4" fmla="*/ 29 w 29"/>
                          <a:gd name="T5" fmla="*/ 15 h 58"/>
                          <a:gd name="T6" fmla="*/ 14 w 29"/>
                          <a:gd name="T7" fmla="*/ 0 h 58"/>
                          <a:gd name="T8" fmla="*/ 0 w 29"/>
                          <a:gd name="T9" fmla="*/ 15 h 58"/>
                          <a:gd name="T10" fmla="*/ 0 w 29"/>
                          <a:gd name="T11" fmla="*/ 43 h 58"/>
                          <a:gd name="T12" fmla="*/ 14 w 29"/>
                          <a:gd name="T13" fmla="*/ 58 h 58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</a:cxnLst>
                        <a:rect l="0" t="0" r="r" b="b"/>
                        <a:pathLst>
                          <a:path w="29" h="58">
                            <a:moveTo>
                              <a:pt x="14" y="58"/>
                            </a:moveTo>
                            <a:cubicBezTo>
                              <a:pt x="22" y="58"/>
                              <a:pt x="29" y="51"/>
                              <a:pt x="29" y="43"/>
                            </a:cubicBezTo>
                            <a:cubicBezTo>
                              <a:pt x="29" y="15"/>
                              <a:pt x="29" y="15"/>
                              <a:pt x="29" y="15"/>
                            </a:cubicBezTo>
                            <a:cubicBezTo>
                              <a:pt x="29" y="7"/>
                              <a:pt x="22" y="0"/>
                              <a:pt x="14" y="0"/>
                            </a:cubicBezTo>
                            <a:cubicBezTo>
                              <a:pt x="7" y="0"/>
                              <a:pt x="0" y="7"/>
                              <a:pt x="0" y="15"/>
                            </a:cubicBezTo>
                            <a:cubicBezTo>
                              <a:pt x="0" y="43"/>
                              <a:pt x="0" y="43"/>
                              <a:pt x="0" y="43"/>
                            </a:cubicBezTo>
                            <a:cubicBezTo>
                              <a:pt x="0" y="51"/>
                              <a:pt x="7" y="58"/>
                              <a:pt x="14" y="58"/>
                            </a:cubicBezTo>
                            <a:close/>
                          </a:path>
                        </a:pathLst>
                      </a:custGeom>
                      <a:solidFill>
                        <a:srgbClr val="4D4D4F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=""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algn="l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1200" b="0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/>
                          <a:cs typeface=""/>
                        </a:endParaRPr>
                      </a:p>
                    </p:txBody>
                  </p:sp>
                  <p:sp>
                    <p:nvSpPr>
                      <p:cNvPr id="2311" name="Freeform 15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4487863" y="2422525"/>
                        <a:ext cx="44450" cy="47625"/>
                      </a:xfrm>
                      <a:custGeom>
                        <a:avLst/>
                        <a:gdLst>
                          <a:gd name="T0" fmla="*/ 29 w 50"/>
                          <a:gd name="T1" fmla="*/ 8 h 53"/>
                          <a:gd name="T2" fmla="*/ 9 w 50"/>
                          <a:gd name="T3" fmla="*/ 4 h 53"/>
                          <a:gd name="T4" fmla="*/ 4 w 50"/>
                          <a:gd name="T5" fmla="*/ 24 h 53"/>
                          <a:gd name="T6" fmla="*/ 24 w 50"/>
                          <a:gd name="T7" fmla="*/ 49 h 53"/>
                          <a:gd name="T8" fmla="*/ 34 w 50"/>
                          <a:gd name="T9" fmla="*/ 53 h 53"/>
                          <a:gd name="T10" fmla="*/ 45 w 50"/>
                          <a:gd name="T11" fmla="*/ 49 h 53"/>
                          <a:gd name="T12" fmla="*/ 45 w 50"/>
                          <a:gd name="T13" fmla="*/ 28 h 53"/>
                          <a:gd name="T14" fmla="*/ 29 w 50"/>
                          <a:gd name="T15" fmla="*/ 8 h 53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  <a:cxn ang="0">
                            <a:pos x="T14" y="T15"/>
                          </a:cxn>
                        </a:cxnLst>
                        <a:rect l="0" t="0" r="r" b="b"/>
                        <a:pathLst>
                          <a:path w="50" h="53">
                            <a:moveTo>
                              <a:pt x="29" y="8"/>
                            </a:moveTo>
                            <a:cubicBezTo>
                              <a:pt x="24" y="2"/>
                              <a:pt x="15" y="0"/>
                              <a:pt x="9" y="4"/>
                            </a:cubicBezTo>
                            <a:cubicBezTo>
                              <a:pt x="2" y="8"/>
                              <a:pt x="0" y="17"/>
                              <a:pt x="4" y="24"/>
                            </a:cubicBezTo>
                            <a:cubicBezTo>
                              <a:pt x="10" y="33"/>
                              <a:pt x="17" y="41"/>
                              <a:pt x="24" y="49"/>
                            </a:cubicBezTo>
                            <a:cubicBezTo>
                              <a:pt x="27" y="51"/>
                              <a:pt x="31" y="53"/>
                              <a:pt x="34" y="53"/>
                            </a:cubicBezTo>
                            <a:cubicBezTo>
                              <a:pt x="38" y="53"/>
                              <a:pt x="42" y="51"/>
                              <a:pt x="45" y="49"/>
                            </a:cubicBezTo>
                            <a:cubicBezTo>
                              <a:pt x="50" y="43"/>
                              <a:pt x="50" y="34"/>
                              <a:pt x="45" y="28"/>
                            </a:cubicBezTo>
                            <a:cubicBezTo>
                              <a:pt x="39" y="22"/>
                              <a:pt x="33" y="15"/>
                              <a:pt x="29" y="8"/>
                            </a:cubicBezTo>
                            <a:close/>
                          </a:path>
                        </a:pathLst>
                      </a:custGeom>
                      <a:solidFill>
                        <a:srgbClr val="4D4D4F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=""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algn="l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1200" b="0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/>
                          <a:cs typeface=""/>
                        </a:endParaRPr>
                      </a:p>
                    </p:txBody>
                  </p:sp>
                  <p:sp>
                    <p:nvSpPr>
                      <p:cNvPr id="2312" name="Freeform 16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4471988" y="2193925"/>
                        <a:ext cx="25400" cy="52388"/>
                      </a:xfrm>
                      <a:custGeom>
                        <a:avLst/>
                        <a:gdLst>
                          <a:gd name="T0" fmla="*/ 14 w 29"/>
                          <a:gd name="T1" fmla="*/ 58 h 58"/>
                          <a:gd name="T2" fmla="*/ 29 w 29"/>
                          <a:gd name="T3" fmla="*/ 43 h 58"/>
                          <a:gd name="T4" fmla="*/ 29 w 29"/>
                          <a:gd name="T5" fmla="*/ 14 h 58"/>
                          <a:gd name="T6" fmla="*/ 14 w 29"/>
                          <a:gd name="T7" fmla="*/ 0 h 58"/>
                          <a:gd name="T8" fmla="*/ 0 w 29"/>
                          <a:gd name="T9" fmla="*/ 14 h 58"/>
                          <a:gd name="T10" fmla="*/ 0 w 29"/>
                          <a:gd name="T11" fmla="*/ 43 h 58"/>
                          <a:gd name="T12" fmla="*/ 14 w 29"/>
                          <a:gd name="T13" fmla="*/ 58 h 58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</a:cxnLst>
                        <a:rect l="0" t="0" r="r" b="b"/>
                        <a:pathLst>
                          <a:path w="29" h="58">
                            <a:moveTo>
                              <a:pt x="14" y="58"/>
                            </a:moveTo>
                            <a:cubicBezTo>
                              <a:pt x="22" y="58"/>
                              <a:pt x="29" y="51"/>
                              <a:pt x="29" y="43"/>
                            </a:cubicBezTo>
                            <a:cubicBezTo>
                              <a:pt x="29" y="14"/>
                              <a:pt x="29" y="14"/>
                              <a:pt x="29" y="14"/>
                            </a:cubicBezTo>
                            <a:cubicBezTo>
                              <a:pt x="29" y="6"/>
                              <a:pt x="22" y="0"/>
                              <a:pt x="14" y="0"/>
                            </a:cubicBezTo>
                            <a:cubicBezTo>
                              <a:pt x="7" y="0"/>
                              <a:pt x="0" y="6"/>
                              <a:pt x="0" y="14"/>
                            </a:cubicBezTo>
                            <a:cubicBezTo>
                              <a:pt x="0" y="43"/>
                              <a:pt x="0" y="43"/>
                              <a:pt x="0" y="43"/>
                            </a:cubicBezTo>
                            <a:cubicBezTo>
                              <a:pt x="0" y="51"/>
                              <a:pt x="7" y="58"/>
                              <a:pt x="14" y="58"/>
                            </a:cubicBezTo>
                            <a:close/>
                          </a:path>
                        </a:pathLst>
                      </a:custGeom>
                      <a:solidFill>
                        <a:srgbClr val="4D4D4F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=""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algn="l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1200" b="0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/>
                          <a:cs typeface=""/>
                        </a:endParaRPr>
                      </a:p>
                    </p:txBody>
                  </p:sp>
                  <p:sp>
                    <p:nvSpPr>
                      <p:cNvPr id="2313" name="Freeform 17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4830763" y="1985963"/>
                        <a:ext cx="50800" cy="26988"/>
                      </a:xfrm>
                      <a:custGeom>
                        <a:avLst/>
                        <a:gdLst>
                          <a:gd name="T0" fmla="*/ 15 w 57"/>
                          <a:gd name="T1" fmla="*/ 29 h 29"/>
                          <a:gd name="T2" fmla="*/ 44 w 57"/>
                          <a:gd name="T3" fmla="*/ 29 h 29"/>
                          <a:gd name="T4" fmla="*/ 57 w 57"/>
                          <a:gd name="T5" fmla="*/ 15 h 29"/>
                          <a:gd name="T6" fmla="*/ 43 w 57"/>
                          <a:gd name="T7" fmla="*/ 0 h 29"/>
                          <a:gd name="T8" fmla="*/ 15 w 57"/>
                          <a:gd name="T9" fmla="*/ 0 h 29"/>
                          <a:gd name="T10" fmla="*/ 0 w 57"/>
                          <a:gd name="T11" fmla="*/ 15 h 29"/>
                          <a:gd name="T12" fmla="*/ 15 w 57"/>
                          <a:gd name="T13" fmla="*/ 29 h 29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</a:cxnLst>
                        <a:rect l="0" t="0" r="r" b="b"/>
                        <a:pathLst>
                          <a:path w="57" h="29">
                            <a:moveTo>
                              <a:pt x="15" y="29"/>
                            </a:moveTo>
                            <a:cubicBezTo>
                              <a:pt x="44" y="29"/>
                              <a:pt x="44" y="29"/>
                              <a:pt x="44" y="29"/>
                            </a:cubicBezTo>
                            <a:cubicBezTo>
                              <a:pt x="51" y="29"/>
                              <a:pt x="57" y="23"/>
                              <a:pt x="57" y="15"/>
                            </a:cubicBezTo>
                            <a:cubicBezTo>
                              <a:pt x="57" y="7"/>
                              <a:pt x="50" y="0"/>
                              <a:pt x="43" y="0"/>
                            </a:cubicBezTo>
                            <a:cubicBezTo>
                              <a:pt x="15" y="0"/>
                              <a:pt x="15" y="0"/>
                              <a:pt x="15" y="0"/>
                            </a:cubicBezTo>
                            <a:cubicBezTo>
                              <a:pt x="7" y="0"/>
                              <a:pt x="0" y="7"/>
                              <a:pt x="0" y="15"/>
                            </a:cubicBezTo>
                            <a:cubicBezTo>
                              <a:pt x="0" y="23"/>
                              <a:pt x="7" y="29"/>
                              <a:pt x="15" y="29"/>
                            </a:cubicBezTo>
                            <a:close/>
                          </a:path>
                        </a:pathLst>
                      </a:custGeom>
                      <a:solidFill>
                        <a:srgbClr val="4D4D4F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=""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algn="l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1200" b="0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/>
                          <a:cs typeface=""/>
                        </a:endParaRPr>
                      </a:p>
                    </p:txBody>
                  </p:sp>
                  <p:sp>
                    <p:nvSpPr>
                      <p:cNvPr id="2314" name="Freeform 18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4905376" y="1997075"/>
                        <a:ext cx="50800" cy="41275"/>
                      </a:xfrm>
                      <a:custGeom>
                        <a:avLst/>
                        <a:gdLst>
                          <a:gd name="T0" fmla="*/ 10 w 56"/>
                          <a:gd name="T1" fmla="*/ 30 h 47"/>
                          <a:gd name="T2" fmla="*/ 31 w 56"/>
                          <a:gd name="T3" fmla="*/ 43 h 47"/>
                          <a:gd name="T4" fmla="*/ 40 w 56"/>
                          <a:gd name="T5" fmla="*/ 47 h 47"/>
                          <a:gd name="T6" fmla="*/ 51 w 56"/>
                          <a:gd name="T7" fmla="*/ 41 h 47"/>
                          <a:gd name="T8" fmla="*/ 49 w 56"/>
                          <a:gd name="T9" fmla="*/ 21 h 47"/>
                          <a:gd name="T10" fmla="*/ 22 w 56"/>
                          <a:gd name="T11" fmla="*/ 4 h 47"/>
                          <a:gd name="T12" fmla="*/ 3 w 56"/>
                          <a:gd name="T13" fmla="*/ 11 h 47"/>
                          <a:gd name="T14" fmla="*/ 10 w 56"/>
                          <a:gd name="T15" fmla="*/ 30 h 47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  <a:cxn ang="0">
                            <a:pos x="T14" y="T15"/>
                          </a:cxn>
                        </a:cxnLst>
                        <a:rect l="0" t="0" r="r" b="b"/>
                        <a:pathLst>
                          <a:path w="56" h="47">
                            <a:moveTo>
                              <a:pt x="10" y="30"/>
                            </a:moveTo>
                            <a:cubicBezTo>
                              <a:pt x="17" y="33"/>
                              <a:pt x="25" y="38"/>
                              <a:pt x="31" y="43"/>
                            </a:cubicBezTo>
                            <a:cubicBezTo>
                              <a:pt x="34" y="46"/>
                              <a:pt x="37" y="47"/>
                              <a:pt x="40" y="47"/>
                            </a:cubicBezTo>
                            <a:cubicBezTo>
                              <a:pt x="44" y="47"/>
                              <a:pt x="49" y="45"/>
                              <a:pt x="51" y="41"/>
                            </a:cubicBezTo>
                            <a:cubicBezTo>
                              <a:pt x="56" y="35"/>
                              <a:pt x="55" y="26"/>
                              <a:pt x="49" y="21"/>
                            </a:cubicBezTo>
                            <a:cubicBezTo>
                              <a:pt x="41" y="14"/>
                              <a:pt x="32" y="9"/>
                              <a:pt x="22" y="4"/>
                            </a:cubicBezTo>
                            <a:cubicBezTo>
                              <a:pt x="15" y="0"/>
                              <a:pt x="7" y="3"/>
                              <a:pt x="3" y="11"/>
                            </a:cubicBezTo>
                            <a:cubicBezTo>
                              <a:pt x="0" y="18"/>
                              <a:pt x="3" y="26"/>
                              <a:pt x="10" y="30"/>
                            </a:cubicBezTo>
                            <a:close/>
                          </a:path>
                        </a:pathLst>
                      </a:custGeom>
                      <a:solidFill>
                        <a:srgbClr val="4D4D4F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=""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algn="l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1200" b="0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/>
                          <a:cs typeface=""/>
                        </a:endParaRPr>
                      </a:p>
                    </p:txBody>
                  </p:sp>
                  <p:sp>
                    <p:nvSpPr>
                      <p:cNvPr id="2315" name="Freeform 19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4476751" y="2039938"/>
                        <a:ext cx="39688" cy="52388"/>
                      </a:xfrm>
                      <a:custGeom>
                        <a:avLst/>
                        <a:gdLst>
                          <a:gd name="T0" fmla="*/ 12 w 45"/>
                          <a:gd name="T1" fmla="*/ 56 h 57"/>
                          <a:gd name="T2" fmla="*/ 16 w 45"/>
                          <a:gd name="T3" fmla="*/ 57 h 57"/>
                          <a:gd name="T4" fmla="*/ 30 w 45"/>
                          <a:gd name="T5" fmla="*/ 47 h 57"/>
                          <a:gd name="T6" fmla="*/ 41 w 45"/>
                          <a:gd name="T7" fmla="*/ 24 h 57"/>
                          <a:gd name="T8" fmla="*/ 36 w 45"/>
                          <a:gd name="T9" fmla="*/ 4 h 57"/>
                          <a:gd name="T10" fmla="*/ 16 w 45"/>
                          <a:gd name="T11" fmla="*/ 9 h 57"/>
                          <a:gd name="T12" fmla="*/ 3 w 45"/>
                          <a:gd name="T13" fmla="*/ 38 h 57"/>
                          <a:gd name="T14" fmla="*/ 12 w 45"/>
                          <a:gd name="T15" fmla="*/ 56 h 57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  <a:cxn ang="0">
                            <a:pos x="T14" y="T15"/>
                          </a:cxn>
                        </a:cxnLst>
                        <a:rect l="0" t="0" r="r" b="b"/>
                        <a:pathLst>
                          <a:path w="45" h="57">
                            <a:moveTo>
                              <a:pt x="12" y="56"/>
                            </a:moveTo>
                            <a:cubicBezTo>
                              <a:pt x="13" y="57"/>
                              <a:pt x="15" y="57"/>
                              <a:pt x="16" y="57"/>
                            </a:cubicBezTo>
                            <a:cubicBezTo>
                              <a:pt x="22" y="57"/>
                              <a:pt x="28" y="53"/>
                              <a:pt x="30" y="47"/>
                            </a:cubicBezTo>
                            <a:cubicBezTo>
                              <a:pt x="33" y="39"/>
                              <a:pt x="36" y="32"/>
                              <a:pt x="41" y="24"/>
                            </a:cubicBezTo>
                            <a:cubicBezTo>
                              <a:pt x="45" y="17"/>
                              <a:pt x="43" y="9"/>
                              <a:pt x="36" y="4"/>
                            </a:cubicBezTo>
                            <a:cubicBezTo>
                              <a:pt x="29" y="0"/>
                              <a:pt x="21" y="2"/>
                              <a:pt x="16" y="9"/>
                            </a:cubicBezTo>
                            <a:cubicBezTo>
                              <a:pt x="11" y="18"/>
                              <a:pt x="6" y="28"/>
                              <a:pt x="3" y="38"/>
                            </a:cubicBezTo>
                            <a:cubicBezTo>
                              <a:pt x="0" y="45"/>
                              <a:pt x="4" y="54"/>
                              <a:pt x="12" y="56"/>
                            </a:cubicBezTo>
                            <a:close/>
                          </a:path>
                        </a:pathLst>
                      </a:custGeom>
                      <a:solidFill>
                        <a:srgbClr val="4D4D4F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=""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algn="l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1200" b="0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/>
                          <a:cs typeface=""/>
                        </a:endParaRPr>
                      </a:p>
                    </p:txBody>
                  </p:sp>
                  <p:sp>
                    <p:nvSpPr>
                      <p:cNvPr id="2316" name="Freeform 20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4522788" y="1992313"/>
                        <a:ext cx="52388" cy="39688"/>
                      </a:xfrm>
                      <a:custGeom>
                        <a:avLst/>
                        <a:gdLst>
                          <a:gd name="T0" fmla="*/ 55 w 58"/>
                          <a:gd name="T1" fmla="*/ 11 h 43"/>
                          <a:gd name="T2" fmla="*/ 37 w 58"/>
                          <a:gd name="T3" fmla="*/ 2 h 43"/>
                          <a:gd name="T4" fmla="*/ 9 w 58"/>
                          <a:gd name="T5" fmla="*/ 17 h 43"/>
                          <a:gd name="T6" fmla="*/ 4 w 58"/>
                          <a:gd name="T7" fmla="*/ 37 h 43"/>
                          <a:gd name="T8" fmla="*/ 16 w 58"/>
                          <a:gd name="T9" fmla="*/ 43 h 43"/>
                          <a:gd name="T10" fmla="*/ 24 w 58"/>
                          <a:gd name="T11" fmla="*/ 41 h 43"/>
                          <a:gd name="T12" fmla="*/ 47 w 58"/>
                          <a:gd name="T13" fmla="*/ 29 h 43"/>
                          <a:gd name="T14" fmla="*/ 55 w 58"/>
                          <a:gd name="T15" fmla="*/ 11 h 43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  <a:cxn ang="0">
                            <a:pos x="T14" y="T15"/>
                          </a:cxn>
                        </a:cxnLst>
                        <a:rect l="0" t="0" r="r" b="b"/>
                        <a:pathLst>
                          <a:path w="58" h="43">
                            <a:moveTo>
                              <a:pt x="55" y="11"/>
                            </a:moveTo>
                            <a:cubicBezTo>
                              <a:pt x="53" y="3"/>
                              <a:pt x="44" y="0"/>
                              <a:pt x="37" y="2"/>
                            </a:cubicBezTo>
                            <a:cubicBezTo>
                              <a:pt x="27" y="6"/>
                              <a:pt x="17" y="11"/>
                              <a:pt x="9" y="17"/>
                            </a:cubicBezTo>
                            <a:cubicBezTo>
                              <a:pt x="2" y="21"/>
                              <a:pt x="0" y="30"/>
                              <a:pt x="4" y="37"/>
                            </a:cubicBezTo>
                            <a:cubicBezTo>
                              <a:pt x="7" y="41"/>
                              <a:pt x="12" y="43"/>
                              <a:pt x="16" y="43"/>
                            </a:cubicBezTo>
                            <a:cubicBezTo>
                              <a:pt x="19" y="43"/>
                              <a:pt x="22" y="43"/>
                              <a:pt x="24" y="41"/>
                            </a:cubicBezTo>
                            <a:cubicBezTo>
                              <a:pt x="31" y="36"/>
                              <a:pt x="39" y="32"/>
                              <a:pt x="47" y="29"/>
                            </a:cubicBezTo>
                            <a:cubicBezTo>
                              <a:pt x="54" y="27"/>
                              <a:pt x="58" y="18"/>
                              <a:pt x="55" y="11"/>
                            </a:cubicBezTo>
                            <a:close/>
                          </a:path>
                        </a:pathLst>
                      </a:custGeom>
                      <a:solidFill>
                        <a:srgbClr val="4D4D4F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=""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algn="l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1200" b="0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/>
                          <a:cs typeface=""/>
                        </a:endParaRPr>
                      </a:p>
                    </p:txBody>
                  </p:sp>
                  <p:sp>
                    <p:nvSpPr>
                      <p:cNvPr id="2317" name="Freeform 21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4959351" y="2051050"/>
                        <a:ext cx="36513" cy="52388"/>
                      </a:xfrm>
                      <a:custGeom>
                        <a:avLst/>
                        <a:gdLst>
                          <a:gd name="T0" fmla="*/ 13 w 42"/>
                          <a:gd name="T1" fmla="*/ 47 h 58"/>
                          <a:gd name="T2" fmla="*/ 27 w 42"/>
                          <a:gd name="T3" fmla="*/ 58 h 58"/>
                          <a:gd name="T4" fmla="*/ 30 w 42"/>
                          <a:gd name="T5" fmla="*/ 57 h 58"/>
                          <a:gd name="T6" fmla="*/ 41 w 42"/>
                          <a:gd name="T7" fmla="*/ 40 h 58"/>
                          <a:gd name="T8" fmla="*/ 30 w 42"/>
                          <a:gd name="T9" fmla="*/ 10 h 58"/>
                          <a:gd name="T10" fmla="*/ 11 w 42"/>
                          <a:gd name="T11" fmla="*/ 4 h 58"/>
                          <a:gd name="T12" fmla="*/ 4 w 42"/>
                          <a:gd name="T13" fmla="*/ 23 h 58"/>
                          <a:gd name="T14" fmla="*/ 13 w 42"/>
                          <a:gd name="T15" fmla="*/ 47 h 58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  <a:cxn ang="0">
                            <a:pos x="T14" y="T15"/>
                          </a:cxn>
                        </a:cxnLst>
                        <a:rect l="0" t="0" r="r" b="b"/>
                        <a:pathLst>
                          <a:path w="42" h="58">
                            <a:moveTo>
                              <a:pt x="13" y="47"/>
                            </a:moveTo>
                            <a:cubicBezTo>
                              <a:pt x="14" y="53"/>
                              <a:pt x="20" y="58"/>
                              <a:pt x="27" y="58"/>
                            </a:cubicBezTo>
                            <a:cubicBezTo>
                              <a:pt x="28" y="58"/>
                              <a:pt x="29" y="58"/>
                              <a:pt x="30" y="57"/>
                            </a:cubicBezTo>
                            <a:cubicBezTo>
                              <a:pt x="38" y="56"/>
                              <a:pt x="42" y="48"/>
                              <a:pt x="41" y="40"/>
                            </a:cubicBezTo>
                            <a:cubicBezTo>
                              <a:pt x="38" y="30"/>
                              <a:pt x="35" y="20"/>
                              <a:pt x="30" y="10"/>
                            </a:cubicBezTo>
                            <a:cubicBezTo>
                              <a:pt x="26" y="3"/>
                              <a:pt x="18" y="0"/>
                              <a:pt x="11" y="4"/>
                            </a:cubicBezTo>
                            <a:cubicBezTo>
                              <a:pt x="3" y="7"/>
                              <a:pt x="0" y="16"/>
                              <a:pt x="4" y="23"/>
                            </a:cubicBezTo>
                            <a:cubicBezTo>
                              <a:pt x="8" y="31"/>
                              <a:pt x="11" y="39"/>
                              <a:pt x="13" y="47"/>
                            </a:cubicBezTo>
                            <a:close/>
                          </a:path>
                        </a:pathLst>
                      </a:custGeom>
                      <a:solidFill>
                        <a:srgbClr val="4D4D4F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=""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algn="l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1200" b="0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/>
                          <a:cs typeface=""/>
                        </a:endParaRPr>
                      </a:p>
                    </p:txBody>
                  </p:sp>
                  <p:sp>
                    <p:nvSpPr>
                      <p:cNvPr id="2318" name="Freeform 22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4598988" y="1985963"/>
                        <a:ext cx="52388" cy="26988"/>
                      </a:xfrm>
                      <a:custGeom>
                        <a:avLst/>
                        <a:gdLst>
                          <a:gd name="T0" fmla="*/ 14 w 58"/>
                          <a:gd name="T1" fmla="*/ 29 h 29"/>
                          <a:gd name="T2" fmla="*/ 43 w 58"/>
                          <a:gd name="T3" fmla="*/ 29 h 29"/>
                          <a:gd name="T4" fmla="*/ 58 w 58"/>
                          <a:gd name="T5" fmla="*/ 15 h 29"/>
                          <a:gd name="T6" fmla="*/ 43 w 58"/>
                          <a:gd name="T7" fmla="*/ 0 h 29"/>
                          <a:gd name="T8" fmla="*/ 14 w 58"/>
                          <a:gd name="T9" fmla="*/ 0 h 29"/>
                          <a:gd name="T10" fmla="*/ 0 w 58"/>
                          <a:gd name="T11" fmla="*/ 15 h 29"/>
                          <a:gd name="T12" fmla="*/ 14 w 58"/>
                          <a:gd name="T13" fmla="*/ 29 h 29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</a:cxnLst>
                        <a:rect l="0" t="0" r="r" b="b"/>
                        <a:pathLst>
                          <a:path w="58" h="29">
                            <a:moveTo>
                              <a:pt x="14" y="29"/>
                            </a:moveTo>
                            <a:cubicBezTo>
                              <a:pt x="43" y="29"/>
                              <a:pt x="43" y="29"/>
                              <a:pt x="43" y="29"/>
                            </a:cubicBezTo>
                            <a:cubicBezTo>
                              <a:pt x="51" y="29"/>
                              <a:pt x="58" y="23"/>
                              <a:pt x="58" y="15"/>
                            </a:cubicBezTo>
                            <a:cubicBezTo>
                              <a:pt x="58" y="7"/>
                              <a:pt x="51" y="0"/>
                              <a:pt x="43" y="0"/>
                            </a:cubicBezTo>
                            <a:cubicBezTo>
                              <a:pt x="14" y="0"/>
                              <a:pt x="14" y="0"/>
                              <a:pt x="14" y="0"/>
                            </a:cubicBezTo>
                            <a:cubicBezTo>
                              <a:pt x="6" y="0"/>
                              <a:pt x="0" y="7"/>
                              <a:pt x="0" y="15"/>
                            </a:cubicBezTo>
                            <a:cubicBezTo>
                              <a:pt x="0" y="23"/>
                              <a:pt x="6" y="29"/>
                              <a:pt x="14" y="29"/>
                            </a:cubicBezTo>
                            <a:close/>
                          </a:path>
                        </a:pathLst>
                      </a:custGeom>
                      <a:solidFill>
                        <a:srgbClr val="4D4D4F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=""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algn="l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1200" b="0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/>
                          <a:cs typeface=""/>
                        </a:endParaRPr>
                      </a:p>
                    </p:txBody>
                  </p:sp>
                  <p:sp>
                    <p:nvSpPr>
                      <p:cNvPr id="2319" name="Freeform 23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4676776" y="1985963"/>
                        <a:ext cx="50800" cy="26988"/>
                      </a:xfrm>
                      <a:custGeom>
                        <a:avLst/>
                        <a:gdLst>
                          <a:gd name="T0" fmla="*/ 15 w 58"/>
                          <a:gd name="T1" fmla="*/ 29 h 29"/>
                          <a:gd name="T2" fmla="*/ 43 w 58"/>
                          <a:gd name="T3" fmla="*/ 29 h 29"/>
                          <a:gd name="T4" fmla="*/ 58 w 58"/>
                          <a:gd name="T5" fmla="*/ 15 h 29"/>
                          <a:gd name="T6" fmla="*/ 43 w 58"/>
                          <a:gd name="T7" fmla="*/ 0 h 29"/>
                          <a:gd name="T8" fmla="*/ 15 w 58"/>
                          <a:gd name="T9" fmla="*/ 0 h 29"/>
                          <a:gd name="T10" fmla="*/ 0 w 58"/>
                          <a:gd name="T11" fmla="*/ 15 h 29"/>
                          <a:gd name="T12" fmla="*/ 15 w 58"/>
                          <a:gd name="T13" fmla="*/ 29 h 29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</a:cxnLst>
                        <a:rect l="0" t="0" r="r" b="b"/>
                        <a:pathLst>
                          <a:path w="58" h="29">
                            <a:moveTo>
                              <a:pt x="15" y="29"/>
                            </a:moveTo>
                            <a:cubicBezTo>
                              <a:pt x="43" y="29"/>
                              <a:pt x="43" y="29"/>
                              <a:pt x="43" y="29"/>
                            </a:cubicBezTo>
                            <a:cubicBezTo>
                              <a:pt x="51" y="29"/>
                              <a:pt x="58" y="23"/>
                              <a:pt x="58" y="15"/>
                            </a:cubicBezTo>
                            <a:cubicBezTo>
                              <a:pt x="58" y="7"/>
                              <a:pt x="51" y="0"/>
                              <a:pt x="43" y="0"/>
                            </a:cubicBezTo>
                            <a:cubicBezTo>
                              <a:pt x="15" y="0"/>
                              <a:pt x="15" y="0"/>
                              <a:pt x="15" y="0"/>
                            </a:cubicBezTo>
                            <a:cubicBezTo>
                              <a:pt x="7" y="0"/>
                              <a:pt x="0" y="7"/>
                              <a:pt x="0" y="15"/>
                            </a:cubicBezTo>
                            <a:cubicBezTo>
                              <a:pt x="0" y="23"/>
                              <a:pt x="7" y="29"/>
                              <a:pt x="15" y="29"/>
                            </a:cubicBezTo>
                            <a:close/>
                          </a:path>
                        </a:pathLst>
                      </a:custGeom>
                      <a:solidFill>
                        <a:srgbClr val="4D4D4F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=""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algn="l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1200" b="0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/>
                          <a:cs typeface=""/>
                        </a:endParaRPr>
                      </a:p>
                    </p:txBody>
                  </p:sp>
                  <p:sp>
                    <p:nvSpPr>
                      <p:cNvPr id="2320" name="Freeform 24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4752976" y="1985963"/>
                        <a:ext cx="52388" cy="26988"/>
                      </a:xfrm>
                      <a:custGeom>
                        <a:avLst/>
                        <a:gdLst>
                          <a:gd name="T0" fmla="*/ 15 w 58"/>
                          <a:gd name="T1" fmla="*/ 29 h 29"/>
                          <a:gd name="T2" fmla="*/ 43 w 58"/>
                          <a:gd name="T3" fmla="*/ 29 h 29"/>
                          <a:gd name="T4" fmla="*/ 58 w 58"/>
                          <a:gd name="T5" fmla="*/ 15 h 29"/>
                          <a:gd name="T6" fmla="*/ 43 w 58"/>
                          <a:gd name="T7" fmla="*/ 0 h 29"/>
                          <a:gd name="T8" fmla="*/ 15 w 58"/>
                          <a:gd name="T9" fmla="*/ 0 h 29"/>
                          <a:gd name="T10" fmla="*/ 0 w 58"/>
                          <a:gd name="T11" fmla="*/ 15 h 29"/>
                          <a:gd name="T12" fmla="*/ 15 w 58"/>
                          <a:gd name="T13" fmla="*/ 29 h 29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</a:cxnLst>
                        <a:rect l="0" t="0" r="r" b="b"/>
                        <a:pathLst>
                          <a:path w="58" h="29">
                            <a:moveTo>
                              <a:pt x="15" y="29"/>
                            </a:moveTo>
                            <a:cubicBezTo>
                              <a:pt x="43" y="29"/>
                              <a:pt x="43" y="29"/>
                              <a:pt x="43" y="29"/>
                            </a:cubicBezTo>
                            <a:cubicBezTo>
                              <a:pt x="51" y="29"/>
                              <a:pt x="58" y="23"/>
                              <a:pt x="58" y="15"/>
                            </a:cubicBezTo>
                            <a:cubicBezTo>
                              <a:pt x="58" y="7"/>
                              <a:pt x="51" y="0"/>
                              <a:pt x="43" y="0"/>
                            </a:cubicBezTo>
                            <a:cubicBezTo>
                              <a:pt x="15" y="0"/>
                              <a:pt x="15" y="0"/>
                              <a:pt x="15" y="0"/>
                            </a:cubicBezTo>
                            <a:cubicBezTo>
                              <a:pt x="7" y="0"/>
                              <a:pt x="0" y="7"/>
                              <a:pt x="0" y="15"/>
                            </a:cubicBezTo>
                            <a:cubicBezTo>
                              <a:pt x="0" y="23"/>
                              <a:pt x="7" y="29"/>
                              <a:pt x="15" y="29"/>
                            </a:cubicBezTo>
                            <a:close/>
                          </a:path>
                        </a:pathLst>
                      </a:custGeom>
                      <a:solidFill>
                        <a:srgbClr val="4D4D4F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=""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algn="l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1200" b="0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/>
                          <a:cs typeface=""/>
                        </a:endParaRPr>
                      </a:p>
                    </p:txBody>
                  </p:sp>
                  <p:sp>
                    <p:nvSpPr>
                      <p:cNvPr id="2321" name="Freeform 25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4471988" y="2349500"/>
                        <a:ext cx="26988" cy="52388"/>
                      </a:xfrm>
                      <a:custGeom>
                        <a:avLst/>
                        <a:gdLst>
                          <a:gd name="T0" fmla="*/ 30 w 31"/>
                          <a:gd name="T1" fmla="*/ 42 h 58"/>
                          <a:gd name="T2" fmla="*/ 29 w 31"/>
                          <a:gd name="T3" fmla="*/ 28 h 58"/>
                          <a:gd name="T4" fmla="*/ 29 w 31"/>
                          <a:gd name="T5" fmla="*/ 15 h 58"/>
                          <a:gd name="T6" fmla="*/ 14 w 31"/>
                          <a:gd name="T7" fmla="*/ 0 h 58"/>
                          <a:gd name="T8" fmla="*/ 0 w 31"/>
                          <a:gd name="T9" fmla="*/ 15 h 58"/>
                          <a:gd name="T10" fmla="*/ 0 w 31"/>
                          <a:gd name="T11" fmla="*/ 28 h 58"/>
                          <a:gd name="T12" fmla="*/ 1 w 31"/>
                          <a:gd name="T13" fmla="*/ 45 h 58"/>
                          <a:gd name="T14" fmla="*/ 15 w 31"/>
                          <a:gd name="T15" fmla="*/ 58 h 58"/>
                          <a:gd name="T16" fmla="*/ 17 w 31"/>
                          <a:gd name="T17" fmla="*/ 58 h 58"/>
                          <a:gd name="T18" fmla="*/ 30 w 31"/>
                          <a:gd name="T19" fmla="*/ 42 h 58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  <a:cxn ang="0">
                            <a:pos x="T14" y="T15"/>
                          </a:cxn>
                          <a:cxn ang="0">
                            <a:pos x="T16" y="T17"/>
                          </a:cxn>
                          <a:cxn ang="0">
                            <a:pos x="T18" y="T19"/>
                          </a:cxn>
                        </a:cxnLst>
                        <a:rect l="0" t="0" r="r" b="b"/>
                        <a:pathLst>
                          <a:path w="31" h="58">
                            <a:moveTo>
                              <a:pt x="30" y="42"/>
                            </a:moveTo>
                            <a:cubicBezTo>
                              <a:pt x="29" y="37"/>
                              <a:pt x="29" y="33"/>
                              <a:pt x="29" y="28"/>
                            </a:cubicBezTo>
                            <a:cubicBezTo>
                              <a:pt x="29" y="15"/>
                              <a:pt x="29" y="15"/>
                              <a:pt x="29" y="15"/>
                            </a:cubicBezTo>
                            <a:cubicBezTo>
                              <a:pt x="29" y="7"/>
                              <a:pt x="22" y="0"/>
                              <a:pt x="14" y="0"/>
                            </a:cubicBezTo>
                            <a:cubicBezTo>
                              <a:pt x="7" y="0"/>
                              <a:pt x="0" y="7"/>
                              <a:pt x="0" y="15"/>
                            </a:cubicBezTo>
                            <a:cubicBezTo>
                              <a:pt x="0" y="28"/>
                              <a:pt x="0" y="28"/>
                              <a:pt x="0" y="28"/>
                            </a:cubicBezTo>
                            <a:cubicBezTo>
                              <a:pt x="0" y="34"/>
                              <a:pt x="0" y="39"/>
                              <a:pt x="1" y="45"/>
                            </a:cubicBezTo>
                            <a:cubicBezTo>
                              <a:pt x="2" y="52"/>
                              <a:pt x="8" y="58"/>
                              <a:pt x="15" y="58"/>
                            </a:cubicBezTo>
                            <a:cubicBezTo>
                              <a:pt x="16" y="58"/>
                              <a:pt x="17" y="58"/>
                              <a:pt x="17" y="58"/>
                            </a:cubicBezTo>
                            <a:cubicBezTo>
                              <a:pt x="25" y="57"/>
                              <a:pt x="31" y="50"/>
                              <a:pt x="30" y="42"/>
                            </a:cubicBezTo>
                            <a:close/>
                          </a:path>
                        </a:pathLst>
                      </a:custGeom>
                      <a:solidFill>
                        <a:srgbClr val="4D4D4F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=""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algn="l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1200" b="0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/>
                          <a:cs typeface=""/>
                        </a:endParaRPr>
                      </a:p>
                    </p:txBody>
                  </p:sp>
                  <p:sp>
                    <p:nvSpPr>
                      <p:cNvPr id="2322" name="Freeform 26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4973638" y="2282825"/>
                        <a:ext cx="25400" cy="52388"/>
                      </a:xfrm>
                      <a:custGeom>
                        <a:avLst/>
                        <a:gdLst>
                          <a:gd name="T0" fmla="*/ 14 w 29"/>
                          <a:gd name="T1" fmla="*/ 0 h 58"/>
                          <a:gd name="T2" fmla="*/ 0 w 29"/>
                          <a:gd name="T3" fmla="*/ 15 h 58"/>
                          <a:gd name="T4" fmla="*/ 0 w 29"/>
                          <a:gd name="T5" fmla="*/ 44 h 58"/>
                          <a:gd name="T6" fmla="*/ 14 w 29"/>
                          <a:gd name="T7" fmla="*/ 58 h 58"/>
                          <a:gd name="T8" fmla="*/ 29 w 29"/>
                          <a:gd name="T9" fmla="*/ 44 h 58"/>
                          <a:gd name="T10" fmla="*/ 29 w 29"/>
                          <a:gd name="T11" fmla="*/ 15 h 58"/>
                          <a:gd name="T12" fmla="*/ 14 w 29"/>
                          <a:gd name="T13" fmla="*/ 0 h 58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</a:cxnLst>
                        <a:rect l="0" t="0" r="r" b="b"/>
                        <a:pathLst>
                          <a:path w="29" h="58">
                            <a:moveTo>
                              <a:pt x="14" y="0"/>
                            </a:moveTo>
                            <a:cubicBezTo>
                              <a:pt x="6" y="0"/>
                              <a:pt x="0" y="7"/>
                              <a:pt x="0" y="15"/>
                            </a:cubicBezTo>
                            <a:cubicBezTo>
                              <a:pt x="0" y="44"/>
                              <a:pt x="0" y="44"/>
                              <a:pt x="0" y="44"/>
                            </a:cubicBezTo>
                            <a:cubicBezTo>
                              <a:pt x="0" y="52"/>
                              <a:pt x="6" y="58"/>
                              <a:pt x="14" y="58"/>
                            </a:cubicBezTo>
                            <a:cubicBezTo>
                              <a:pt x="22" y="58"/>
                              <a:pt x="29" y="52"/>
                              <a:pt x="29" y="44"/>
                            </a:cubicBezTo>
                            <a:cubicBezTo>
                              <a:pt x="29" y="15"/>
                              <a:pt x="29" y="15"/>
                              <a:pt x="29" y="15"/>
                            </a:cubicBezTo>
                            <a:cubicBezTo>
                              <a:pt x="29" y="7"/>
                              <a:pt x="22" y="0"/>
                              <a:pt x="14" y="0"/>
                            </a:cubicBezTo>
                            <a:close/>
                          </a:path>
                        </a:pathLst>
                      </a:custGeom>
                      <a:solidFill>
                        <a:srgbClr val="4D4D4F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=""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algn="l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1200" b="0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/>
                          <a:cs typeface=""/>
                        </a:endParaRPr>
                      </a:p>
                    </p:txBody>
                  </p:sp>
                  <p:sp>
                    <p:nvSpPr>
                      <p:cNvPr id="2323" name="Freeform 28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4927601" y="2432050"/>
                        <a:ext cx="47625" cy="46038"/>
                      </a:xfrm>
                      <a:custGeom>
                        <a:avLst/>
                        <a:gdLst>
                          <a:gd name="T0" fmla="*/ 25 w 53"/>
                          <a:gd name="T1" fmla="*/ 7 h 51"/>
                          <a:gd name="T2" fmla="*/ 7 w 53"/>
                          <a:gd name="T3" fmla="*/ 25 h 51"/>
                          <a:gd name="T4" fmla="*/ 5 w 53"/>
                          <a:gd name="T5" fmla="*/ 45 h 51"/>
                          <a:gd name="T6" fmla="*/ 16 w 53"/>
                          <a:gd name="T7" fmla="*/ 51 h 51"/>
                          <a:gd name="T8" fmla="*/ 25 w 53"/>
                          <a:gd name="T9" fmla="*/ 47 h 51"/>
                          <a:gd name="T10" fmla="*/ 48 w 53"/>
                          <a:gd name="T11" fmla="*/ 25 h 51"/>
                          <a:gd name="T12" fmla="*/ 45 w 53"/>
                          <a:gd name="T13" fmla="*/ 5 h 51"/>
                          <a:gd name="T14" fmla="*/ 25 w 53"/>
                          <a:gd name="T15" fmla="*/ 7 h 51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  <a:cxn ang="0">
                            <a:pos x="T14" y="T15"/>
                          </a:cxn>
                        </a:cxnLst>
                        <a:rect l="0" t="0" r="r" b="b"/>
                        <a:pathLst>
                          <a:path w="53" h="51">
                            <a:moveTo>
                              <a:pt x="25" y="7"/>
                            </a:moveTo>
                            <a:cubicBezTo>
                              <a:pt x="20" y="14"/>
                              <a:pt x="14" y="20"/>
                              <a:pt x="7" y="25"/>
                            </a:cubicBezTo>
                            <a:cubicBezTo>
                              <a:pt x="1" y="30"/>
                              <a:pt x="0" y="39"/>
                              <a:pt x="5" y="45"/>
                            </a:cubicBezTo>
                            <a:cubicBezTo>
                              <a:pt x="8" y="49"/>
                              <a:pt x="12" y="51"/>
                              <a:pt x="16" y="51"/>
                            </a:cubicBezTo>
                            <a:cubicBezTo>
                              <a:pt x="20" y="51"/>
                              <a:pt x="23" y="50"/>
                              <a:pt x="25" y="47"/>
                            </a:cubicBezTo>
                            <a:cubicBezTo>
                              <a:pt x="34" y="41"/>
                              <a:pt x="41" y="33"/>
                              <a:pt x="48" y="25"/>
                            </a:cubicBezTo>
                            <a:cubicBezTo>
                              <a:pt x="53" y="19"/>
                              <a:pt x="52" y="9"/>
                              <a:pt x="45" y="5"/>
                            </a:cubicBezTo>
                            <a:cubicBezTo>
                              <a:pt x="39" y="0"/>
                              <a:pt x="30" y="1"/>
                              <a:pt x="25" y="7"/>
                            </a:cubicBezTo>
                            <a:close/>
                          </a:path>
                        </a:pathLst>
                      </a:custGeom>
                      <a:solidFill>
                        <a:srgbClr val="4D4D4F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=""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algn="l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1200" b="0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/>
                          <a:cs typeface=""/>
                        </a:endParaRPr>
                      </a:p>
                    </p:txBody>
                  </p:sp>
                  <p:sp>
                    <p:nvSpPr>
                      <p:cNvPr id="2324" name="Freeform 29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4968876" y="2360613"/>
                        <a:ext cx="30163" cy="52388"/>
                      </a:xfrm>
                      <a:custGeom>
                        <a:avLst/>
                        <a:gdLst>
                          <a:gd name="T0" fmla="*/ 19 w 34"/>
                          <a:gd name="T1" fmla="*/ 0 h 58"/>
                          <a:gd name="T2" fmla="*/ 5 w 34"/>
                          <a:gd name="T3" fmla="*/ 15 h 58"/>
                          <a:gd name="T4" fmla="*/ 2 w 34"/>
                          <a:gd name="T5" fmla="*/ 40 h 58"/>
                          <a:gd name="T6" fmla="*/ 13 w 34"/>
                          <a:gd name="T7" fmla="*/ 58 h 58"/>
                          <a:gd name="T8" fmla="*/ 16 w 34"/>
                          <a:gd name="T9" fmla="*/ 58 h 58"/>
                          <a:gd name="T10" fmla="*/ 30 w 34"/>
                          <a:gd name="T11" fmla="*/ 47 h 58"/>
                          <a:gd name="T12" fmla="*/ 34 w 34"/>
                          <a:gd name="T13" fmla="*/ 15 h 58"/>
                          <a:gd name="T14" fmla="*/ 34 w 34"/>
                          <a:gd name="T15" fmla="*/ 14 h 58"/>
                          <a:gd name="T16" fmla="*/ 19 w 34"/>
                          <a:gd name="T17" fmla="*/ 0 h 58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  <a:cxn ang="0">
                            <a:pos x="T14" y="T15"/>
                          </a:cxn>
                          <a:cxn ang="0">
                            <a:pos x="T16" y="T17"/>
                          </a:cxn>
                        </a:cxnLst>
                        <a:rect l="0" t="0" r="r" b="b"/>
                        <a:pathLst>
                          <a:path w="34" h="58">
                            <a:moveTo>
                              <a:pt x="19" y="0"/>
                            </a:moveTo>
                            <a:cubicBezTo>
                              <a:pt x="11" y="0"/>
                              <a:pt x="5" y="7"/>
                              <a:pt x="5" y="15"/>
                            </a:cubicBezTo>
                            <a:cubicBezTo>
                              <a:pt x="5" y="24"/>
                              <a:pt x="4" y="32"/>
                              <a:pt x="2" y="40"/>
                            </a:cubicBezTo>
                            <a:cubicBezTo>
                              <a:pt x="0" y="48"/>
                              <a:pt x="5" y="56"/>
                              <a:pt x="13" y="58"/>
                            </a:cubicBezTo>
                            <a:cubicBezTo>
                              <a:pt x="14" y="58"/>
                              <a:pt x="15" y="58"/>
                              <a:pt x="16" y="58"/>
                            </a:cubicBezTo>
                            <a:cubicBezTo>
                              <a:pt x="23" y="58"/>
                              <a:pt x="29" y="53"/>
                              <a:pt x="30" y="47"/>
                            </a:cubicBezTo>
                            <a:cubicBezTo>
                              <a:pt x="32" y="36"/>
                              <a:pt x="34" y="26"/>
                              <a:pt x="34" y="15"/>
                            </a:cubicBezTo>
                            <a:cubicBezTo>
                              <a:pt x="34" y="14"/>
                              <a:pt x="34" y="14"/>
                              <a:pt x="34" y="14"/>
                            </a:cubicBezTo>
                            <a:cubicBezTo>
                              <a:pt x="34" y="6"/>
                              <a:pt x="27" y="0"/>
                              <a:pt x="19" y="0"/>
                            </a:cubicBezTo>
                            <a:close/>
                          </a:path>
                        </a:pathLst>
                      </a:custGeom>
                      <a:solidFill>
                        <a:srgbClr val="4D4D4F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=""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algn="l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1200" b="0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/>
                          <a:cs typeface=""/>
                        </a:endParaRPr>
                      </a:p>
                    </p:txBody>
                  </p:sp>
                  <p:sp>
                    <p:nvSpPr>
                      <p:cNvPr id="2325" name="Freeform 30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4973638" y="2205038"/>
                        <a:ext cx="25400" cy="52388"/>
                      </a:xfrm>
                      <a:custGeom>
                        <a:avLst/>
                        <a:gdLst>
                          <a:gd name="T0" fmla="*/ 14 w 29"/>
                          <a:gd name="T1" fmla="*/ 0 h 58"/>
                          <a:gd name="T2" fmla="*/ 0 w 29"/>
                          <a:gd name="T3" fmla="*/ 15 h 58"/>
                          <a:gd name="T4" fmla="*/ 0 w 29"/>
                          <a:gd name="T5" fmla="*/ 43 h 58"/>
                          <a:gd name="T6" fmla="*/ 14 w 29"/>
                          <a:gd name="T7" fmla="*/ 58 h 58"/>
                          <a:gd name="T8" fmla="*/ 29 w 29"/>
                          <a:gd name="T9" fmla="*/ 43 h 58"/>
                          <a:gd name="T10" fmla="*/ 29 w 29"/>
                          <a:gd name="T11" fmla="*/ 15 h 58"/>
                          <a:gd name="T12" fmla="*/ 14 w 29"/>
                          <a:gd name="T13" fmla="*/ 0 h 58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</a:cxnLst>
                        <a:rect l="0" t="0" r="r" b="b"/>
                        <a:pathLst>
                          <a:path w="29" h="58">
                            <a:moveTo>
                              <a:pt x="14" y="0"/>
                            </a:moveTo>
                            <a:cubicBezTo>
                              <a:pt x="6" y="0"/>
                              <a:pt x="0" y="7"/>
                              <a:pt x="0" y="15"/>
                            </a:cubicBezTo>
                            <a:cubicBezTo>
                              <a:pt x="0" y="43"/>
                              <a:pt x="0" y="43"/>
                              <a:pt x="0" y="43"/>
                            </a:cubicBezTo>
                            <a:cubicBezTo>
                              <a:pt x="0" y="51"/>
                              <a:pt x="6" y="58"/>
                              <a:pt x="14" y="58"/>
                            </a:cubicBezTo>
                            <a:cubicBezTo>
                              <a:pt x="22" y="58"/>
                              <a:pt x="29" y="51"/>
                              <a:pt x="29" y="43"/>
                            </a:cubicBezTo>
                            <a:cubicBezTo>
                              <a:pt x="29" y="15"/>
                              <a:pt x="29" y="15"/>
                              <a:pt x="29" y="15"/>
                            </a:cubicBezTo>
                            <a:cubicBezTo>
                              <a:pt x="29" y="7"/>
                              <a:pt x="22" y="0"/>
                              <a:pt x="14" y="0"/>
                            </a:cubicBezTo>
                            <a:close/>
                          </a:path>
                        </a:pathLst>
                      </a:custGeom>
                      <a:solidFill>
                        <a:srgbClr val="4D4D4F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=""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algn="l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1200" b="0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/>
                          <a:cs typeface=""/>
                        </a:endParaRPr>
                      </a:p>
                    </p:txBody>
                  </p:sp>
                  <p:sp>
                    <p:nvSpPr>
                      <p:cNvPr id="2326" name="Freeform 31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4973638" y="2127250"/>
                        <a:ext cx="25400" cy="52388"/>
                      </a:xfrm>
                      <a:custGeom>
                        <a:avLst/>
                        <a:gdLst>
                          <a:gd name="T0" fmla="*/ 14 w 29"/>
                          <a:gd name="T1" fmla="*/ 0 h 58"/>
                          <a:gd name="T2" fmla="*/ 0 w 29"/>
                          <a:gd name="T3" fmla="*/ 15 h 58"/>
                          <a:gd name="T4" fmla="*/ 0 w 29"/>
                          <a:gd name="T5" fmla="*/ 43 h 58"/>
                          <a:gd name="T6" fmla="*/ 14 w 29"/>
                          <a:gd name="T7" fmla="*/ 58 h 58"/>
                          <a:gd name="T8" fmla="*/ 29 w 29"/>
                          <a:gd name="T9" fmla="*/ 43 h 58"/>
                          <a:gd name="T10" fmla="*/ 29 w 29"/>
                          <a:gd name="T11" fmla="*/ 15 h 58"/>
                          <a:gd name="T12" fmla="*/ 14 w 29"/>
                          <a:gd name="T13" fmla="*/ 0 h 58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</a:cxnLst>
                        <a:rect l="0" t="0" r="r" b="b"/>
                        <a:pathLst>
                          <a:path w="29" h="58">
                            <a:moveTo>
                              <a:pt x="14" y="0"/>
                            </a:moveTo>
                            <a:cubicBezTo>
                              <a:pt x="6" y="0"/>
                              <a:pt x="0" y="7"/>
                              <a:pt x="0" y="15"/>
                            </a:cubicBezTo>
                            <a:cubicBezTo>
                              <a:pt x="0" y="43"/>
                              <a:pt x="0" y="43"/>
                              <a:pt x="0" y="43"/>
                            </a:cubicBezTo>
                            <a:cubicBezTo>
                              <a:pt x="0" y="51"/>
                              <a:pt x="6" y="58"/>
                              <a:pt x="14" y="58"/>
                            </a:cubicBezTo>
                            <a:cubicBezTo>
                              <a:pt x="22" y="58"/>
                              <a:pt x="29" y="51"/>
                              <a:pt x="29" y="43"/>
                            </a:cubicBezTo>
                            <a:cubicBezTo>
                              <a:pt x="29" y="15"/>
                              <a:pt x="29" y="15"/>
                              <a:pt x="29" y="15"/>
                            </a:cubicBezTo>
                            <a:cubicBezTo>
                              <a:pt x="29" y="7"/>
                              <a:pt x="22" y="0"/>
                              <a:pt x="14" y="0"/>
                            </a:cubicBezTo>
                            <a:close/>
                          </a:path>
                        </a:pathLst>
                      </a:custGeom>
                      <a:solidFill>
                        <a:srgbClr val="4D4D4F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=""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algn="l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1200" b="0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/>
                          <a:cs typeface=""/>
                        </a:endParaRPr>
                      </a:p>
                    </p:txBody>
                  </p:sp>
                  <p:sp>
                    <p:nvSpPr>
                      <p:cNvPr id="2327" name="Freeform 32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4546601" y="2470150"/>
                        <a:ext cx="53975" cy="33338"/>
                      </a:xfrm>
                      <a:custGeom>
                        <a:avLst/>
                        <a:gdLst>
                          <a:gd name="T0" fmla="*/ 46 w 60"/>
                          <a:gd name="T1" fmla="*/ 8 h 37"/>
                          <a:gd name="T2" fmla="*/ 21 w 60"/>
                          <a:gd name="T3" fmla="*/ 2 h 37"/>
                          <a:gd name="T4" fmla="*/ 3 w 60"/>
                          <a:gd name="T5" fmla="*/ 11 h 37"/>
                          <a:gd name="T6" fmla="*/ 12 w 60"/>
                          <a:gd name="T7" fmla="*/ 30 h 37"/>
                          <a:gd name="T8" fmla="*/ 43 w 60"/>
                          <a:gd name="T9" fmla="*/ 37 h 37"/>
                          <a:gd name="T10" fmla="*/ 44 w 60"/>
                          <a:gd name="T11" fmla="*/ 37 h 37"/>
                          <a:gd name="T12" fmla="*/ 59 w 60"/>
                          <a:gd name="T13" fmla="*/ 24 h 37"/>
                          <a:gd name="T14" fmla="*/ 46 w 60"/>
                          <a:gd name="T15" fmla="*/ 8 h 37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  <a:cxn ang="0">
                            <a:pos x="T14" y="T15"/>
                          </a:cxn>
                        </a:cxnLst>
                        <a:rect l="0" t="0" r="r" b="b"/>
                        <a:pathLst>
                          <a:path w="60" h="37">
                            <a:moveTo>
                              <a:pt x="46" y="8"/>
                            </a:moveTo>
                            <a:cubicBezTo>
                              <a:pt x="38" y="7"/>
                              <a:pt x="29" y="5"/>
                              <a:pt x="21" y="2"/>
                            </a:cubicBezTo>
                            <a:cubicBezTo>
                              <a:pt x="14" y="0"/>
                              <a:pt x="6" y="4"/>
                              <a:pt x="3" y="11"/>
                            </a:cubicBezTo>
                            <a:cubicBezTo>
                              <a:pt x="0" y="19"/>
                              <a:pt x="4" y="27"/>
                              <a:pt x="12" y="30"/>
                            </a:cubicBezTo>
                            <a:cubicBezTo>
                              <a:pt x="22" y="33"/>
                              <a:pt x="32" y="36"/>
                              <a:pt x="43" y="37"/>
                            </a:cubicBezTo>
                            <a:cubicBezTo>
                              <a:pt x="43" y="37"/>
                              <a:pt x="44" y="37"/>
                              <a:pt x="44" y="37"/>
                            </a:cubicBezTo>
                            <a:cubicBezTo>
                              <a:pt x="51" y="37"/>
                              <a:pt x="58" y="32"/>
                              <a:pt x="59" y="24"/>
                            </a:cubicBezTo>
                            <a:cubicBezTo>
                              <a:pt x="60" y="16"/>
                              <a:pt x="54" y="9"/>
                              <a:pt x="46" y="8"/>
                            </a:cubicBezTo>
                            <a:close/>
                          </a:path>
                        </a:pathLst>
                      </a:custGeom>
                      <a:solidFill>
                        <a:srgbClr val="4D4D4F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=""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algn="l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1200" b="0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/>
                          <a:cs typeface=""/>
                        </a:endParaRPr>
                      </a:p>
                    </p:txBody>
                  </p:sp>
                  <p:sp>
                    <p:nvSpPr>
                      <p:cNvPr id="2328" name="Freeform 33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4781551" y="2478088"/>
                        <a:ext cx="50800" cy="25400"/>
                      </a:xfrm>
                      <a:custGeom>
                        <a:avLst/>
                        <a:gdLst>
                          <a:gd name="T0" fmla="*/ 43 w 57"/>
                          <a:gd name="T1" fmla="*/ 0 h 29"/>
                          <a:gd name="T2" fmla="*/ 14 w 57"/>
                          <a:gd name="T3" fmla="*/ 0 h 29"/>
                          <a:gd name="T4" fmla="*/ 0 w 57"/>
                          <a:gd name="T5" fmla="*/ 15 h 29"/>
                          <a:gd name="T6" fmla="*/ 14 w 57"/>
                          <a:gd name="T7" fmla="*/ 29 h 29"/>
                          <a:gd name="T8" fmla="*/ 43 w 57"/>
                          <a:gd name="T9" fmla="*/ 29 h 29"/>
                          <a:gd name="T10" fmla="*/ 57 w 57"/>
                          <a:gd name="T11" fmla="*/ 15 h 29"/>
                          <a:gd name="T12" fmla="*/ 43 w 57"/>
                          <a:gd name="T13" fmla="*/ 0 h 29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</a:cxnLst>
                        <a:rect l="0" t="0" r="r" b="b"/>
                        <a:pathLst>
                          <a:path w="57" h="29">
                            <a:moveTo>
                              <a:pt x="43" y="0"/>
                            </a:moveTo>
                            <a:cubicBezTo>
                              <a:pt x="14" y="0"/>
                              <a:pt x="14" y="0"/>
                              <a:pt x="14" y="0"/>
                            </a:cubicBezTo>
                            <a:cubicBezTo>
                              <a:pt x="6" y="0"/>
                              <a:pt x="0" y="7"/>
                              <a:pt x="0" y="15"/>
                            </a:cubicBezTo>
                            <a:cubicBezTo>
                              <a:pt x="0" y="23"/>
                              <a:pt x="6" y="29"/>
                              <a:pt x="14" y="29"/>
                            </a:cubicBezTo>
                            <a:cubicBezTo>
                              <a:pt x="43" y="29"/>
                              <a:pt x="43" y="29"/>
                              <a:pt x="43" y="29"/>
                            </a:cubicBezTo>
                            <a:cubicBezTo>
                              <a:pt x="51" y="29"/>
                              <a:pt x="57" y="23"/>
                              <a:pt x="57" y="15"/>
                            </a:cubicBezTo>
                            <a:cubicBezTo>
                              <a:pt x="57" y="7"/>
                              <a:pt x="51" y="0"/>
                              <a:pt x="43" y="0"/>
                            </a:cubicBezTo>
                            <a:close/>
                          </a:path>
                        </a:pathLst>
                      </a:custGeom>
                      <a:solidFill>
                        <a:srgbClr val="4D4D4F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=""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algn="l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1200" b="0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/>
                          <a:cs typeface=""/>
                        </a:endParaRPr>
                      </a:p>
                    </p:txBody>
                  </p:sp>
                  <p:sp>
                    <p:nvSpPr>
                      <p:cNvPr id="2329" name="Freeform 34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4703763" y="2478088"/>
                        <a:ext cx="50800" cy="25400"/>
                      </a:xfrm>
                      <a:custGeom>
                        <a:avLst/>
                        <a:gdLst>
                          <a:gd name="T0" fmla="*/ 44 w 58"/>
                          <a:gd name="T1" fmla="*/ 0 h 29"/>
                          <a:gd name="T2" fmla="*/ 15 w 58"/>
                          <a:gd name="T3" fmla="*/ 0 h 29"/>
                          <a:gd name="T4" fmla="*/ 0 w 58"/>
                          <a:gd name="T5" fmla="*/ 15 h 29"/>
                          <a:gd name="T6" fmla="*/ 15 w 58"/>
                          <a:gd name="T7" fmla="*/ 29 h 29"/>
                          <a:gd name="T8" fmla="*/ 44 w 58"/>
                          <a:gd name="T9" fmla="*/ 29 h 29"/>
                          <a:gd name="T10" fmla="*/ 58 w 58"/>
                          <a:gd name="T11" fmla="*/ 15 h 29"/>
                          <a:gd name="T12" fmla="*/ 44 w 58"/>
                          <a:gd name="T13" fmla="*/ 0 h 29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</a:cxnLst>
                        <a:rect l="0" t="0" r="r" b="b"/>
                        <a:pathLst>
                          <a:path w="58" h="29">
                            <a:moveTo>
                              <a:pt x="44" y="0"/>
                            </a:moveTo>
                            <a:cubicBezTo>
                              <a:pt x="15" y="0"/>
                              <a:pt x="15" y="0"/>
                              <a:pt x="15" y="0"/>
                            </a:cubicBezTo>
                            <a:cubicBezTo>
                              <a:pt x="7" y="0"/>
                              <a:pt x="0" y="7"/>
                              <a:pt x="0" y="15"/>
                            </a:cubicBezTo>
                            <a:cubicBezTo>
                              <a:pt x="0" y="23"/>
                              <a:pt x="7" y="29"/>
                              <a:pt x="15" y="29"/>
                            </a:cubicBezTo>
                            <a:cubicBezTo>
                              <a:pt x="44" y="29"/>
                              <a:pt x="44" y="29"/>
                              <a:pt x="44" y="29"/>
                            </a:cubicBezTo>
                            <a:cubicBezTo>
                              <a:pt x="51" y="29"/>
                              <a:pt x="58" y="23"/>
                              <a:pt x="58" y="15"/>
                            </a:cubicBezTo>
                            <a:cubicBezTo>
                              <a:pt x="58" y="7"/>
                              <a:pt x="51" y="0"/>
                              <a:pt x="44" y="0"/>
                            </a:cubicBezTo>
                            <a:close/>
                          </a:path>
                        </a:pathLst>
                      </a:custGeom>
                      <a:solidFill>
                        <a:srgbClr val="4D4D4F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=""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algn="l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1200" b="0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/>
                          <a:cs typeface=""/>
                        </a:endParaRPr>
                      </a:p>
                    </p:txBody>
                  </p:sp>
                  <p:sp>
                    <p:nvSpPr>
                      <p:cNvPr id="2330" name="Freeform 35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4625976" y="2478088"/>
                        <a:ext cx="52388" cy="25400"/>
                      </a:xfrm>
                      <a:custGeom>
                        <a:avLst/>
                        <a:gdLst>
                          <a:gd name="T0" fmla="*/ 43 w 58"/>
                          <a:gd name="T1" fmla="*/ 0 h 29"/>
                          <a:gd name="T2" fmla="*/ 15 w 58"/>
                          <a:gd name="T3" fmla="*/ 0 h 29"/>
                          <a:gd name="T4" fmla="*/ 0 w 58"/>
                          <a:gd name="T5" fmla="*/ 15 h 29"/>
                          <a:gd name="T6" fmla="*/ 15 w 58"/>
                          <a:gd name="T7" fmla="*/ 29 h 29"/>
                          <a:gd name="T8" fmla="*/ 43 w 58"/>
                          <a:gd name="T9" fmla="*/ 29 h 29"/>
                          <a:gd name="T10" fmla="*/ 58 w 58"/>
                          <a:gd name="T11" fmla="*/ 15 h 29"/>
                          <a:gd name="T12" fmla="*/ 43 w 58"/>
                          <a:gd name="T13" fmla="*/ 0 h 29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</a:cxnLst>
                        <a:rect l="0" t="0" r="r" b="b"/>
                        <a:pathLst>
                          <a:path w="58" h="29">
                            <a:moveTo>
                              <a:pt x="43" y="0"/>
                            </a:moveTo>
                            <a:cubicBezTo>
                              <a:pt x="15" y="0"/>
                              <a:pt x="15" y="0"/>
                              <a:pt x="15" y="0"/>
                            </a:cubicBezTo>
                            <a:cubicBezTo>
                              <a:pt x="7" y="0"/>
                              <a:pt x="0" y="7"/>
                              <a:pt x="0" y="15"/>
                            </a:cubicBezTo>
                            <a:cubicBezTo>
                              <a:pt x="0" y="23"/>
                              <a:pt x="7" y="29"/>
                              <a:pt x="15" y="29"/>
                            </a:cubicBezTo>
                            <a:cubicBezTo>
                              <a:pt x="43" y="29"/>
                              <a:pt x="43" y="29"/>
                              <a:pt x="43" y="29"/>
                            </a:cubicBezTo>
                            <a:cubicBezTo>
                              <a:pt x="51" y="29"/>
                              <a:pt x="58" y="23"/>
                              <a:pt x="58" y="15"/>
                            </a:cubicBezTo>
                            <a:cubicBezTo>
                              <a:pt x="58" y="7"/>
                              <a:pt x="51" y="0"/>
                              <a:pt x="43" y="0"/>
                            </a:cubicBezTo>
                            <a:close/>
                          </a:path>
                        </a:pathLst>
                      </a:custGeom>
                      <a:solidFill>
                        <a:srgbClr val="4D4D4F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=""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algn="l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1200" b="0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/>
                          <a:cs typeface=""/>
                        </a:endParaRPr>
                      </a:p>
                    </p:txBody>
                  </p:sp>
                  <p:sp>
                    <p:nvSpPr>
                      <p:cNvPr id="2331" name="Freeform 38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4859338" y="2473325"/>
                        <a:ext cx="52388" cy="30163"/>
                      </a:xfrm>
                      <a:custGeom>
                        <a:avLst/>
                        <a:gdLst>
                          <a:gd name="T0" fmla="*/ 39 w 58"/>
                          <a:gd name="T1" fmla="*/ 2 h 34"/>
                          <a:gd name="T2" fmla="*/ 14 w 58"/>
                          <a:gd name="T3" fmla="*/ 5 h 34"/>
                          <a:gd name="T4" fmla="*/ 0 w 58"/>
                          <a:gd name="T5" fmla="*/ 20 h 34"/>
                          <a:gd name="T6" fmla="*/ 14 w 58"/>
                          <a:gd name="T7" fmla="*/ 34 h 34"/>
                          <a:gd name="T8" fmla="*/ 14 w 58"/>
                          <a:gd name="T9" fmla="*/ 34 h 34"/>
                          <a:gd name="T10" fmla="*/ 46 w 58"/>
                          <a:gd name="T11" fmla="*/ 30 h 34"/>
                          <a:gd name="T12" fmla="*/ 56 w 58"/>
                          <a:gd name="T13" fmla="*/ 12 h 34"/>
                          <a:gd name="T14" fmla="*/ 39 w 58"/>
                          <a:gd name="T15" fmla="*/ 2 h 34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  <a:cxn ang="0">
                            <a:pos x="T14" y="T15"/>
                          </a:cxn>
                        </a:cxnLst>
                        <a:rect l="0" t="0" r="r" b="b"/>
                        <a:pathLst>
                          <a:path w="58" h="34">
                            <a:moveTo>
                              <a:pt x="39" y="2"/>
                            </a:moveTo>
                            <a:cubicBezTo>
                              <a:pt x="31" y="4"/>
                              <a:pt x="22" y="5"/>
                              <a:pt x="14" y="5"/>
                            </a:cubicBezTo>
                            <a:cubicBezTo>
                              <a:pt x="6" y="5"/>
                              <a:pt x="0" y="12"/>
                              <a:pt x="0" y="20"/>
                            </a:cubicBezTo>
                            <a:cubicBezTo>
                              <a:pt x="0" y="28"/>
                              <a:pt x="6" y="34"/>
                              <a:pt x="14" y="34"/>
                            </a:cubicBezTo>
                            <a:cubicBezTo>
                              <a:pt x="14" y="34"/>
                              <a:pt x="14" y="34"/>
                              <a:pt x="14" y="34"/>
                            </a:cubicBezTo>
                            <a:cubicBezTo>
                              <a:pt x="25" y="34"/>
                              <a:pt x="36" y="32"/>
                              <a:pt x="46" y="30"/>
                            </a:cubicBezTo>
                            <a:cubicBezTo>
                              <a:pt x="54" y="28"/>
                              <a:pt x="58" y="20"/>
                              <a:pt x="56" y="12"/>
                            </a:cubicBezTo>
                            <a:cubicBezTo>
                              <a:pt x="55" y="5"/>
                              <a:pt x="47" y="0"/>
                              <a:pt x="39" y="2"/>
                            </a:cubicBezTo>
                            <a:close/>
                          </a:path>
                        </a:pathLst>
                      </a:custGeom>
                      <a:solidFill>
                        <a:srgbClr val="4D4D4F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=""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algn="l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1200" b="0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/>
                          <a:cs typeface=""/>
                        </a:endParaRPr>
                      </a:p>
                    </p:txBody>
                  </p:sp>
                </p:grpSp>
                <p:sp>
                  <p:nvSpPr>
                    <p:cNvPr id="2308" name="Freeform 12"/>
                    <p:cNvSpPr>
                      <a:spLocks noEditPoints="1"/>
                    </p:cNvSpPr>
                    <p:nvPr/>
                  </p:nvSpPr>
                  <p:spPr bwMode="auto">
                    <a:xfrm>
                      <a:off x="5406483" y="2446478"/>
                      <a:ext cx="214941" cy="191168"/>
                    </a:xfrm>
                    <a:custGeom>
                      <a:avLst/>
                      <a:gdLst>
                        <a:gd name="T0" fmla="*/ 419 w 494"/>
                        <a:gd name="T1" fmla="*/ 299 h 448"/>
                        <a:gd name="T2" fmla="*/ 403 w 494"/>
                        <a:gd name="T3" fmla="*/ 301 h 448"/>
                        <a:gd name="T4" fmla="*/ 302 w 494"/>
                        <a:gd name="T5" fmla="*/ 126 h 448"/>
                        <a:gd name="T6" fmla="*/ 322 w 494"/>
                        <a:gd name="T7" fmla="*/ 75 h 448"/>
                        <a:gd name="T8" fmla="*/ 247 w 494"/>
                        <a:gd name="T9" fmla="*/ 0 h 448"/>
                        <a:gd name="T10" fmla="*/ 173 w 494"/>
                        <a:gd name="T11" fmla="*/ 75 h 448"/>
                        <a:gd name="T12" fmla="*/ 193 w 494"/>
                        <a:gd name="T13" fmla="*/ 126 h 448"/>
                        <a:gd name="T14" fmla="*/ 91 w 494"/>
                        <a:gd name="T15" fmla="*/ 301 h 448"/>
                        <a:gd name="T16" fmla="*/ 75 w 494"/>
                        <a:gd name="T17" fmla="*/ 299 h 448"/>
                        <a:gd name="T18" fmla="*/ 0 w 494"/>
                        <a:gd name="T19" fmla="*/ 373 h 448"/>
                        <a:gd name="T20" fmla="*/ 75 w 494"/>
                        <a:gd name="T21" fmla="*/ 448 h 448"/>
                        <a:gd name="T22" fmla="*/ 146 w 494"/>
                        <a:gd name="T23" fmla="*/ 395 h 448"/>
                        <a:gd name="T24" fmla="*/ 349 w 494"/>
                        <a:gd name="T25" fmla="*/ 395 h 448"/>
                        <a:gd name="T26" fmla="*/ 419 w 494"/>
                        <a:gd name="T27" fmla="*/ 448 h 448"/>
                        <a:gd name="T28" fmla="*/ 494 w 494"/>
                        <a:gd name="T29" fmla="*/ 373 h 448"/>
                        <a:gd name="T30" fmla="*/ 419 w 494"/>
                        <a:gd name="T31" fmla="*/ 299 h 448"/>
                        <a:gd name="T32" fmla="*/ 349 w 494"/>
                        <a:gd name="T33" fmla="*/ 351 h 448"/>
                        <a:gd name="T34" fmla="*/ 146 w 494"/>
                        <a:gd name="T35" fmla="*/ 351 h 448"/>
                        <a:gd name="T36" fmla="*/ 130 w 494"/>
                        <a:gd name="T37" fmla="*/ 323 h 448"/>
                        <a:gd name="T38" fmla="*/ 231 w 494"/>
                        <a:gd name="T39" fmla="*/ 148 h 448"/>
                        <a:gd name="T40" fmla="*/ 247 w 494"/>
                        <a:gd name="T41" fmla="*/ 150 h 448"/>
                        <a:gd name="T42" fmla="*/ 264 w 494"/>
                        <a:gd name="T43" fmla="*/ 148 h 448"/>
                        <a:gd name="T44" fmla="*/ 365 w 494"/>
                        <a:gd name="T45" fmla="*/ 323 h 448"/>
                        <a:gd name="T46" fmla="*/ 349 w 494"/>
                        <a:gd name="T47" fmla="*/ 351 h 44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</a:cxnLst>
                      <a:rect l="0" t="0" r="r" b="b"/>
                      <a:pathLst>
                        <a:path w="494" h="448">
                          <a:moveTo>
                            <a:pt x="419" y="299"/>
                          </a:moveTo>
                          <a:cubicBezTo>
                            <a:pt x="414" y="299"/>
                            <a:pt x="408" y="300"/>
                            <a:pt x="403" y="301"/>
                          </a:cubicBezTo>
                          <a:cubicBezTo>
                            <a:pt x="302" y="126"/>
                            <a:pt x="302" y="126"/>
                            <a:pt x="302" y="126"/>
                          </a:cubicBezTo>
                          <a:cubicBezTo>
                            <a:pt x="314" y="112"/>
                            <a:pt x="322" y="95"/>
                            <a:pt x="322" y="75"/>
                          </a:cubicBezTo>
                          <a:cubicBezTo>
                            <a:pt x="322" y="34"/>
                            <a:pt x="288" y="0"/>
                            <a:pt x="247" y="0"/>
                          </a:cubicBezTo>
                          <a:cubicBezTo>
                            <a:pt x="206" y="0"/>
                            <a:pt x="173" y="34"/>
                            <a:pt x="173" y="75"/>
                          </a:cubicBezTo>
                          <a:cubicBezTo>
                            <a:pt x="173" y="95"/>
                            <a:pt x="180" y="112"/>
                            <a:pt x="193" y="126"/>
                          </a:cubicBezTo>
                          <a:cubicBezTo>
                            <a:pt x="91" y="301"/>
                            <a:pt x="91" y="301"/>
                            <a:pt x="91" y="301"/>
                          </a:cubicBezTo>
                          <a:cubicBezTo>
                            <a:pt x="86" y="300"/>
                            <a:pt x="81" y="299"/>
                            <a:pt x="75" y="299"/>
                          </a:cubicBezTo>
                          <a:cubicBezTo>
                            <a:pt x="34" y="299"/>
                            <a:pt x="0" y="332"/>
                            <a:pt x="0" y="373"/>
                          </a:cubicBezTo>
                          <a:cubicBezTo>
                            <a:pt x="0" y="415"/>
                            <a:pt x="34" y="448"/>
                            <a:pt x="75" y="448"/>
                          </a:cubicBezTo>
                          <a:cubicBezTo>
                            <a:pt x="108" y="448"/>
                            <a:pt x="136" y="426"/>
                            <a:pt x="146" y="395"/>
                          </a:cubicBezTo>
                          <a:cubicBezTo>
                            <a:pt x="349" y="395"/>
                            <a:pt x="349" y="395"/>
                            <a:pt x="349" y="395"/>
                          </a:cubicBezTo>
                          <a:cubicBezTo>
                            <a:pt x="358" y="426"/>
                            <a:pt x="386" y="448"/>
                            <a:pt x="419" y="448"/>
                          </a:cubicBezTo>
                          <a:cubicBezTo>
                            <a:pt x="461" y="448"/>
                            <a:pt x="494" y="415"/>
                            <a:pt x="494" y="373"/>
                          </a:cubicBezTo>
                          <a:cubicBezTo>
                            <a:pt x="494" y="332"/>
                            <a:pt x="461" y="299"/>
                            <a:pt x="419" y="299"/>
                          </a:cubicBezTo>
                          <a:close/>
                          <a:moveTo>
                            <a:pt x="349" y="351"/>
                          </a:moveTo>
                          <a:cubicBezTo>
                            <a:pt x="146" y="351"/>
                            <a:pt x="146" y="351"/>
                            <a:pt x="146" y="351"/>
                          </a:cubicBezTo>
                          <a:cubicBezTo>
                            <a:pt x="142" y="341"/>
                            <a:pt x="137" y="331"/>
                            <a:pt x="130" y="323"/>
                          </a:cubicBezTo>
                          <a:cubicBezTo>
                            <a:pt x="231" y="148"/>
                            <a:pt x="231" y="148"/>
                            <a:pt x="231" y="148"/>
                          </a:cubicBezTo>
                          <a:cubicBezTo>
                            <a:pt x="236" y="149"/>
                            <a:pt x="242" y="150"/>
                            <a:pt x="247" y="150"/>
                          </a:cubicBezTo>
                          <a:cubicBezTo>
                            <a:pt x="253" y="150"/>
                            <a:pt x="258" y="149"/>
                            <a:pt x="264" y="148"/>
                          </a:cubicBezTo>
                          <a:cubicBezTo>
                            <a:pt x="365" y="323"/>
                            <a:pt x="365" y="323"/>
                            <a:pt x="365" y="323"/>
                          </a:cubicBezTo>
                          <a:cubicBezTo>
                            <a:pt x="358" y="331"/>
                            <a:pt x="352" y="341"/>
                            <a:pt x="349" y="351"/>
                          </a:cubicBezTo>
                          <a:close/>
                        </a:path>
                      </a:pathLst>
                    </a:custGeom>
                    <a:solidFill>
                      <a:sysClr val="window" lastClr="FFFFFF"/>
                    </a:solidFill>
                    <a:ln>
                      <a:noFill/>
                    </a:ln>
                    <a:extLst/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algn="l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200" b="0" i="0" u="none" strike="noStrike" kern="0" cap="none" spc="0" normalizeH="0" baseline="0" noProof="0" dirty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Arial"/>
                        <a:cs typeface=""/>
                      </a:endParaRPr>
                    </a:p>
                  </p:txBody>
                </p:sp>
              </p:grpSp>
            </p:grpSp>
            <p:grpSp>
              <p:nvGrpSpPr>
                <p:cNvPr id="2249" name="Group 2248"/>
                <p:cNvGrpSpPr/>
                <p:nvPr/>
              </p:nvGrpSpPr>
              <p:grpSpPr>
                <a:xfrm>
                  <a:off x="3744250" y="3274323"/>
                  <a:ext cx="309857" cy="268010"/>
                  <a:chOff x="5310724" y="2352924"/>
                  <a:chExt cx="398754" cy="374816"/>
                </a:xfrm>
              </p:grpSpPr>
              <p:sp>
                <p:nvSpPr>
                  <p:cNvPr id="2278" name="Rounded Rectangle 2277"/>
                  <p:cNvSpPr/>
                  <p:nvPr/>
                </p:nvSpPr>
                <p:spPr>
                  <a:xfrm>
                    <a:off x="5351561" y="2386601"/>
                    <a:ext cx="308105" cy="310923"/>
                  </a:xfrm>
                  <a:prstGeom prst="roundRect">
                    <a:avLst/>
                  </a:prstGeom>
                  <a:solidFill>
                    <a:srgbClr val="9BBB59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 smtClean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Arial"/>
                      <a:ea typeface=""/>
                      <a:cs typeface=""/>
                    </a:endParaRPr>
                  </a:p>
                </p:txBody>
              </p:sp>
              <p:grpSp>
                <p:nvGrpSpPr>
                  <p:cNvPr id="2279" name="Group 2278"/>
                  <p:cNvGrpSpPr/>
                  <p:nvPr/>
                </p:nvGrpSpPr>
                <p:grpSpPr>
                  <a:xfrm>
                    <a:off x="5310724" y="2352924"/>
                    <a:ext cx="398754" cy="374816"/>
                    <a:chOff x="5310724" y="2352924"/>
                    <a:chExt cx="398754" cy="374816"/>
                  </a:xfrm>
                </p:grpSpPr>
                <p:grpSp>
                  <p:nvGrpSpPr>
                    <p:cNvPr id="2280" name="Group 2279"/>
                    <p:cNvGrpSpPr/>
                    <p:nvPr/>
                  </p:nvGrpSpPr>
                  <p:grpSpPr>
                    <a:xfrm rot="5400000">
                      <a:off x="5322693" y="2340955"/>
                      <a:ext cx="374816" cy="398754"/>
                      <a:chOff x="4471988" y="1985963"/>
                      <a:chExt cx="527051" cy="517525"/>
                    </a:xfrm>
                  </p:grpSpPr>
                  <p:sp>
                    <p:nvSpPr>
                      <p:cNvPr id="2282" name="Freeform 13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4471988" y="2117725"/>
                        <a:ext cx="25400" cy="50800"/>
                      </a:xfrm>
                      <a:custGeom>
                        <a:avLst/>
                        <a:gdLst>
                          <a:gd name="T0" fmla="*/ 14 w 29"/>
                          <a:gd name="T1" fmla="*/ 57 h 57"/>
                          <a:gd name="T2" fmla="*/ 29 w 29"/>
                          <a:gd name="T3" fmla="*/ 43 h 57"/>
                          <a:gd name="T4" fmla="*/ 29 w 29"/>
                          <a:gd name="T5" fmla="*/ 14 h 57"/>
                          <a:gd name="T6" fmla="*/ 14 w 29"/>
                          <a:gd name="T7" fmla="*/ 0 h 57"/>
                          <a:gd name="T8" fmla="*/ 0 w 29"/>
                          <a:gd name="T9" fmla="*/ 14 h 57"/>
                          <a:gd name="T10" fmla="*/ 0 w 29"/>
                          <a:gd name="T11" fmla="*/ 43 h 57"/>
                          <a:gd name="T12" fmla="*/ 14 w 29"/>
                          <a:gd name="T13" fmla="*/ 57 h 57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</a:cxnLst>
                        <a:rect l="0" t="0" r="r" b="b"/>
                        <a:pathLst>
                          <a:path w="29" h="57">
                            <a:moveTo>
                              <a:pt x="14" y="57"/>
                            </a:moveTo>
                            <a:cubicBezTo>
                              <a:pt x="22" y="57"/>
                              <a:pt x="29" y="51"/>
                              <a:pt x="29" y="43"/>
                            </a:cubicBezTo>
                            <a:cubicBezTo>
                              <a:pt x="29" y="14"/>
                              <a:pt x="29" y="14"/>
                              <a:pt x="29" y="14"/>
                            </a:cubicBezTo>
                            <a:cubicBezTo>
                              <a:pt x="29" y="6"/>
                              <a:pt x="22" y="0"/>
                              <a:pt x="14" y="0"/>
                            </a:cubicBezTo>
                            <a:cubicBezTo>
                              <a:pt x="7" y="0"/>
                              <a:pt x="0" y="6"/>
                              <a:pt x="0" y="14"/>
                            </a:cubicBezTo>
                            <a:cubicBezTo>
                              <a:pt x="0" y="43"/>
                              <a:pt x="0" y="43"/>
                              <a:pt x="0" y="43"/>
                            </a:cubicBezTo>
                            <a:cubicBezTo>
                              <a:pt x="0" y="51"/>
                              <a:pt x="7" y="57"/>
                              <a:pt x="14" y="57"/>
                            </a:cubicBezTo>
                            <a:close/>
                          </a:path>
                        </a:pathLst>
                      </a:custGeom>
                      <a:solidFill>
                        <a:srgbClr val="4D4D4F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=""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algn="l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1200" b="0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/>
                          <a:cs typeface=""/>
                        </a:endParaRPr>
                      </a:p>
                    </p:txBody>
                  </p:sp>
                  <p:sp>
                    <p:nvSpPr>
                      <p:cNvPr id="2283" name="Freeform 14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4471988" y="2271713"/>
                        <a:ext cx="25400" cy="52388"/>
                      </a:xfrm>
                      <a:custGeom>
                        <a:avLst/>
                        <a:gdLst>
                          <a:gd name="T0" fmla="*/ 14 w 29"/>
                          <a:gd name="T1" fmla="*/ 58 h 58"/>
                          <a:gd name="T2" fmla="*/ 29 w 29"/>
                          <a:gd name="T3" fmla="*/ 43 h 58"/>
                          <a:gd name="T4" fmla="*/ 29 w 29"/>
                          <a:gd name="T5" fmla="*/ 15 h 58"/>
                          <a:gd name="T6" fmla="*/ 14 w 29"/>
                          <a:gd name="T7" fmla="*/ 0 h 58"/>
                          <a:gd name="T8" fmla="*/ 0 w 29"/>
                          <a:gd name="T9" fmla="*/ 15 h 58"/>
                          <a:gd name="T10" fmla="*/ 0 w 29"/>
                          <a:gd name="T11" fmla="*/ 43 h 58"/>
                          <a:gd name="T12" fmla="*/ 14 w 29"/>
                          <a:gd name="T13" fmla="*/ 58 h 58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</a:cxnLst>
                        <a:rect l="0" t="0" r="r" b="b"/>
                        <a:pathLst>
                          <a:path w="29" h="58">
                            <a:moveTo>
                              <a:pt x="14" y="58"/>
                            </a:moveTo>
                            <a:cubicBezTo>
                              <a:pt x="22" y="58"/>
                              <a:pt x="29" y="51"/>
                              <a:pt x="29" y="43"/>
                            </a:cubicBezTo>
                            <a:cubicBezTo>
                              <a:pt x="29" y="15"/>
                              <a:pt x="29" y="15"/>
                              <a:pt x="29" y="15"/>
                            </a:cubicBezTo>
                            <a:cubicBezTo>
                              <a:pt x="29" y="7"/>
                              <a:pt x="22" y="0"/>
                              <a:pt x="14" y="0"/>
                            </a:cubicBezTo>
                            <a:cubicBezTo>
                              <a:pt x="7" y="0"/>
                              <a:pt x="0" y="7"/>
                              <a:pt x="0" y="15"/>
                            </a:cubicBezTo>
                            <a:cubicBezTo>
                              <a:pt x="0" y="43"/>
                              <a:pt x="0" y="43"/>
                              <a:pt x="0" y="43"/>
                            </a:cubicBezTo>
                            <a:cubicBezTo>
                              <a:pt x="0" y="51"/>
                              <a:pt x="7" y="58"/>
                              <a:pt x="14" y="58"/>
                            </a:cubicBezTo>
                            <a:close/>
                          </a:path>
                        </a:pathLst>
                      </a:custGeom>
                      <a:solidFill>
                        <a:srgbClr val="4D4D4F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=""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algn="l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1200" b="0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/>
                          <a:cs typeface=""/>
                        </a:endParaRPr>
                      </a:p>
                    </p:txBody>
                  </p:sp>
                  <p:sp>
                    <p:nvSpPr>
                      <p:cNvPr id="2284" name="Freeform 15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4487863" y="2422525"/>
                        <a:ext cx="44450" cy="47625"/>
                      </a:xfrm>
                      <a:custGeom>
                        <a:avLst/>
                        <a:gdLst>
                          <a:gd name="T0" fmla="*/ 29 w 50"/>
                          <a:gd name="T1" fmla="*/ 8 h 53"/>
                          <a:gd name="T2" fmla="*/ 9 w 50"/>
                          <a:gd name="T3" fmla="*/ 4 h 53"/>
                          <a:gd name="T4" fmla="*/ 4 w 50"/>
                          <a:gd name="T5" fmla="*/ 24 h 53"/>
                          <a:gd name="T6" fmla="*/ 24 w 50"/>
                          <a:gd name="T7" fmla="*/ 49 h 53"/>
                          <a:gd name="T8" fmla="*/ 34 w 50"/>
                          <a:gd name="T9" fmla="*/ 53 h 53"/>
                          <a:gd name="T10" fmla="*/ 45 w 50"/>
                          <a:gd name="T11" fmla="*/ 49 h 53"/>
                          <a:gd name="T12" fmla="*/ 45 w 50"/>
                          <a:gd name="T13" fmla="*/ 28 h 53"/>
                          <a:gd name="T14" fmla="*/ 29 w 50"/>
                          <a:gd name="T15" fmla="*/ 8 h 53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  <a:cxn ang="0">
                            <a:pos x="T14" y="T15"/>
                          </a:cxn>
                        </a:cxnLst>
                        <a:rect l="0" t="0" r="r" b="b"/>
                        <a:pathLst>
                          <a:path w="50" h="53">
                            <a:moveTo>
                              <a:pt x="29" y="8"/>
                            </a:moveTo>
                            <a:cubicBezTo>
                              <a:pt x="24" y="2"/>
                              <a:pt x="15" y="0"/>
                              <a:pt x="9" y="4"/>
                            </a:cubicBezTo>
                            <a:cubicBezTo>
                              <a:pt x="2" y="8"/>
                              <a:pt x="0" y="17"/>
                              <a:pt x="4" y="24"/>
                            </a:cubicBezTo>
                            <a:cubicBezTo>
                              <a:pt x="10" y="33"/>
                              <a:pt x="17" y="41"/>
                              <a:pt x="24" y="49"/>
                            </a:cubicBezTo>
                            <a:cubicBezTo>
                              <a:pt x="27" y="51"/>
                              <a:pt x="31" y="53"/>
                              <a:pt x="34" y="53"/>
                            </a:cubicBezTo>
                            <a:cubicBezTo>
                              <a:pt x="38" y="53"/>
                              <a:pt x="42" y="51"/>
                              <a:pt x="45" y="49"/>
                            </a:cubicBezTo>
                            <a:cubicBezTo>
                              <a:pt x="50" y="43"/>
                              <a:pt x="50" y="34"/>
                              <a:pt x="45" y="28"/>
                            </a:cubicBezTo>
                            <a:cubicBezTo>
                              <a:pt x="39" y="22"/>
                              <a:pt x="33" y="15"/>
                              <a:pt x="29" y="8"/>
                            </a:cubicBezTo>
                            <a:close/>
                          </a:path>
                        </a:pathLst>
                      </a:custGeom>
                      <a:solidFill>
                        <a:srgbClr val="4D4D4F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=""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algn="l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1200" b="0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/>
                          <a:cs typeface=""/>
                        </a:endParaRPr>
                      </a:p>
                    </p:txBody>
                  </p:sp>
                  <p:sp>
                    <p:nvSpPr>
                      <p:cNvPr id="2285" name="Freeform 16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4471988" y="2193925"/>
                        <a:ext cx="25400" cy="52388"/>
                      </a:xfrm>
                      <a:custGeom>
                        <a:avLst/>
                        <a:gdLst>
                          <a:gd name="T0" fmla="*/ 14 w 29"/>
                          <a:gd name="T1" fmla="*/ 58 h 58"/>
                          <a:gd name="T2" fmla="*/ 29 w 29"/>
                          <a:gd name="T3" fmla="*/ 43 h 58"/>
                          <a:gd name="T4" fmla="*/ 29 w 29"/>
                          <a:gd name="T5" fmla="*/ 14 h 58"/>
                          <a:gd name="T6" fmla="*/ 14 w 29"/>
                          <a:gd name="T7" fmla="*/ 0 h 58"/>
                          <a:gd name="T8" fmla="*/ 0 w 29"/>
                          <a:gd name="T9" fmla="*/ 14 h 58"/>
                          <a:gd name="T10" fmla="*/ 0 w 29"/>
                          <a:gd name="T11" fmla="*/ 43 h 58"/>
                          <a:gd name="T12" fmla="*/ 14 w 29"/>
                          <a:gd name="T13" fmla="*/ 58 h 58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</a:cxnLst>
                        <a:rect l="0" t="0" r="r" b="b"/>
                        <a:pathLst>
                          <a:path w="29" h="58">
                            <a:moveTo>
                              <a:pt x="14" y="58"/>
                            </a:moveTo>
                            <a:cubicBezTo>
                              <a:pt x="22" y="58"/>
                              <a:pt x="29" y="51"/>
                              <a:pt x="29" y="43"/>
                            </a:cubicBezTo>
                            <a:cubicBezTo>
                              <a:pt x="29" y="14"/>
                              <a:pt x="29" y="14"/>
                              <a:pt x="29" y="14"/>
                            </a:cubicBezTo>
                            <a:cubicBezTo>
                              <a:pt x="29" y="6"/>
                              <a:pt x="22" y="0"/>
                              <a:pt x="14" y="0"/>
                            </a:cubicBezTo>
                            <a:cubicBezTo>
                              <a:pt x="7" y="0"/>
                              <a:pt x="0" y="6"/>
                              <a:pt x="0" y="14"/>
                            </a:cubicBezTo>
                            <a:cubicBezTo>
                              <a:pt x="0" y="43"/>
                              <a:pt x="0" y="43"/>
                              <a:pt x="0" y="43"/>
                            </a:cubicBezTo>
                            <a:cubicBezTo>
                              <a:pt x="0" y="51"/>
                              <a:pt x="7" y="58"/>
                              <a:pt x="14" y="58"/>
                            </a:cubicBezTo>
                            <a:close/>
                          </a:path>
                        </a:pathLst>
                      </a:custGeom>
                      <a:solidFill>
                        <a:srgbClr val="4D4D4F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=""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algn="l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1200" b="0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/>
                          <a:cs typeface=""/>
                        </a:endParaRPr>
                      </a:p>
                    </p:txBody>
                  </p:sp>
                  <p:sp>
                    <p:nvSpPr>
                      <p:cNvPr id="2286" name="Freeform 17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4830763" y="1985963"/>
                        <a:ext cx="50800" cy="26988"/>
                      </a:xfrm>
                      <a:custGeom>
                        <a:avLst/>
                        <a:gdLst>
                          <a:gd name="T0" fmla="*/ 15 w 57"/>
                          <a:gd name="T1" fmla="*/ 29 h 29"/>
                          <a:gd name="T2" fmla="*/ 44 w 57"/>
                          <a:gd name="T3" fmla="*/ 29 h 29"/>
                          <a:gd name="T4" fmla="*/ 57 w 57"/>
                          <a:gd name="T5" fmla="*/ 15 h 29"/>
                          <a:gd name="T6" fmla="*/ 43 w 57"/>
                          <a:gd name="T7" fmla="*/ 0 h 29"/>
                          <a:gd name="T8" fmla="*/ 15 w 57"/>
                          <a:gd name="T9" fmla="*/ 0 h 29"/>
                          <a:gd name="T10" fmla="*/ 0 w 57"/>
                          <a:gd name="T11" fmla="*/ 15 h 29"/>
                          <a:gd name="T12" fmla="*/ 15 w 57"/>
                          <a:gd name="T13" fmla="*/ 29 h 29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</a:cxnLst>
                        <a:rect l="0" t="0" r="r" b="b"/>
                        <a:pathLst>
                          <a:path w="57" h="29">
                            <a:moveTo>
                              <a:pt x="15" y="29"/>
                            </a:moveTo>
                            <a:cubicBezTo>
                              <a:pt x="44" y="29"/>
                              <a:pt x="44" y="29"/>
                              <a:pt x="44" y="29"/>
                            </a:cubicBezTo>
                            <a:cubicBezTo>
                              <a:pt x="51" y="29"/>
                              <a:pt x="57" y="23"/>
                              <a:pt x="57" y="15"/>
                            </a:cubicBezTo>
                            <a:cubicBezTo>
                              <a:pt x="57" y="7"/>
                              <a:pt x="50" y="0"/>
                              <a:pt x="43" y="0"/>
                            </a:cubicBezTo>
                            <a:cubicBezTo>
                              <a:pt x="15" y="0"/>
                              <a:pt x="15" y="0"/>
                              <a:pt x="15" y="0"/>
                            </a:cubicBezTo>
                            <a:cubicBezTo>
                              <a:pt x="7" y="0"/>
                              <a:pt x="0" y="7"/>
                              <a:pt x="0" y="15"/>
                            </a:cubicBezTo>
                            <a:cubicBezTo>
                              <a:pt x="0" y="23"/>
                              <a:pt x="7" y="29"/>
                              <a:pt x="15" y="29"/>
                            </a:cubicBezTo>
                            <a:close/>
                          </a:path>
                        </a:pathLst>
                      </a:custGeom>
                      <a:solidFill>
                        <a:srgbClr val="4D4D4F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=""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algn="l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1200" b="0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/>
                          <a:cs typeface=""/>
                        </a:endParaRPr>
                      </a:p>
                    </p:txBody>
                  </p:sp>
                  <p:sp>
                    <p:nvSpPr>
                      <p:cNvPr id="2287" name="Freeform 18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4905376" y="1997075"/>
                        <a:ext cx="50800" cy="41275"/>
                      </a:xfrm>
                      <a:custGeom>
                        <a:avLst/>
                        <a:gdLst>
                          <a:gd name="T0" fmla="*/ 10 w 56"/>
                          <a:gd name="T1" fmla="*/ 30 h 47"/>
                          <a:gd name="T2" fmla="*/ 31 w 56"/>
                          <a:gd name="T3" fmla="*/ 43 h 47"/>
                          <a:gd name="T4" fmla="*/ 40 w 56"/>
                          <a:gd name="T5" fmla="*/ 47 h 47"/>
                          <a:gd name="T6" fmla="*/ 51 w 56"/>
                          <a:gd name="T7" fmla="*/ 41 h 47"/>
                          <a:gd name="T8" fmla="*/ 49 w 56"/>
                          <a:gd name="T9" fmla="*/ 21 h 47"/>
                          <a:gd name="T10" fmla="*/ 22 w 56"/>
                          <a:gd name="T11" fmla="*/ 4 h 47"/>
                          <a:gd name="T12" fmla="*/ 3 w 56"/>
                          <a:gd name="T13" fmla="*/ 11 h 47"/>
                          <a:gd name="T14" fmla="*/ 10 w 56"/>
                          <a:gd name="T15" fmla="*/ 30 h 47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  <a:cxn ang="0">
                            <a:pos x="T14" y="T15"/>
                          </a:cxn>
                        </a:cxnLst>
                        <a:rect l="0" t="0" r="r" b="b"/>
                        <a:pathLst>
                          <a:path w="56" h="47">
                            <a:moveTo>
                              <a:pt x="10" y="30"/>
                            </a:moveTo>
                            <a:cubicBezTo>
                              <a:pt x="17" y="33"/>
                              <a:pt x="25" y="38"/>
                              <a:pt x="31" y="43"/>
                            </a:cubicBezTo>
                            <a:cubicBezTo>
                              <a:pt x="34" y="46"/>
                              <a:pt x="37" y="47"/>
                              <a:pt x="40" y="47"/>
                            </a:cubicBezTo>
                            <a:cubicBezTo>
                              <a:pt x="44" y="47"/>
                              <a:pt x="49" y="45"/>
                              <a:pt x="51" y="41"/>
                            </a:cubicBezTo>
                            <a:cubicBezTo>
                              <a:pt x="56" y="35"/>
                              <a:pt x="55" y="26"/>
                              <a:pt x="49" y="21"/>
                            </a:cubicBezTo>
                            <a:cubicBezTo>
                              <a:pt x="41" y="14"/>
                              <a:pt x="32" y="9"/>
                              <a:pt x="22" y="4"/>
                            </a:cubicBezTo>
                            <a:cubicBezTo>
                              <a:pt x="15" y="0"/>
                              <a:pt x="7" y="3"/>
                              <a:pt x="3" y="11"/>
                            </a:cubicBezTo>
                            <a:cubicBezTo>
                              <a:pt x="0" y="18"/>
                              <a:pt x="3" y="26"/>
                              <a:pt x="10" y="30"/>
                            </a:cubicBezTo>
                            <a:close/>
                          </a:path>
                        </a:pathLst>
                      </a:custGeom>
                      <a:solidFill>
                        <a:srgbClr val="4D4D4F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=""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algn="l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1200" b="0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/>
                          <a:cs typeface=""/>
                        </a:endParaRPr>
                      </a:p>
                    </p:txBody>
                  </p:sp>
                  <p:sp>
                    <p:nvSpPr>
                      <p:cNvPr id="2288" name="Freeform 19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4476751" y="2039938"/>
                        <a:ext cx="39688" cy="52388"/>
                      </a:xfrm>
                      <a:custGeom>
                        <a:avLst/>
                        <a:gdLst>
                          <a:gd name="T0" fmla="*/ 12 w 45"/>
                          <a:gd name="T1" fmla="*/ 56 h 57"/>
                          <a:gd name="T2" fmla="*/ 16 w 45"/>
                          <a:gd name="T3" fmla="*/ 57 h 57"/>
                          <a:gd name="T4" fmla="*/ 30 w 45"/>
                          <a:gd name="T5" fmla="*/ 47 h 57"/>
                          <a:gd name="T6" fmla="*/ 41 w 45"/>
                          <a:gd name="T7" fmla="*/ 24 h 57"/>
                          <a:gd name="T8" fmla="*/ 36 w 45"/>
                          <a:gd name="T9" fmla="*/ 4 h 57"/>
                          <a:gd name="T10" fmla="*/ 16 w 45"/>
                          <a:gd name="T11" fmla="*/ 9 h 57"/>
                          <a:gd name="T12" fmla="*/ 3 w 45"/>
                          <a:gd name="T13" fmla="*/ 38 h 57"/>
                          <a:gd name="T14" fmla="*/ 12 w 45"/>
                          <a:gd name="T15" fmla="*/ 56 h 57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  <a:cxn ang="0">
                            <a:pos x="T14" y="T15"/>
                          </a:cxn>
                        </a:cxnLst>
                        <a:rect l="0" t="0" r="r" b="b"/>
                        <a:pathLst>
                          <a:path w="45" h="57">
                            <a:moveTo>
                              <a:pt x="12" y="56"/>
                            </a:moveTo>
                            <a:cubicBezTo>
                              <a:pt x="13" y="57"/>
                              <a:pt x="15" y="57"/>
                              <a:pt x="16" y="57"/>
                            </a:cubicBezTo>
                            <a:cubicBezTo>
                              <a:pt x="22" y="57"/>
                              <a:pt x="28" y="53"/>
                              <a:pt x="30" y="47"/>
                            </a:cubicBezTo>
                            <a:cubicBezTo>
                              <a:pt x="33" y="39"/>
                              <a:pt x="36" y="32"/>
                              <a:pt x="41" y="24"/>
                            </a:cubicBezTo>
                            <a:cubicBezTo>
                              <a:pt x="45" y="17"/>
                              <a:pt x="43" y="9"/>
                              <a:pt x="36" y="4"/>
                            </a:cubicBezTo>
                            <a:cubicBezTo>
                              <a:pt x="29" y="0"/>
                              <a:pt x="21" y="2"/>
                              <a:pt x="16" y="9"/>
                            </a:cubicBezTo>
                            <a:cubicBezTo>
                              <a:pt x="11" y="18"/>
                              <a:pt x="6" y="28"/>
                              <a:pt x="3" y="38"/>
                            </a:cubicBezTo>
                            <a:cubicBezTo>
                              <a:pt x="0" y="45"/>
                              <a:pt x="4" y="54"/>
                              <a:pt x="12" y="56"/>
                            </a:cubicBezTo>
                            <a:close/>
                          </a:path>
                        </a:pathLst>
                      </a:custGeom>
                      <a:solidFill>
                        <a:srgbClr val="4D4D4F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=""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algn="l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1200" b="0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/>
                          <a:cs typeface=""/>
                        </a:endParaRPr>
                      </a:p>
                    </p:txBody>
                  </p:sp>
                  <p:sp>
                    <p:nvSpPr>
                      <p:cNvPr id="2289" name="Freeform 20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4522788" y="1992313"/>
                        <a:ext cx="52388" cy="39688"/>
                      </a:xfrm>
                      <a:custGeom>
                        <a:avLst/>
                        <a:gdLst>
                          <a:gd name="T0" fmla="*/ 55 w 58"/>
                          <a:gd name="T1" fmla="*/ 11 h 43"/>
                          <a:gd name="T2" fmla="*/ 37 w 58"/>
                          <a:gd name="T3" fmla="*/ 2 h 43"/>
                          <a:gd name="T4" fmla="*/ 9 w 58"/>
                          <a:gd name="T5" fmla="*/ 17 h 43"/>
                          <a:gd name="T6" fmla="*/ 4 w 58"/>
                          <a:gd name="T7" fmla="*/ 37 h 43"/>
                          <a:gd name="T8" fmla="*/ 16 w 58"/>
                          <a:gd name="T9" fmla="*/ 43 h 43"/>
                          <a:gd name="T10" fmla="*/ 24 w 58"/>
                          <a:gd name="T11" fmla="*/ 41 h 43"/>
                          <a:gd name="T12" fmla="*/ 47 w 58"/>
                          <a:gd name="T13" fmla="*/ 29 h 43"/>
                          <a:gd name="T14" fmla="*/ 55 w 58"/>
                          <a:gd name="T15" fmla="*/ 11 h 43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  <a:cxn ang="0">
                            <a:pos x="T14" y="T15"/>
                          </a:cxn>
                        </a:cxnLst>
                        <a:rect l="0" t="0" r="r" b="b"/>
                        <a:pathLst>
                          <a:path w="58" h="43">
                            <a:moveTo>
                              <a:pt x="55" y="11"/>
                            </a:moveTo>
                            <a:cubicBezTo>
                              <a:pt x="53" y="3"/>
                              <a:pt x="44" y="0"/>
                              <a:pt x="37" y="2"/>
                            </a:cubicBezTo>
                            <a:cubicBezTo>
                              <a:pt x="27" y="6"/>
                              <a:pt x="17" y="11"/>
                              <a:pt x="9" y="17"/>
                            </a:cubicBezTo>
                            <a:cubicBezTo>
                              <a:pt x="2" y="21"/>
                              <a:pt x="0" y="30"/>
                              <a:pt x="4" y="37"/>
                            </a:cubicBezTo>
                            <a:cubicBezTo>
                              <a:pt x="7" y="41"/>
                              <a:pt x="12" y="43"/>
                              <a:pt x="16" y="43"/>
                            </a:cubicBezTo>
                            <a:cubicBezTo>
                              <a:pt x="19" y="43"/>
                              <a:pt x="22" y="43"/>
                              <a:pt x="24" y="41"/>
                            </a:cubicBezTo>
                            <a:cubicBezTo>
                              <a:pt x="31" y="36"/>
                              <a:pt x="39" y="32"/>
                              <a:pt x="47" y="29"/>
                            </a:cubicBezTo>
                            <a:cubicBezTo>
                              <a:pt x="54" y="27"/>
                              <a:pt x="58" y="18"/>
                              <a:pt x="55" y="11"/>
                            </a:cubicBezTo>
                            <a:close/>
                          </a:path>
                        </a:pathLst>
                      </a:custGeom>
                      <a:solidFill>
                        <a:srgbClr val="4D4D4F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=""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algn="l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1200" b="0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/>
                          <a:cs typeface=""/>
                        </a:endParaRPr>
                      </a:p>
                    </p:txBody>
                  </p:sp>
                  <p:sp>
                    <p:nvSpPr>
                      <p:cNvPr id="2290" name="Freeform 21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4959351" y="2051050"/>
                        <a:ext cx="36513" cy="52388"/>
                      </a:xfrm>
                      <a:custGeom>
                        <a:avLst/>
                        <a:gdLst>
                          <a:gd name="T0" fmla="*/ 13 w 42"/>
                          <a:gd name="T1" fmla="*/ 47 h 58"/>
                          <a:gd name="T2" fmla="*/ 27 w 42"/>
                          <a:gd name="T3" fmla="*/ 58 h 58"/>
                          <a:gd name="T4" fmla="*/ 30 w 42"/>
                          <a:gd name="T5" fmla="*/ 57 h 58"/>
                          <a:gd name="T6" fmla="*/ 41 w 42"/>
                          <a:gd name="T7" fmla="*/ 40 h 58"/>
                          <a:gd name="T8" fmla="*/ 30 w 42"/>
                          <a:gd name="T9" fmla="*/ 10 h 58"/>
                          <a:gd name="T10" fmla="*/ 11 w 42"/>
                          <a:gd name="T11" fmla="*/ 4 h 58"/>
                          <a:gd name="T12" fmla="*/ 4 w 42"/>
                          <a:gd name="T13" fmla="*/ 23 h 58"/>
                          <a:gd name="T14" fmla="*/ 13 w 42"/>
                          <a:gd name="T15" fmla="*/ 47 h 58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  <a:cxn ang="0">
                            <a:pos x="T14" y="T15"/>
                          </a:cxn>
                        </a:cxnLst>
                        <a:rect l="0" t="0" r="r" b="b"/>
                        <a:pathLst>
                          <a:path w="42" h="58">
                            <a:moveTo>
                              <a:pt x="13" y="47"/>
                            </a:moveTo>
                            <a:cubicBezTo>
                              <a:pt x="14" y="53"/>
                              <a:pt x="20" y="58"/>
                              <a:pt x="27" y="58"/>
                            </a:cubicBezTo>
                            <a:cubicBezTo>
                              <a:pt x="28" y="58"/>
                              <a:pt x="29" y="58"/>
                              <a:pt x="30" y="57"/>
                            </a:cubicBezTo>
                            <a:cubicBezTo>
                              <a:pt x="38" y="56"/>
                              <a:pt x="42" y="48"/>
                              <a:pt x="41" y="40"/>
                            </a:cubicBezTo>
                            <a:cubicBezTo>
                              <a:pt x="38" y="30"/>
                              <a:pt x="35" y="20"/>
                              <a:pt x="30" y="10"/>
                            </a:cubicBezTo>
                            <a:cubicBezTo>
                              <a:pt x="26" y="3"/>
                              <a:pt x="18" y="0"/>
                              <a:pt x="11" y="4"/>
                            </a:cubicBezTo>
                            <a:cubicBezTo>
                              <a:pt x="3" y="7"/>
                              <a:pt x="0" y="16"/>
                              <a:pt x="4" y="23"/>
                            </a:cubicBezTo>
                            <a:cubicBezTo>
                              <a:pt x="8" y="31"/>
                              <a:pt x="11" y="39"/>
                              <a:pt x="13" y="47"/>
                            </a:cubicBezTo>
                            <a:close/>
                          </a:path>
                        </a:pathLst>
                      </a:custGeom>
                      <a:solidFill>
                        <a:srgbClr val="4D4D4F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=""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algn="l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1200" b="0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/>
                          <a:cs typeface=""/>
                        </a:endParaRPr>
                      </a:p>
                    </p:txBody>
                  </p:sp>
                  <p:sp>
                    <p:nvSpPr>
                      <p:cNvPr id="2291" name="Freeform 22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4598988" y="1985963"/>
                        <a:ext cx="52388" cy="26988"/>
                      </a:xfrm>
                      <a:custGeom>
                        <a:avLst/>
                        <a:gdLst>
                          <a:gd name="T0" fmla="*/ 14 w 58"/>
                          <a:gd name="T1" fmla="*/ 29 h 29"/>
                          <a:gd name="T2" fmla="*/ 43 w 58"/>
                          <a:gd name="T3" fmla="*/ 29 h 29"/>
                          <a:gd name="T4" fmla="*/ 58 w 58"/>
                          <a:gd name="T5" fmla="*/ 15 h 29"/>
                          <a:gd name="T6" fmla="*/ 43 w 58"/>
                          <a:gd name="T7" fmla="*/ 0 h 29"/>
                          <a:gd name="T8" fmla="*/ 14 w 58"/>
                          <a:gd name="T9" fmla="*/ 0 h 29"/>
                          <a:gd name="T10" fmla="*/ 0 w 58"/>
                          <a:gd name="T11" fmla="*/ 15 h 29"/>
                          <a:gd name="T12" fmla="*/ 14 w 58"/>
                          <a:gd name="T13" fmla="*/ 29 h 29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</a:cxnLst>
                        <a:rect l="0" t="0" r="r" b="b"/>
                        <a:pathLst>
                          <a:path w="58" h="29">
                            <a:moveTo>
                              <a:pt x="14" y="29"/>
                            </a:moveTo>
                            <a:cubicBezTo>
                              <a:pt x="43" y="29"/>
                              <a:pt x="43" y="29"/>
                              <a:pt x="43" y="29"/>
                            </a:cubicBezTo>
                            <a:cubicBezTo>
                              <a:pt x="51" y="29"/>
                              <a:pt x="58" y="23"/>
                              <a:pt x="58" y="15"/>
                            </a:cubicBezTo>
                            <a:cubicBezTo>
                              <a:pt x="58" y="7"/>
                              <a:pt x="51" y="0"/>
                              <a:pt x="43" y="0"/>
                            </a:cubicBezTo>
                            <a:cubicBezTo>
                              <a:pt x="14" y="0"/>
                              <a:pt x="14" y="0"/>
                              <a:pt x="14" y="0"/>
                            </a:cubicBezTo>
                            <a:cubicBezTo>
                              <a:pt x="6" y="0"/>
                              <a:pt x="0" y="7"/>
                              <a:pt x="0" y="15"/>
                            </a:cubicBezTo>
                            <a:cubicBezTo>
                              <a:pt x="0" y="23"/>
                              <a:pt x="6" y="29"/>
                              <a:pt x="14" y="29"/>
                            </a:cubicBezTo>
                            <a:close/>
                          </a:path>
                        </a:pathLst>
                      </a:custGeom>
                      <a:solidFill>
                        <a:srgbClr val="4D4D4F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=""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algn="l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1200" b="0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/>
                          <a:cs typeface=""/>
                        </a:endParaRPr>
                      </a:p>
                    </p:txBody>
                  </p:sp>
                  <p:sp>
                    <p:nvSpPr>
                      <p:cNvPr id="2292" name="Freeform 23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4676776" y="1985963"/>
                        <a:ext cx="50800" cy="26988"/>
                      </a:xfrm>
                      <a:custGeom>
                        <a:avLst/>
                        <a:gdLst>
                          <a:gd name="T0" fmla="*/ 15 w 58"/>
                          <a:gd name="T1" fmla="*/ 29 h 29"/>
                          <a:gd name="T2" fmla="*/ 43 w 58"/>
                          <a:gd name="T3" fmla="*/ 29 h 29"/>
                          <a:gd name="T4" fmla="*/ 58 w 58"/>
                          <a:gd name="T5" fmla="*/ 15 h 29"/>
                          <a:gd name="T6" fmla="*/ 43 w 58"/>
                          <a:gd name="T7" fmla="*/ 0 h 29"/>
                          <a:gd name="T8" fmla="*/ 15 w 58"/>
                          <a:gd name="T9" fmla="*/ 0 h 29"/>
                          <a:gd name="T10" fmla="*/ 0 w 58"/>
                          <a:gd name="T11" fmla="*/ 15 h 29"/>
                          <a:gd name="T12" fmla="*/ 15 w 58"/>
                          <a:gd name="T13" fmla="*/ 29 h 29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</a:cxnLst>
                        <a:rect l="0" t="0" r="r" b="b"/>
                        <a:pathLst>
                          <a:path w="58" h="29">
                            <a:moveTo>
                              <a:pt x="15" y="29"/>
                            </a:moveTo>
                            <a:cubicBezTo>
                              <a:pt x="43" y="29"/>
                              <a:pt x="43" y="29"/>
                              <a:pt x="43" y="29"/>
                            </a:cubicBezTo>
                            <a:cubicBezTo>
                              <a:pt x="51" y="29"/>
                              <a:pt x="58" y="23"/>
                              <a:pt x="58" y="15"/>
                            </a:cubicBezTo>
                            <a:cubicBezTo>
                              <a:pt x="58" y="7"/>
                              <a:pt x="51" y="0"/>
                              <a:pt x="43" y="0"/>
                            </a:cubicBezTo>
                            <a:cubicBezTo>
                              <a:pt x="15" y="0"/>
                              <a:pt x="15" y="0"/>
                              <a:pt x="15" y="0"/>
                            </a:cubicBezTo>
                            <a:cubicBezTo>
                              <a:pt x="7" y="0"/>
                              <a:pt x="0" y="7"/>
                              <a:pt x="0" y="15"/>
                            </a:cubicBezTo>
                            <a:cubicBezTo>
                              <a:pt x="0" y="23"/>
                              <a:pt x="7" y="29"/>
                              <a:pt x="15" y="29"/>
                            </a:cubicBezTo>
                            <a:close/>
                          </a:path>
                        </a:pathLst>
                      </a:custGeom>
                      <a:solidFill>
                        <a:srgbClr val="4D4D4F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=""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algn="l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1200" b="0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/>
                          <a:cs typeface=""/>
                        </a:endParaRPr>
                      </a:p>
                    </p:txBody>
                  </p:sp>
                  <p:sp>
                    <p:nvSpPr>
                      <p:cNvPr id="2293" name="Freeform 24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4752976" y="1985963"/>
                        <a:ext cx="52388" cy="26988"/>
                      </a:xfrm>
                      <a:custGeom>
                        <a:avLst/>
                        <a:gdLst>
                          <a:gd name="T0" fmla="*/ 15 w 58"/>
                          <a:gd name="T1" fmla="*/ 29 h 29"/>
                          <a:gd name="T2" fmla="*/ 43 w 58"/>
                          <a:gd name="T3" fmla="*/ 29 h 29"/>
                          <a:gd name="T4" fmla="*/ 58 w 58"/>
                          <a:gd name="T5" fmla="*/ 15 h 29"/>
                          <a:gd name="T6" fmla="*/ 43 w 58"/>
                          <a:gd name="T7" fmla="*/ 0 h 29"/>
                          <a:gd name="T8" fmla="*/ 15 w 58"/>
                          <a:gd name="T9" fmla="*/ 0 h 29"/>
                          <a:gd name="T10" fmla="*/ 0 w 58"/>
                          <a:gd name="T11" fmla="*/ 15 h 29"/>
                          <a:gd name="T12" fmla="*/ 15 w 58"/>
                          <a:gd name="T13" fmla="*/ 29 h 29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</a:cxnLst>
                        <a:rect l="0" t="0" r="r" b="b"/>
                        <a:pathLst>
                          <a:path w="58" h="29">
                            <a:moveTo>
                              <a:pt x="15" y="29"/>
                            </a:moveTo>
                            <a:cubicBezTo>
                              <a:pt x="43" y="29"/>
                              <a:pt x="43" y="29"/>
                              <a:pt x="43" y="29"/>
                            </a:cubicBezTo>
                            <a:cubicBezTo>
                              <a:pt x="51" y="29"/>
                              <a:pt x="58" y="23"/>
                              <a:pt x="58" y="15"/>
                            </a:cubicBezTo>
                            <a:cubicBezTo>
                              <a:pt x="58" y="7"/>
                              <a:pt x="51" y="0"/>
                              <a:pt x="43" y="0"/>
                            </a:cubicBezTo>
                            <a:cubicBezTo>
                              <a:pt x="15" y="0"/>
                              <a:pt x="15" y="0"/>
                              <a:pt x="15" y="0"/>
                            </a:cubicBezTo>
                            <a:cubicBezTo>
                              <a:pt x="7" y="0"/>
                              <a:pt x="0" y="7"/>
                              <a:pt x="0" y="15"/>
                            </a:cubicBezTo>
                            <a:cubicBezTo>
                              <a:pt x="0" y="23"/>
                              <a:pt x="7" y="29"/>
                              <a:pt x="15" y="29"/>
                            </a:cubicBezTo>
                            <a:close/>
                          </a:path>
                        </a:pathLst>
                      </a:custGeom>
                      <a:solidFill>
                        <a:srgbClr val="4D4D4F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=""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algn="l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1200" b="0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/>
                          <a:cs typeface=""/>
                        </a:endParaRPr>
                      </a:p>
                    </p:txBody>
                  </p:sp>
                  <p:sp>
                    <p:nvSpPr>
                      <p:cNvPr id="2294" name="Freeform 25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4471988" y="2349500"/>
                        <a:ext cx="26988" cy="52388"/>
                      </a:xfrm>
                      <a:custGeom>
                        <a:avLst/>
                        <a:gdLst>
                          <a:gd name="T0" fmla="*/ 30 w 31"/>
                          <a:gd name="T1" fmla="*/ 42 h 58"/>
                          <a:gd name="T2" fmla="*/ 29 w 31"/>
                          <a:gd name="T3" fmla="*/ 28 h 58"/>
                          <a:gd name="T4" fmla="*/ 29 w 31"/>
                          <a:gd name="T5" fmla="*/ 15 h 58"/>
                          <a:gd name="T6" fmla="*/ 14 w 31"/>
                          <a:gd name="T7" fmla="*/ 0 h 58"/>
                          <a:gd name="T8" fmla="*/ 0 w 31"/>
                          <a:gd name="T9" fmla="*/ 15 h 58"/>
                          <a:gd name="T10" fmla="*/ 0 w 31"/>
                          <a:gd name="T11" fmla="*/ 28 h 58"/>
                          <a:gd name="T12" fmla="*/ 1 w 31"/>
                          <a:gd name="T13" fmla="*/ 45 h 58"/>
                          <a:gd name="T14" fmla="*/ 15 w 31"/>
                          <a:gd name="T15" fmla="*/ 58 h 58"/>
                          <a:gd name="T16" fmla="*/ 17 w 31"/>
                          <a:gd name="T17" fmla="*/ 58 h 58"/>
                          <a:gd name="T18" fmla="*/ 30 w 31"/>
                          <a:gd name="T19" fmla="*/ 42 h 58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  <a:cxn ang="0">
                            <a:pos x="T14" y="T15"/>
                          </a:cxn>
                          <a:cxn ang="0">
                            <a:pos x="T16" y="T17"/>
                          </a:cxn>
                          <a:cxn ang="0">
                            <a:pos x="T18" y="T19"/>
                          </a:cxn>
                        </a:cxnLst>
                        <a:rect l="0" t="0" r="r" b="b"/>
                        <a:pathLst>
                          <a:path w="31" h="58">
                            <a:moveTo>
                              <a:pt x="30" y="42"/>
                            </a:moveTo>
                            <a:cubicBezTo>
                              <a:pt x="29" y="37"/>
                              <a:pt x="29" y="33"/>
                              <a:pt x="29" y="28"/>
                            </a:cubicBezTo>
                            <a:cubicBezTo>
                              <a:pt x="29" y="15"/>
                              <a:pt x="29" y="15"/>
                              <a:pt x="29" y="15"/>
                            </a:cubicBezTo>
                            <a:cubicBezTo>
                              <a:pt x="29" y="7"/>
                              <a:pt x="22" y="0"/>
                              <a:pt x="14" y="0"/>
                            </a:cubicBezTo>
                            <a:cubicBezTo>
                              <a:pt x="7" y="0"/>
                              <a:pt x="0" y="7"/>
                              <a:pt x="0" y="15"/>
                            </a:cubicBezTo>
                            <a:cubicBezTo>
                              <a:pt x="0" y="28"/>
                              <a:pt x="0" y="28"/>
                              <a:pt x="0" y="28"/>
                            </a:cubicBezTo>
                            <a:cubicBezTo>
                              <a:pt x="0" y="34"/>
                              <a:pt x="0" y="39"/>
                              <a:pt x="1" y="45"/>
                            </a:cubicBezTo>
                            <a:cubicBezTo>
                              <a:pt x="2" y="52"/>
                              <a:pt x="8" y="58"/>
                              <a:pt x="15" y="58"/>
                            </a:cubicBezTo>
                            <a:cubicBezTo>
                              <a:pt x="16" y="58"/>
                              <a:pt x="17" y="58"/>
                              <a:pt x="17" y="58"/>
                            </a:cubicBezTo>
                            <a:cubicBezTo>
                              <a:pt x="25" y="57"/>
                              <a:pt x="31" y="50"/>
                              <a:pt x="30" y="42"/>
                            </a:cubicBezTo>
                            <a:close/>
                          </a:path>
                        </a:pathLst>
                      </a:custGeom>
                      <a:solidFill>
                        <a:srgbClr val="4D4D4F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=""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algn="l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1200" b="0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/>
                          <a:cs typeface=""/>
                        </a:endParaRPr>
                      </a:p>
                    </p:txBody>
                  </p:sp>
                  <p:sp>
                    <p:nvSpPr>
                      <p:cNvPr id="2295" name="Freeform 26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4973638" y="2282825"/>
                        <a:ext cx="25400" cy="52388"/>
                      </a:xfrm>
                      <a:custGeom>
                        <a:avLst/>
                        <a:gdLst>
                          <a:gd name="T0" fmla="*/ 14 w 29"/>
                          <a:gd name="T1" fmla="*/ 0 h 58"/>
                          <a:gd name="T2" fmla="*/ 0 w 29"/>
                          <a:gd name="T3" fmla="*/ 15 h 58"/>
                          <a:gd name="T4" fmla="*/ 0 w 29"/>
                          <a:gd name="T5" fmla="*/ 44 h 58"/>
                          <a:gd name="T6" fmla="*/ 14 w 29"/>
                          <a:gd name="T7" fmla="*/ 58 h 58"/>
                          <a:gd name="T8" fmla="*/ 29 w 29"/>
                          <a:gd name="T9" fmla="*/ 44 h 58"/>
                          <a:gd name="T10" fmla="*/ 29 w 29"/>
                          <a:gd name="T11" fmla="*/ 15 h 58"/>
                          <a:gd name="T12" fmla="*/ 14 w 29"/>
                          <a:gd name="T13" fmla="*/ 0 h 58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</a:cxnLst>
                        <a:rect l="0" t="0" r="r" b="b"/>
                        <a:pathLst>
                          <a:path w="29" h="58">
                            <a:moveTo>
                              <a:pt x="14" y="0"/>
                            </a:moveTo>
                            <a:cubicBezTo>
                              <a:pt x="6" y="0"/>
                              <a:pt x="0" y="7"/>
                              <a:pt x="0" y="15"/>
                            </a:cubicBezTo>
                            <a:cubicBezTo>
                              <a:pt x="0" y="44"/>
                              <a:pt x="0" y="44"/>
                              <a:pt x="0" y="44"/>
                            </a:cubicBezTo>
                            <a:cubicBezTo>
                              <a:pt x="0" y="52"/>
                              <a:pt x="6" y="58"/>
                              <a:pt x="14" y="58"/>
                            </a:cubicBezTo>
                            <a:cubicBezTo>
                              <a:pt x="22" y="58"/>
                              <a:pt x="29" y="52"/>
                              <a:pt x="29" y="44"/>
                            </a:cubicBezTo>
                            <a:cubicBezTo>
                              <a:pt x="29" y="15"/>
                              <a:pt x="29" y="15"/>
                              <a:pt x="29" y="15"/>
                            </a:cubicBezTo>
                            <a:cubicBezTo>
                              <a:pt x="29" y="7"/>
                              <a:pt x="22" y="0"/>
                              <a:pt x="14" y="0"/>
                            </a:cubicBezTo>
                            <a:close/>
                          </a:path>
                        </a:pathLst>
                      </a:custGeom>
                      <a:solidFill>
                        <a:srgbClr val="4D4D4F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=""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algn="l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1200" b="0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/>
                          <a:cs typeface=""/>
                        </a:endParaRPr>
                      </a:p>
                    </p:txBody>
                  </p:sp>
                  <p:sp>
                    <p:nvSpPr>
                      <p:cNvPr id="2296" name="Freeform 28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4927601" y="2432050"/>
                        <a:ext cx="47625" cy="46038"/>
                      </a:xfrm>
                      <a:custGeom>
                        <a:avLst/>
                        <a:gdLst>
                          <a:gd name="T0" fmla="*/ 25 w 53"/>
                          <a:gd name="T1" fmla="*/ 7 h 51"/>
                          <a:gd name="T2" fmla="*/ 7 w 53"/>
                          <a:gd name="T3" fmla="*/ 25 h 51"/>
                          <a:gd name="T4" fmla="*/ 5 w 53"/>
                          <a:gd name="T5" fmla="*/ 45 h 51"/>
                          <a:gd name="T6" fmla="*/ 16 w 53"/>
                          <a:gd name="T7" fmla="*/ 51 h 51"/>
                          <a:gd name="T8" fmla="*/ 25 w 53"/>
                          <a:gd name="T9" fmla="*/ 47 h 51"/>
                          <a:gd name="T10" fmla="*/ 48 w 53"/>
                          <a:gd name="T11" fmla="*/ 25 h 51"/>
                          <a:gd name="T12" fmla="*/ 45 w 53"/>
                          <a:gd name="T13" fmla="*/ 5 h 51"/>
                          <a:gd name="T14" fmla="*/ 25 w 53"/>
                          <a:gd name="T15" fmla="*/ 7 h 51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  <a:cxn ang="0">
                            <a:pos x="T14" y="T15"/>
                          </a:cxn>
                        </a:cxnLst>
                        <a:rect l="0" t="0" r="r" b="b"/>
                        <a:pathLst>
                          <a:path w="53" h="51">
                            <a:moveTo>
                              <a:pt x="25" y="7"/>
                            </a:moveTo>
                            <a:cubicBezTo>
                              <a:pt x="20" y="14"/>
                              <a:pt x="14" y="20"/>
                              <a:pt x="7" y="25"/>
                            </a:cubicBezTo>
                            <a:cubicBezTo>
                              <a:pt x="1" y="30"/>
                              <a:pt x="0" y="39"/>
                              <a:pt x="5" y="45"/>
                            </a:cubicBezTo>
                            <a:cubicBezTo>
                              <a:pt x="8" y="49"/>
                              <a:pt x="12" y="51"/>
                              <a:pt x="16" y="51"/>
                            </a:cubicBezTo>
                            <a:cubicBezTo>
                              <a:pt x="20" y="51"/>
                              <a:pt x="23" y="50"/>
                              <a:pt x="25" y="47"/>
                            </a:cubicBezTo>
                            <a:cubicBezTo>
                              <a:pt x="34" y="41"/>
                              <a:pt x="41" y="33"/>
                              <a:pt x="48" y="25"/>
                            </a:cubicBezTo>
                            <a:cubicBezTo>
                              <a:pt x="53" y="19"/>
                              <a:pt x="52" y="9"/>
                              <a:pt x="45" y="5"/>
                            </a:cubicBezTo>
                            <a:cubicBezTo>
                              <a:pt x="39" y="0"/>
                              <a:pt x="30" y="1"/>
                              <a:pt x="25" y="7"/>
                            </a:cubicBezTo>
                            <a:close/>
                          </a:path>
                        </a:pathLst>
                      </a:custGeom>
                      <a:solidFill>
                        <a:srgbClr val="4D4D4F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=""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algn="l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1200" b="0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/>
                          <a:cs typeface=""/>
                        </a:endParaRPr>
                      </a:p>
                    </p:txBody>
                  </p:sp>
                  <p:sp>
                    <p:nvSpPr>
                      <p:cNvPr id="2297" name="Freeform 29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4968876" y="2360613"/>
                        <a:ext cx="30163" cy="52388"/>
                      </a:xfrm>
                      <a:custGeom>
                        <a:avLst/>
                        <a:gdLst>
                          <a:gd name="T0" fmla="*/ 19 w 34"/>
                          <a:gd name="T1" fmla="*/ 0 h 58"/>
                          <a:gd name="T2" fmla="*/ 5 w 34"/>
                          <a:gd name="T3" fmla="*/ 15 h 58"/>
                          <a:gd name="T4" fmla="*/ 2 w 34"/>
                          <a:gd name="T5" fmla="*/ 40 h 58"/>
                          <a:gd name="T6" fmla="*/ 13 w 34"/>
                          <a:gd name="T7" fmla="*/ 58 h 58"/>
                          <a:gd name="T8" fmla="*/ 16 w 34"/>
                          <a:gd name="T9" fmla="*/ 58 h 58"/>
                          <a:gd name="T10" fmla="*/ 30 w 34"/>
                          <a:gd name="T11" fmla="*/ 47 h 58"/>
                          <a:gd name="T12" fmla="*/ 34 w 34"/>
                          <a:gd name="T13" fmla="*/ 15 h 58"/>
                          <a:gd name="T14" fmla="*/ 34 w 34"/>
                          <a:gd name="T15" fmla="*/ 14 h 58"/>
                          <a:gd name="T16" fmla="*/ 19 w 34"/>
                          <a:gd name="T17" fmla="*/ 0 h 58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  <a:cxn ang="0">
                            <a:pos x="T14" y="T15"/>
                          </a:cxn>
                          <a:cxn ang="0">
                            <a:pos x="T16" y="T17"/>
                          </a:cxn>
                        </a:cxnLst>
                        <a:rect l="0" t="0" r="r" b="b"/>
                        <a:pathLst>
                          <a:path w="34" h="58">
                            <a:moveTo>
                              <a:pt x="19" y="0"/>
                            </a:moveTo>
                            <a:cubicBezTo>
                              <a:pt x="11" y="0"/>
                              <a:pt x="5" y="7"/>
                              <a:pt x="5" y="15"/>
                            </a:cubicBezTo>
                            <a:cubicBezTo>
                              <a:pt x="5" y="24"/>
                              <a:pt x="4" y="32"/>
                              <a:pt x="2" y="40"/>
                            </a:cubicBezTo>
                            <a:cubicBezTo>
                              <a:pt x="0" y="48"/>
                              <a:pt x="5" y="56"/>
                              <a:pt x="13" y="58"/>
                            </a:cubicBezTo>
                            <a:cubicBezTo>
                              <a:pt x="14" y="58"/>
                              <a:pt x="15" y="58"/>
                              <a:pt x="16" y="58"/>
                            </a:cubicBezTo>
                            <a:cubicBezTo>
                              <a:pt x="23" y="58"/>
                              <a:pt x="29" y="53"/>
                              <a:pt x="30" y="47"/>
                            </a:cubicBezTo>
                            <a:cubicBezTo>
                              <a:pt x="32" y="36"/>
                              <a:pt x="34" y="26"/>
                              <a:pt x="34" y="15"/>
                            </a:cubicBezTo>
                            <a:cubicBezTo>
                              <a:pt x="34" y="14"/>
                              <a:pt x="34" y="14"/>
                              <a:pt x="34" y="14"/>
                            </a:cubicBezTo>
                            <a:cubicBezTo>
                              <a:pt x="34" y="6"/>
                              <a:pt x="27" y="0"/>
                              <a:pt x="19" y="0"/>
                            </a:cubicBezTo>
                            <a:close/>
                          </a:path>
                        </a:pathLst>
                      </a:custGeom>
                      <a:solidFill>
                        <a:srgbClr val="4D4D4F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=""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algn="l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1200" b="0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/>
                          <a:cs typeface=""/>
                        </a:endParaRPr>
                      </a:p>
                    </p:txBody>
                  </p:sp>
                  <p:sp>
                    <p:nvSpPr>
                      <p:cNvPr id="2298" name="Freeform 30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4973638" y="2205038"/>
                        <a:ext cx="25400" cy="52388"/>
                      </a:xfrm>
                      <a:custGeom>
                        <a:avLst/>
                        <a:gdLst>
                          <a:gd name="T0" fmla="*/ 14 w 29"/>
                          <a:gd name="T1" fmla="*/ 0 h 58"/>
                          <a:gd name="T2" fmla="*/ 0 w 29"/>
                          <a:gd name="T3" fmla="*/ 15 h 58"/>
                          <a:gd name="T4" fmla="*/ 0 w 29"/>
                          <a:gd name="T5" fmla="*/ 43 h 58"/>
                          <a:gd name="T6" fmla="*/ 14 w 29"/>
                          <a:gd name="T7" fmla="*/ 58 h 58"/>
                          <a:gd name="T8" fmla="*/ 29 w 29"/>
                          <a:gd name="T9" fmla="*/ 43 h 58"/>
                          <a:gd name="T10" fmla="*/ 29 w 29"/>
                          <a:gd name="T11" fmla="*/ 15 h 58"/>
                          <a:gd name="T12" fmla="*/ 14 w 29"/>
                          <a:gd name="T13" fmla="*/ 0 h 58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</a:cxnLst>
                        <a:rect l="0" t="0" r="r" b="b"/>
                        <a:pathLst>
                          <a:path w="29" h="58">
                            <a:moveTo>
                              <a:pt x="14" y="0"/>
                            </a:moveTo>
                            <a:cubicBezTo>
                              <a:pt x="6" y="0"/>
                              <a:pt x="0" y="7"/>
                              <a:pt x="0" y="15"/>
                            </a:cubicBezTo>
                            <a:cubicBezTo>
                              <a:pt x="0" y="43"/>
                              <a:pt x="0" y="43"/>
                              <a:pt x="0" y="43"/>
                            </a:cubicBezTo>
                            <a:cubicBezTo>
                              <a:pt x="0" y="51"/>
                              <a:pt x="6" y="58"/>
                              <a:pt x="14" y="58"/>
                            </a:cubicBezTo>
                            <a:cubicBezTo>
                              <a:pt x="22" y="58"/>
                              <a:pt x="29" y="51"/>
                              <a:pt x="29" y="43"/>
                            </a:cubicBezTo>
                            <a:cubicBezTo>
                              <a:pt x="29" y="15"/>
                              <a:pt x="29" y="15"/>
                              <a:pt x="29" y="15"/>
                            </a:cubicBezTo>
                            <a:cubicBezTo>
                              <a:pt x="29" y="7"/>
                              <a:pt x="22" y="0"/>
                              <a:pt x="14" y="0"/>
                            </a:cubicBezTo>
                            <a:close/>
                          </a:path>
                        </a:pathLst>
                      </a:custGeom>
                      <a:solidFill>
                        <a:srgbClr val="4D4D4F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=""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algn="l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1200" b="0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/>
                          <a:cs typeface=""/>
                        </a:endParaRPr>
                      </a:p>
                    </p:txBody>
                  </p:sp>
                  <p:sp>
                    <p:nvSpPr>
                      <p:cNvPr id="2299" name="Freeform 31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4973638" y="2127250"/>
                        <a:ext cx="25400" cy="52388"/>
                      </a:xfrm>
                      <a:custGeom>
                        <a:avLst/>
                        <a:gdLst>
                          <a:gd name="T0" fmla="*/ 14 w 29"/>
                          <a:gd name="T1" fmla="*/ 0 h 58"/>
                          <a:gd name="T2" fmla="*/ 0 w 29"/>
                          <a:gd name="T3" fmla="*/ 15 h 58"/>
                          <a:gd name="T4" fmla="*/ 0 w 29"/>
                          <a:gd name="T5" fmla="*/ 43 h 58"/>
                          <a:gd name="T6" fmla="*/ 14 w 29"/>
                          <a:gd name="T7" fmla="*/ 58 h 58"/>
                          <a:gd name="T8" fmla="*/ 29 w 29"/>
                          <a:gd name="T9" fmla="*/ 43 h 58"/>
                          <a:gd name="T10" fmla="*/ 29 w 29"/>
                          <a:gd name="T11" fmla="*/ 15 h 58"/>
                          <a:gd name="T12" fmla="*/ 14 w 29"/>
                          <a:gd name="T13" fmla="*/ 0 h 58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</a:cxnLst>
                        <a:rect l="0" t="0" r="r" b="b"/>
                        <a:pathLst>
                          <a:path w="29" h="58">
                            <a:moveTo>
                              <a:pt x="14" y="0"/>
                            </a:moveTo>
                            <a:cubicBezTo>
                              <a:pt x="6" y="0"/>
                              <a:pt x="0" y="7"/>
                              <a:pt x="0" y="15"/>
                            </a:cubicBezTo>
                            <a:cubicBezTo>
                              <a:pt x="0" y="43"/>
                              <a:pt x="0" y="43"/>
                              <a:pt x="0" y="43"/>
                            </a:cubicBezTo>
                            <a:cubicBezTo>
                              <a:pt x="0" y="51"/>
                              <a:pt x="6" y="58"/>
                              <a:pt x="14" y="58"/>
                            </a:cubicBezTo>
                            <a:cubicBezTo>
                              <a:pt x="22" y="58"/>
                              <a:pt x="29" y="51"/>
                              <a:pt x="29" y="43"/>
                            </a:cubicBezTo>
                            <a:cubicBezTo>
                              <a:pt x="29" y="15"/>
                              <a:pt x="29" y="15"/>
                              <a:pt x="29" y="15"/>
                            </a:cubicBezTo>
                            <a:cubicBezTo>
                              <a:pt x="29" y="7"/>
                              <a:pt x="22" y="0"/>
                              <a:pt x="14" y="0"/>
                            </a:cubicBezTo>
                            <a:close/>
                          </a:path>
                        </a:pathLst>
                      </a:custGeom>
                      <a:solidFill>
                        <a:srgbClr val="4D4D4F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=""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algn="l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1200" b="0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/>
                          <a:cs typeface=""/>
                        </a:endParaRPr>
                      </a:p>
                    </p:txBody>
                  </p:sp>
                  <p:sp>
                    <p:nvSpPr>
                      <p:cNvPr id="2300" name="Freeform 32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4546601" y="2470150"/>
                        <a:ext cx="53975" cy="33338"/>
                      </a:xfrm>
                      <a:custGeom>
                        <a:avLst/>
                        <a:gdLst>
                          <a:gd name="T0" fmla="*/ 46 w 60"/>
                          <a:gd name="T1" fmla="*/ 8 h 37"/>
                          <a:gd name="T2" fmla="*/ 21 w 60"/>
                          <a:gd name="T3" fmla="*/ 2 h 37"/>
                          <a:gd name="T4" fmla="*/ 3 w 60"/>
                          <a:gd name="T5" fmla="*/ 11 h 37"/>
                          <a:gd name="T6" fmla="*/ 12 w 60"/>
                          <a:gd name="T7" fmla="*/ 30 h 37"/>
                          <a:gd name="T8" fmla="*/ 43 w 60"/>
                          <a:gd name="T9" fmla="*/ 37 h 37"/>
                          <a:gd name="T10" fmla="*/ 44 w 60"/>
                          <a:gd name="T11" fmla="*/ 37 h 37"/>
                          <a:gd name="T12" fmla="*/ 59 w 60"/>
                          <a:gd name="T13" fmla="*/ 24 h 37"/>
                          <a:gd name="T14" fmla="*/ 46 w 60"/>
                          <a:gd name="T15" fmla="*/ 8 h 37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  <a:cxn ang="0">
                            <a:pos x="T14" y="T15"/>
                          </a:cxn>
                        </a:cxnLst>
                        <a:rect l="0" t="0" r="r" b="b"/>
                        <a:pathLst>
                          <a:path w="60" h="37">
                            <a:moveTo>
                              <a:pt x="46" y="8"/>
                            </a:moveTo>
                            <a:cubicBezTo>
                              <a:pt x="38" y="7"/>
                              <a:pt x="29" y="5"/>
                              <a:pt x="21" y="2"/>
                            </a:cubicBezTo>
                            <a:cubicBezTo>
                              <a:pt x="14" y="0"/>
                              <a:pt x="6" y="4"/>
                              <a:pt x="3" y="11"/>
                            </a:cubicBezTo>
                            <a:cubicBezTo>
                              <a:pt x="0" y="19"/>
                              <a:pt x="4" y="27"/>
                              <a:pt x="12" y="30"/>
                            </a:cubicBezTo>
                            <a:cubicBezTo>
                              <a:pt x="22" y="33"/>
                              <a:pt x="32" y="36"/>
                              <a:pt x="43" y="37"/>
                            </a:cubicBezTo>
                            <a:cubicBezTo>
                              <a:pt x="43" y="37"/>
                              <a:pt x="44" y="37"/>
                              <a:pt x="44" y="37"/>
                            </a:cubicBezTo>
                            <a:cubicBezTo>
                              <a:pt x="51" y="37"/>
                              <a:pt x="58" y="32"/>
                              <a:pt x="59" y="24"/>
                            </a:cubicBezTo>
                            <a:cubicBezTo>
                              <a:pt x="60" y="16"/>
                              <a:pt x="54" y="9"/>
                              <a:pt x="46" y="8"/>
                            </a:cubicBezTo>
                            <a:close/>
                          </a:path>
                        </a:pathLst>
                      </a:custGeom>
                      <a:solidFill>
                        <a:srgbClr val="4D4D4F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=""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algn="l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1200" b="0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/>
                          <a:cs typeface=""/>
                        </a:endParaRPr>
                      </a:p>
                    </p:txBody>
                  </p:sp>
                  <p:sp>
                    <p:nvSpPr>
                      <p:cNvPr id="2301" name="Freeform 33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4781551" y="2478088"/>
                        <a:ext cx="50800" cy="25400"/>
                      </a:xfrm>
                      <a:custGeom>
                        <a:avLst/>
                        <a:gdLst>
                          <a:gd name="T0" fmla="*/ 43 w 57"/>
                          <a:gd name="T1" fmla="*/ 0 h 29"/>
                          <a:gd name="T2" fmla="*/ 14 w 57"/>
                          <a:gd name="T3" fmla="*/ 0 h 29"/>
                          <a:gd name="T4" fmla="*/ 0 w 57"/>
                          <a:gd name="T5" fmla="*/ 15 h 29"/>
                          <a:gd name="T6" fmla="*/ 14 w 57"/>
                          <a:gd name="T7" fmla="*/ 29 h 29"/>
                          <a:gd name="T8" fmla="*/ 43 w 57"/>
                          <a:gd name="T9" fmla="*/ 29 h 29"/>
                          <a:gd name="T10" fmla="*/ 57 w 57"/>
                          <a:gd name="T11" fmla="*/ 15 h 29"/>
                          <a:gd name="T12" fmla="*/ 43 w 57"/>
                          <a:gd name="T13" fmla="*/ 0 h 29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</a:cxnLst>
                        <a:rect l="0" t="0" r="r" b="b"/>
                        <a:pathLst>
                          <a:path w="57" h="29">
                            <a:moveTo>
                              <a:pt x="43" y="0"/>
                            </a:moveTo>
                            <a:cubicBezTo>
                              <a:pt x="14" y="0"/>
                              <a:pt x="14" y="0"/>
                              <a:pt x="14" y="0"/>
                            </a:cubicBezTo>
                            <a:cubicBezTo>
                              <a:pt x="6" y="0"/>
                              <a:pt x="0" y="7"/>
                              <a:pt x="0" y="15"/>
                            </a:cubicBezTo>
                            <a:cubicBezTo>
                              <a:pt x="0" y="23"/>
                              <a:pt x="6" y="29"/>
                              <a:pt x="14" y="29"/>
                            </a:cubicBezTo>
                            <a:cubicBezTo>
                              <a:pt x="43" y="29"/>
                              <a:pt x="43" y="29"/>
                              <a:pt x="43" y="29"/>
                            </a:cubicBezTo>
                            <a:cubicBezTo>
                              <a:pt x="51" y="29"/>
                              <a:pt x="57" y="23"/>
                              <a:pt x="57" y="15"/>
                            </a:cubicBezTo>
                            <a:cubicBezTo>
                              <a:pt x="57" y="7"/>
                              <a:pt x="51" y="0"/>
                              <a:pt x="43" y="0"/>
                            </a:cubicBezTo>
                            <a:close/>
                          </a:path>
                        </a:pathLst>
                      </a:custGeom>
                      <a:solidFill>
                        <a:srgbClr val="4D4D4F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=""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algn="l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1200" b="0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/>
                          <a:cs typeface=""/>
                        </a:endParaRPr>
                      </a:p>
                    </p:txBody>
                  </p:sp>
                  <p:sp>
                    <p:nvSpPr>
                      <p:cNvPr id="2302" name="Freeform 34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4703763" y="2478088"/>
                        <a:ext cx="50800" cy="25400"/>
                      </a:xfrm>
                      <a:custGeom>
                        <a:avLst/>
                        <a:gdLst>
                          <a:gd name="T0" fmla="*/ 44 w 58"/>
                          <a:gd name="T1" fmla="*/ 0 h 29"/>
                          <a:gd name="T2" fmla="*/ 15 w 58"/>
                          <a:gd name="T3" fmla="*/ 0 h 29"/>
                          <a:gd name="T4" fmla="*/ 0 w 58"/>
                          <a:gd name="T5" fmla="*/ 15 h 29"/>
                          <a:gd name="T6" fmla="*/ 15 w 58"/>
                          <a:gd name="T7" fmla="*/ 29 h 29"/>
                          <a:gd name="T8" fmla="*/ 44 w 58"/>
                          <a:gd name="T9" fmla="*/ 29 h 29"/>
                          <a:gd name="T10" fmla="*/ 58 w 58"/>
                          <a:gd name="T11" fmla="*/ 15 h 29"/>
                          <a:gd name="T12" fmla="*/ 44 w 58"/>
                          <a:gd name="T13" fmla="*/ 0 h 29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</a:cxnLst>
                        <a:rect l="0" t="0" r="r" b="b"/>
                        <a:pathLst>
                          <a:path w="58" h="29">
                            <a:moveTo>
                              <a:pt x="44" y="0"/>
                            </a:moveTo>
                            <a:cubicBezTo>
                              <a:pt x="15" y="0"/>
                              <a:pt x="15" y="0"/>
                              <a:pt x="15" y="0"/>
                            </a:cubicBezTo>
                            <a:cubicBezTo>
                              <a:pt x="7" y="0"/>
                              <a:pt x="0" y="7"/>
                              <a:pt x="0" y="15"/>
                            </a:cubicBezTo>
                            <a:cubicBezTo>
                              <a:pt x="0" y="23"/>
                              <a:pt x="7" y="29"/>
                              <a:pt x="15" y="29"/>
                            </a:cubicBezTo>
                            <a:cubicBezTo>
                              <a:pt x="44" y="29"/>
                              <a:pt x="44" y="29"/>
                              <a:pt x="44" y="29"/>
                            </a:cubicBezTo>
                            <a:cubicBezTo>
                              <a:pt x="51" y="29"/>
                              <a:pt x="58" y="23"/>
                              <a:pt x="58" y="15"/>
                            </a:cubicBezTo>
                            <a:cubicBezTo>
                              <a:pt x="58" y="7"/>
                              <a:pt x="51" y="0"/>
                              <a:pt x="44" y="0"/>
                            </a:cubicBezTo>
                            <a:close/>
                          </a:path>
                        </a:pathLst>
                      </a:custGeom>
                      <a:solidFill>
                        <a:srgbClr val="4D4D4F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=""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algn="l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1200" b="0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/>
                          <a:cs typeface=""/>
                        </a:endParaRPr>
                      </a:p>
                    </p:txBody>
                  </p:sp>
                  <p:sp>
                    <p:nvSpPr>
                      <p:cNvPr id="2303" name="Freeform 35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4625976" y="2478088"/>
                        <a:ext cx="52388" cy="25400"/>
                      </a:xfrm>
                      <a:custGeom>
                        <a:avLst/>
                        <a:gdLst>
                          <a:gd name="T0" fmla="*/ 43 w 58"/>
                          <a:gd name="T1" fmla="*/ 0 h 29"/>
                          <a:gd name="T2" fmla="*/ 15 w 58"/>
                          <a:gd name="T3" fmla="*/ 0 h 29"/>
                          <a:gd name="T4" fmla="*/ 0 w 58"/>
                          <a:gd name="T5" fmla="*/ 15 h 29"/>
                          <a:gd name="T6" fmla="*/ 15 w 58"/>
                          <a:gd name="T7" fmla="*/ 29 h 29"/>
                          <a:gd name="T8" fmla="*/ 43 w 58"/>
                          <a:gd name="T9" fmla="*/ 29 h 29"/>
                          <a:gd name="T10" fmla="*/ 58 w 58"/>
                          <a:gd name="T11" fmla="*/ 15 h 29"/>
                          <a:gd name="T12" fmla="*/ 43 w 58"/>
                          <a:gd name="T13" fmla="*/ 0 h 29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</a:cxnLst>
                        <a:rect l="0" t="0" r="r" b="b"/>
                        <a:pathLst>
                          <a:path w="58" h="29">
                            <a:moveTo>
                              <a:pt x="43" y="0"/>
                            </a:moveTo>
                            <a:cubicBezTo>
                              <a:pt x="15" y="0"/>
                              <a:pt x="15" y="0"/>
                              <a:pt x="15" y="0"/>
                            </a:cubicBezTo>
                            <a:cubicBezTo>
                              <a:pt x="7" y="0"/>
                              <a:pt x="0" y="7"/>
                              <a:pt x="0" y="15"/>
                            </a:cubicBezTo>
                            <a:cubicBezTo>
                              <a:pt x="0" y="23"/>
                              <a:pt x="7" y="29"/>
                              <a:pt x="15" y="29"/>
                            </a:cubicBezTo>
                            <a:cubicBezTo>
                              <a:pt x="43" y="29"/>
                              <a:pt x="43" y="29"/>
                              <a:pt x="43" y="29"/>
                            </a:cubicBezTo>
                            <a:cubicBezTo>
                              <a:pt x="51" y="29"/>
                              <a:pt x="58" y="23"/>
                              <a:pt x="58" y="15"/>
                            </a:cubicBezTo>
                            <a:cubicBezTo>
                              <a:pt x="58" y="7"/>
                              <a:pt x="51" y="0"/>
                              <a:pt x="43" y="0"/>
                            </a:cubicBezTo>
                            <a:close/>
                          </a:path>
                        </a:pathLst>
                      </a:custGeom>
                      <a:solidFill>
                        <a:srgbClr val="4D4D4F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=""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algn="l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1200" b="0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/>
                          <a:cs typeface=""/>
                        </a:endParaRPr>
                      </a:p>
                    </p:txBody>
                  </p:sp>
                  <p:sp>
                    <p:nvSpPr>
                      <p:cNvPr id="2304" name="Freeform 38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4859338" y="2473325"/>
                        <a:ext cx="52388" cy="30163"/>
                      </a:xfrm>
                      <a:custGeom>
                        <a:avLst/>
                        <a:gdLst>
                          <a:gd name="T0" fmla="*/ 39 w 58"/>
                          <a:gd name="T1" fmla="*/ 2 h 34"/>
                          <a:gd name="T2" fmla="*/ 14 w 58"/>
                          <a:gd name="T3" fmla="*/ 5 h 34"/>
                          <a:gd name="T4" fmla="*/ 0 w 58"/>
                          <a:gd name="T5" fmla="*/ 20 h 34"/>
                          <a:gd name="T6" fmla="*/ 14 w 58"/>
                          <a:gd name="T7" fmla="*/ 34 h 34"/>
                          <a:gd name="T8" fmla="*/ 14 w 58"/>
                          <a:gd name="T9" fmla="*/ 34 h 34"/>
                          <a:gd name="T10" fmla="*/ 46 w 58"/>
                          <a:gd name="T11" fmla="*/ 30 h 34"/>
                          <a:gd name="T12" fmla="*/ 56 w 58"/>
                          <a:gd name="T13" fmla="*/ 12 h 34"/>
                          <a:gd name="T14" fmla="*/ 39 w 58"/>
                          <a:gd name="T15" fmla="*/ 2 h 34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  <a:cxn ang="0">
                            <a:pos x="T14" y="T15"/>
                          </a:cxn>
                        </a:cxnLst>
                        <a:rect l="0" t="0" r="r" b="b"/>
                        <a:pathLst>
                          <a:path w="58" h="34">
                            <a:moveTo>
                              <a:pt x="39" y="2"/>
                            </a:moveTo>
                            <a:cubicBezTo>
                              <a:pt x="31" y="4"/>
                              <a:pt x="22" y="5"/>
                              <a:pt x="14" y="5"/>
                            </a:cubicBezTo>
                            <a:cubicBezTo>
                              <a:pt x="6" y="5"/>
                              <a:pt x="0" y="12"/>
                              <a:pt x="0" y="20"/>
                            </a:cubicBezTo>
                            <a:cubicBezTo>
                              <a:pt x="0" y="28"/>
                              <a:pt x="6" y="34"/>
                              <a:pt x="14" y="34"/>
                            </a:cubicBezTo>
                            <a:cubicBezTo>
                              <a:pt x="14" y="34"/>
                              <a:pt x="14" y="34"/>
                              <a:pt x="14" y="34"/>
                            </a:cubicBezTo>
                            <a:cubicBezTo>
                              <a:pt x="25" y="34"/>
                              <a:pt x="36" y="32"/>
                              <a:pt x="46" y="30"/>
                            </a:cubicBezTo>
                            <a:cubicBezTo>
                              <a:pt x="54" y="28"/>
                              <a:pt x="58" y="20"/>
                              <a:pt x="56" y="12"/>
                            </a:cubicBezTo>
                            <a:cubicBezTo>
                              <a:pt x="55" y="5"/>
                              <a:pt x="47" y="0"/>
                              <a:pt x="39" y="2"/>
                            </a:cubicBezTo>
                            <a:close/>
                          </a:path>
                        </a:pathLst>
                      </a:custGeom>
                      <a:solidFill>
                        <a:srgbClr val="4D4D4F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=""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algn="l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1200" b="0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/>
                          <a:cs typeface=""/>
                        </a:endParaRPr>
                      </a:p>
                    </p:txBody>
                  </p:sp>
                </p:grpSp>
                <p:sp>
                  <p:nvSpPr>
                    <p:cNvPr id="2281" name="Freeform 12"/>
                    <p:cNvSpPr>
                      <a:spLocks noEditPoints="1"/>
                    </p:cNvSpPr>
                    <p:nvPr/>
                  </p:nvSpPr>
                  <p:spPr bwMode="auto">
                    <a:xfrm>
                      <a:off x="5406483" y="2446478"/>
                      <a:ext cx="214941" cy="191168"/>
                    </a:xfrm>
                    <a:custGeom>
                      <a:avLst/>
                      <a:gdLst>
                        <a:gd name="T0" fmla="*/ 419 w 494"/>
                        <a:gd name="T1" fmla="*/ 299 h 448"/>
                        <a:gd name="T2" fmla="*/ 403 w 494"/>
                        <a:gd name="T3" fmla="*/ 301 h 448"/>
                        <a:gd name="T4" fmla="*/ 302 w 494"/>
                        <a:gd name="T5" fmla="*/ 126 h 448"/>
                        <a:gd name="T6" fmla="*/ 322 w 494"/>
                        <a:gd name="T7" fmla="*/ 75 h 448"/>
                        <a:gd name="T8" fmla="*/ 247 w 494"/>
                        <a:gd name="T9" fmla="*/ 0 h 448"/>
                        <a:gd name="T10" fmla="*/ 173 w 494"/>
                        <a:gd name="T11" fmla="*/ 75 h 448"/>
                        <a:gd name="T12" fmla="*/ 193 w 494"/>
                        <a:gd name="T13" fmla="*/ 126 h 448"/>
                        <a:gd name="T14" fmla="*/ 91 w 494"/>
                        <a:gd name="T15" fmla="*/ 301 h 448"/>
                        <a:gd name="T16" fmla="*/ 75 w 494"/>
                        <a:gd name="T17" fmla="*/ 299 h 448"/>
                        <a:gd name="T18" fmla="*/ 0 w 494"/>
                        <a:gd name="T19" fmla="*/ 373 h 448"/>
                        <a:gd name="T20" fmla="*/ 75 w 494"/>
                        <a:gd name="T21" fmla="*/ 448 h 448"/>
                        <a:gd name="T22" fmla="*/ 146 w 494"/>
                        <a:gd name="T23" fmla="*/ 395 h 448"/>
                        <a:gd name="T24" fmla="*/ 349 w 494"/>
                        <a:gd name="T25" fmla="*/ 395 h 448"/>
                        <a:gd name="T26" fmla="*/ 419 w 494"/>
                        <a:gd name="T27" fmla="*/ 448 h 448"/>
                        <a:gd name="T28" fmla="*/ 494 w 494"/>
                        <a:gd name="T29" fmla="*/ 373 h 448"/>
                        <a:gd name="T30" fmla="*/ 419 w 494"/>
                        <a:gd name="T31" fmla="*/ 299 h 448"/>
                        <a:gd name="T32" fmla="*/ 349 w 494"/>
                        <a:gd name="T33" fmla="*/ 351 h 448"/>
                        <a:gd name="T34" fmla="*/ 146 w 494"/>
                        <a:gd name="T35" fmla="*/ 351 h 448"/>
                        <a:gd name="T36" fmla="*/ 130 w 494"/>
                        <a:gd name="T37" fmla="*/ 323 h 448"/>
                        <a:gd name="T38" fmla="*/ 231 w 494"/>
                        <a:gd name="T39" fmla="*/ 148 h 448"/>
                        <a:gd name="T40" fmla="*/ 247 w 494"/>
                        <a:gd name="T41" fmla="*/ 150 h 448"/>
                        <a:gd name="T42" fmla="*/ 264 w 494"/>
                        <a:gd name="T43" fmla="*/ 148 h 448"/>
                        <a:gd name="T44" fmla="*/ 365 w 494"/>
                        <a:gd name="T45" fmla="*/ 323 h 448"/>
                        <a:gd name="T46" fmla="*/ 349 w 494"/>
                        <a:gd name="T47" fmla="*/ 351 h 44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</a:cxnLst>
                      <a:rect l="0" t="0" r="r" b="b"/>
                      <a:pathLst>
                        <a:path w="494" h="448">
                          <a:moveTo>
                            <a:pt x="419" y="299"/>
                          </a:moveTo>
                          <a:cubicBezTo>
                            <a:pt x="414" y="299"/>
                            <a:pt x="408" y="300"/>
                            <a:pt x="403" y="301"/>
                          </a:cubicBezTo>
                          <a:cubicBezTo>
                            <a:pt x="302" y="126"/>
                            <a:pt x="302" y="126"/>
                            <a:pt x="302" y="126"/>
                          </a:cubicBezTo>
                          <a:cubicBezTo>
                            <a:pt x="314" y="112"/>
                            <a:pt x="322" y="95"/>
                            <a:pt x="322" y="75"/>
                          </a:cubicBezTo>
                          <a:cubicBezTo>
                            <a:pt x="322" y="34"/>
                            <a:pt x="288" y="0"/>
                            <a:pt x="247" y="0"/>
                          </a:cubicBezTo>
                          <a:cubicBezTo>
                            <a:pt x="206" y="0"/>
                            <a:pt x="173" y="34"/>
                            <a:pt x="173" y="75"/>
                          </a:cubicBezTo>
                          <a:cubicBezTo>
                            <a:pt x="173" y="95"/>
                            <a:pt x="180" y="112"/>
                            <a:pt x="193" y="126"/>
                          </a:cubicBezTo>
                          <a:cubicBezTo>
                            <a:pt x="91" y="301"/>
                            <a:pt x="91" y="301"/>
                            <a:pt x="91" y="301"/>
                          </a:cubicBezTo>
                          <a:cubicBezTo>
                            <a:pt x="86" y="300"/>
                            <a:pt x="81" y="299"/>
                            <a:pt x="75" y="299"/>
                          </a:cubicBezTo>
                          <a:cubicBezTo>
                            <a:pt x="34" y="299"/>
                            <a:pt x="0" y="332"/>
                            <a:pt x="0" y="373"/>
                          </a:cubicBezTo>
                          <a:cubicBezTo>
                            <a:pt x="0" y="415"/>
                            <a:pt x="34" y="448"/>
                            <a:pt x="75" y="448"/>
                          </a:cubicBezTo>
                          <a:cubicBezTo>
                            <a:pt x="108" y="448"/>
                            <a:pt x="136" y="426"/>
                            <a:pt x="146" y="395"/>
                          </a:cubicBezTo>
                          <a:cubicBezTo>
                            <a:pt x="349" y="395"/>
                            <a:pt x="349" y="395"/>
                            <a:pt x="349" y="395"/>
                          </a:cubicBezTo>
                          <a:cubicBezTo>
                            <a:pt x="358" y="426"/>
                            <a:pt x="386" y="448"/>
                            <a:pt x="419" y="448"/>
                          </a:cubicBezTo>
                          <a:cubicBezTo>
                            <a:pt x="461" y="448"/>
                            <a:pt x="494" y="415"/>
                            <a:pt x="494" y="373"/>
                          </a:cubicBezTo>
                          <a:cubicBezTo>
                            <a:pt x="494" y="332"/>
                            <a:pt x="461" y="299"/>
                            <a:pt x="419" y="299"/>
                          </a:cubicBezTo>
                          <a:close/>
                          <a:moveTo>
                            <a:pt x="349" y="351"/>
                          </a:moveTo>
                          <a:cubicBezTo>
                            <a:pt x="146" y="351"/>
                            <a:pt x="146" y="351"/>
                            <a:pt x="146" y="351"/>
                          </a:cubicBezTo>
                          <a:cubicBezTo>
                            <a:pt x="142" y="341"/>
                            <a:pt x="137" y="331"/>
                            <a:pt x="130" y="323"/>
                          </a:cubicBezTo>
                          <a:cubicBezTo>
                            <a:pt x="231" y="148"/>
                            <a:pt x="231" y="148"/>
                            <a:pt x="231" y="148"/>
                          </a:cubicBezTo>
                          <a:cubicBezTo>
                            <a:pt x="236" y="149"/>
                            <a:pt x="242" y="150"/>
                            <a:pt x="247" y="150"/>
                          </a:cubicBezTo>
                          <a:cubicBezTo>
                            <a:pt x="253" y="150"/>
                            <a:pt x="258" y="149"/>
                            <a:pt x="264" y="148"/>
                          </a:cubicBezTo>
                          <a:cubicBezTo>
                            <a:pt x="365" y="323"/>
                            <a:pt x="365" y="323"/>
                            <a:pt x="365" y="323"/>
                          </a:cubicBezTo>
                          <a:cubicBezTo>
                            <a:pt x="358" y="331"/>
                            <a:pt x="352" y="341"/>
                            <a:pt x="349" y="351"/>
                          </a:cubicBezTo>
                          <a:close/>
                        </a:path>
                      </a:pathLst>
                    </a:custGeom>
                    <a:solidFill>
                      <a:sysClr val="window" lastClr="FFFFFF"/>
                    </a:solidFill>
                    <a:ln>
                      <a:noFill/>
                    </a:ln>
                    <a:extLst/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algn="l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200" b="0" i="0" u="none" strike="noStrike" kern="0" cap="none" spc="0" normalizeH="0" baseline="0" noProof="0" dirty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Arial"/>
                        <a:cs typeface=""/>
                      </a:endParaRPr>
                    </a:p>
                  </p:txBody>
                </p:sp>
              </p:grpSp>
            </p:grpSp>
            <p:grpSp>
              <p:nvGrpSpPr>
                <p:cNvPr id="2250" name="Group 2249"/>
                <p:cNvGrpSpPr/>
                <p:nvPr/>
              </p:nvGrpSpPr>
              <p:grpSpPr>
                <a:xfrm>
                  <a:off x="4052026" y="3274323"/>
                  <a:ext cx="309857" cy="268010"/>
                  <a:chOff x="5310724" y="2352924"/>
                  <a:chExt cx="398754" cy="374816"/>
                </a:xfrm>
              </p:grpSpPr>
              <p:sp>
                <p:nvSpPr>
                  <p:cNvPr id="2251" name="Rounded Rectangle 2250"/>
                  <p:cNvSpPr/>
                  <p:nvPr/>
                </p:nvSpPr>
                <p:spPr>
                  <a:xfrm>
                    <a:off x="5351561" y="2386601"/>
                    <a:ext cx="308105" cy="310923"/>
                  </a:xfrm>
                  <a:prstGeom prst="roundRect">
                    <a:avLst/>
                  </a:prstGeom>
                  <a:solidFill>
                    <a:srgbClr val="9BBB59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 smtClean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Arial"/>
                      <a:ea typeface=""/>
                      <a:cs typeface=""/>
                    </a:endParaRPr>
                  </a:p>
                </p:txBody>
              </p:sp>
              <p:grpSp>
                <p:nvGrpSpPr>
                  <p:cNvPr id="2252" name="Group 2251"/>
                  <p:cNvGrpSpPr/>
                  <p:nvPr/>
                </p:nvGrpSpPr>
                <p:grpSpPr>
                  <a:xfrm>
                    <a:off x="5310724" y="2352924"/>
                    <a:ext cx="398754" cy="374816"/>
                    <a:chOff x="5310724" y="2352924"/>
                    <a:chExt cx="398754" cy="374816"/>
                  </a:xfrm>
                </p:grpSpPr>
                <p:grpSp>
                  <p:nvGrpSpPr>
                    <p:cNvPr id="2253" name="Group 2252"/>
                    <p:cNvGrpSpPr/>
                    <p:nvPr/>
                  </p:nvGrpSpPr>
                  <p:grpSpPr>
                    <a:xfrm rot="5400000">
                      <a:off x="5322693" y="2340955"/>
                      <a:ext cx="374816" cy="398754"/>
                      <a:chOff x="4471988" y="1985963"/>
                      <a:chExt cx="527051" cy="517525"/>
                    </a:xfrm>
                  </p:grpSpPr>
                  <p:sp>
                    <p:nvSpPr>
                      <p:cNvPr id="2255" name="Freeform 13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4471988" y="2117725"/>
                        <a:ext cx="25400" cy="50800"/>
                      </a:xfrm>
                      <a:custGeom>
                        <a:avLst/>
                        <a:gdLst>
                          <a:gd name="T0" fmla="*/ 14 w 29"/>
                          <a:gd name="T1" fmla="*/ 57 h 57"/>
                          <a:gd name="T2" fmla="*/ 29 w 29"/>
                          <a:gd name="T3" fmla="*/ 43 h 57"/>
                          <a:gd name="T4" fmla="*/ 29 w 29"/>
                          <a:gd name="T5" fmla="*/ 14 h 57"/>
                          <a:gd name="T6" fmla="*/ 14 w 29"/>
                          <a:gd name="T7" fmla="*/ 0 h 57"/>
                          <a:gd name="T8" fmla="*/ 0 w 29"/>
                          <a:gd name="T9" fmla="*/ 14 h 57"/>
                          <a:gd name="T10" fmla="*/ 0 w 29"/>
                          <a:gd name="T11" fmla="*/ 43 h 57"/>
                          <a:gd name="T12" fmla="*/ 14 w 29"/>
                          <a:gd name="T13" fmla="*/ 57 h 57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</a:cxnLst>
                        <a:rect l="0" t="0" r="r" b="b"/>
                        <a:pathLst>
                          <a:path w="29" h="57">
                            <a:moveTo>
                              <a:pt x="14" y="57"/>
                            </a:moveTo>
                            <a:cubicBezTo>
                              <a:pt x="22" y="57"/>
                              <a:pt x="29" y="51"/>
                              <a:pt x="29" y="43"/>
                            </a:cubicBezTo>
                            <a:cubicBezTo>
                              <a:pt x="29" y="14"/>
                              <a:pt x="29" y="14"/>
                              <a:pt x="29" y="14"/>
                            </a:cubicBezTo>
                            <a:cubicBezTo>
                              <a:pt x="29" y="6"/>
                              <a:pt x="22" y="0"/>
                              <a:pt x="14" y="0"/>
                            </a:cubicBezTo>
                            <a:cubicBezTo>
                              <a:pt x="7" y="0"/>
                              <a:pt x="0" y="6"/>
                              <a:pt x="0" y="14"/>
                            </a:cubicBezTo>
                            <a:cubicBezTo>
                              <a:pt x="0" y="43"/>
                              <a:pt x="0" y="43"/>
                              <a:pt x="0" y="43"/>
                            </a:cubicBezTo>
                            <a:cubicBezTo>
                              <a:pt x="0" y="51"/>
                              <a:pt x="7" y="57"/>
                              <a:pt x="14" y="57"/>
                            </a:cubicBezTo>
                            <a:close/>
                          </a:path>
                        </a:pathLst>
                      </a:custGeom>
                      <a:solidFill>
                        <a:srgbClr val="4D4D4F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=""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algn="l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1200" b="0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/>
                          <a:cs typeface=""/>
                        </a:endParaRPr>
                      </a:p>
                    </p:txBody>
                  </p:sp>
                  <p:sp>
                    <p:nvSpPr>
                      <p:cNvPr id="2256" name="Freeform 14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4471988" y="2271713"/>
                        <a:ext cx="25400" cy="52388"/>
                      </a:xfrm>
                      <a:custGeom>
                        <a:avLst/>
                        <a:gdLst>
                          <a:gd name="T0" fmla="*/ 14 w 29"/>
                          <a:gd name="T1" fmla="*/ 58 h 58"/>
                          <a:gd name="T2" fmla="*/ 29 w 29"/>
                          <a:gd name="T3" fmla="*/ 43 h 58"/>
                          <a:gd name="T4" fmla="*/ 29 w 29"/>
                          <a:gd name="T5" fmla="*/ 15 h 58"/>
                          <a:gd name="T6" fmla="*/ 14 w 29"/>
                          <a:gd name="T7" fmla="*/ 0 h 58"/>
                          <a:gd name="T8" fmla="*/ 0 w 29"/>
                          <a:gd name="T9" fmla="*/ 15 h 58"/>
                          <a:gd name="T10" fmla="*/ 0 w 29"/>
                          <a:gd name="T11" fmla="*/ 43 h 58"/>
                          <a:gd name="T12" fmla="*/ 14 w 29"/>
                          <a:gd name="T13" fmla="*/ 58 h 58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</a:cxnLst>
                        <a:rect l="0" t="0" r="r" b="b"/>
                        <a:pathLst>
                          <a:path w="29" h="58">
                            <a:moveTo>
                              <a:pt x="14" y="58"/>
                            </a:moveTo>
                            <a:cubicBezTo>
                              <a:pt x="22" y="58"/>
                              <a:pt x="29" y="51"/>
                              <a:pt x="29" y="43"/>
                            </a:cubicBezTo>
                            <a:cubicBezTo>
                              <a:pt x="29" y="15"/>
                              <a:pt x="29" y="15"/>
                              <a:pt x="29" y="15"/>
                            </a:cubicBezTo>
                            <a:cubicBezTo>
                              <a:pt x="29" y="7"/>
                              <a:pt x="22" y="0"/>
                              <a:pt x="14" y="0"/>
                            </a:cubicBezTo>
                            <a:cubicBezTo>
                              <a:pt x="7" y="0"/>
                              <a:pt x="0" y="7"/>
                              <a:pt x="0" y="15"/>
                            </a:cubicBezTo>
                            <a:cubicBezTo>
                              <a:pt x="0" y="43"/>
                              <a:pt x="0" y="43"/>
                              <a:pt x="0" y="43"/>
                            </a:cubicBezTo>
                            <a:cubicBezTo>
                              <a:pt x="0" y="51"/>
                              <a:pt x="7" y="58"/>
                              <a:pt x="14" y="58"/>
                            </a:cubicBezTo>
                            <a:close/>
                          </a:path>
                        </a:pathLst>
                      </a:custGeom>
                      <a:solidFill>
                        <a:srgbClr val="4D4D4F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=""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algn="l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1200" b="0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/>
                          <a:cs typeface=""/>
                        </a:endParaRPr>
                      </a:p>
                    </p:txBody>
                  </p:sp>
                  <p:sp>
                    <p:nvSpPr>
                      <p:cNvPr id="2257" name="Freeform 15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4487863" y="2422525"/>
                        <a:ext cx="44450" cy="47625"/>
                      </a:xfrm>
                      <a:custGeom>
                        <a:avLst/>
                        <a:gdLst>
                          <a:gd name="T0" fmla="*/ 29 w 50"/>
                          <a:gd name="T1" fmla="*/ 8 h 53"/>
                          <a:gd name="T2" fmla="*/ 9 w 50"/>
                          <a:gd name="T3" fmla="*/ 4 h 53"/>
                          <a:gd name="T4" fmla="*/ 4 w 50"/>
                          <a:gd name="T5" fmla="*/ 24 h 53"/>
                          <a:gd name="T6" fmla="*/ 24 w 50"/>
                          <a:gd name="T7" fmla="*/ 49 h 53"/>
                          <a:gd name="T8" fmla="*/ 34 w 50"/>
                          <a:gd name="T9" fmla="*/ 53 h 53"/>
                          <a:gd name="T10" fmla="*/ 45 w 50"/>
                          <a:gd name="T11" fmla="*/ 49 h 53"/>
                          <a:gd name="T12" fmla="*/ 45 w 50"/>
                          <a:gd name="T13" fmla="*/ 28 h 53"/>
                          <a:gd name="T14" fmla="*/ 29 w 50"/>
                          <a:gd name="T15" fmla="*/ 8 h 53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  <a:cxn ang="0">
                            <a:pos x="T14" y="T15"/>
                          </a:cxn>
                        </a:cxnLst>
                        <a:rect l="0" t="0" r="r" b="b"/>
                        <a:pathLst>
                          <a:path w="50" h="53">
                            <a:moveTo>
                              <a:pt x="29" y="8"/>
                            </a:moveTo>
                            <a:cubicBezTo>
                              <a:pt x="24" y="2"/>
                              <a:pt x="15" y="0"/>
                              <a:pt x="9" y="4"/>
                            </a:cubicBezTo>
                            <a:cubicBezTo>
                              <a:pt x="2" y="8"/>
                              <a:pt x="0" y="17"/>
                              <a:pt x="4" y="24"/>
                            </a:cubicBezTo>
                            <a:cubicBezTo>
                              <a:pt x="10" y="33"/>
                              <a:pt x="17" y="41"/>
                              <a:pt x="24" y="49"/>
                            </a:cubicBezTo>
                            <a:cubicBezTo>
                              <a:pt x="27" y="51"/>
                              <a:pt x="31" y="53"/>
                              <a:pt x="34" y="53"/>
                            </a:cubicBezTo>
                            <a:cubicBezTo>
                              <a:pt x="38" y="53"/>
                              <a:pt x="42" y="51"/>
                              <a:pt x="45" y="49"/>
                            </a:cubicBezTo>
                            <a:cubicBezTo>
                              <a:pt x="50" y="43"/>
                              <a:pt x="50" y="34"/>
                              <a:pt x="45" y="28"/>
                            </a:cubicBezTo>
                            <a:cubicBezTo>
                              <a:pt x="39" y="22"/>
                              <a:pt x="33" y="15"/>
                              <a:pt x="29" y="8"/>
                            </a:cubicBezTo>
                            <a:close/>
                          </a:path>
                        </a:pathLst>
                      </a:custGeom>
                      <a:solidFill>
                        <a:srgbClr val="4D4D4F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=""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algn="l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1200" b="0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/>
                          <a:cs typeface=""/>
                        </a:endParaRPr>
                      </a:p>
                    </p:txBody>
                  </p:sp>
                  <p:sp>
                    <p:nvSpPr>
                      <p:cNvPr id="2258" name="Freeform 16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4471988" y="2193925"/>
                        <a:ext cx="25400" cy="52388"/>
                      </a:xfrm>
                      <a:custGeom>
                        <a:avLst/>
                        <a:gdLst>
                          <a:gd name="T0" fmla="*/ 14 w 29"/>
                          <a:gd name="T1" fmla="*/ 58 h 58"/>
                          <a:gd name="T2" fmla="*/ 29 w 29"/>
                          <a:gd name="T3" fmla="*/ 43 h 58"/>
                          <a:gd name="T4" fmla="*/ 29 w 29"/>
                          <a:gd name="T5" fmla="*/ 14 h 58"/>
                          <a:gd name="T6" fmla="*/ 14 w 29"/>
                          <a:gd name="T7" fmla="*/ 0 h 58"/>
                          <a:gd name="T8" fmla="*/ 0 w 29"/>
                          <a:gd name="T9" fmla="*/ 14 h 58"/>
                          <a:gd name="T10" fmla="*/ 0 w 29"/>
                          <a:gd name="T11" fmla="*/ 43 h 58"/>
                          <a:gd name="T12" fmla="*/ 14 w 29"/>
                          <a:gd name="T13" fmla="*/ 58 h 58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</a:cxnLst>
                        <a:rect l="0" t="0" r="r" b="b"/>
                        <a:pathLst>
                          <a:path w="29" h="58">
                            <a:moveTo>
                              <a:pt x="14" y="58"/>
                            </a:moveTo>
                            <a:cubicBezTo>
                              <a:pt x="22" y="58"/>
                              <a:pt x="29" y="51"/>
                              <a:pt x="29" y="43"/>
                            </a:cubicBezTo>
                            <a:cubicBezTo>
                              <a:pt x="29" y="14"/>
                              <a:pt x="29" y="14"/>
                              <a:pt x="29" y="14"/>
                            </a:cubicBezTo>
                            <a:cubicBezTo>
                              <a:pt x="29" y="6"/>
                              <a:pt x="22" y="0"/>
                              <a:pt x="14" y="0"/>
                            </a:cubicBezTo>
                            <a:cubicBezTo>
                              <a:pt x="7" y="0"/>
                              <a:pt x="0" y="6"/>
                              <a:pt x="0" y="14"/>
                            </a:cubicBezTo>
                            <a:cubicBezTo>
                              <a:pt x="0" y="43"/>
                              <a:pt x="0" y="43"/>
                              <a:pt x="0" y="43"/>
                            </a:cubicBezTo>
                            <a:cubicBezTo>
                              <a:pt x="0" y="51"/>
                              <a:pt x="7" y="58"/>
                              <a:pt x="14" y="58"/>
                            </a:cubicBezTo>
                            <a:close/>
                          </a:path>
                        </a:pathLst>
                      </a:custGeom>
                      <a:solidFill>
                        <a:srgbClr val="4D4D4F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=""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algn="l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1200" b="0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/>
                          <a:cs typeface=""/>
                        </a:endParaRPr>
                      </a:p>
                    </p:txBody>
                  </p:sp>
                  <p:sp>
                    <p:nvSpPr>
                      <p:cNvPr id="2259" name="Freeform 17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4830763" y="1985963"/>
                        <a:ext cx="50800" cy="26988"/>
                      </a:xfrm>
                      <a:custGeom>
                        <a:avLst/>
                        <a:gdLst>
                          <a:gd name="T0" fmla="*/ 15 w 57"/>
                          <a:gd name="T1" fmla="*/ 29 h 29"/>
                          <a:gd name="T2" fmla="*/ 44 w 57"/>
                          <a:gd name="T3" fmla="*/ 29 h 29"/>
                          <a:gd name="T4" fmla="*/ 57 w 57"/>
                          <a:gd name="T5" fmla="*/ 15 h 29"/>
                          <a:gd name="T6" fmla="*/ 43 w 57"/>
                          <a:gd name="T7" fmla="*/ 0 h 29"/>
                          <a:gd name="T8" fmla="*/ 15 w 57"/>
                          <a:gd name="T9" fmla="*/ 0 h 29"/>
                          <a:gd name="T10" fmla="*/ 0 w 57"/>
                          <a:gd name="T11" fmla="*/ 15 h 29"/>
                          <a:gd name="T12" fmla="*/ 15 w 57"/>
                          <a:gd name="T13" fmla="*/ 29 h 29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</a:cxnLst>
                        <a:rect l="0" t="0" r="r" b="b"/>
                        <a:pathLst>
                          <a:path w="57" h="29">
                            <a:moveTo>
                              <a:pt x="15" y="29"/>
                            </a:moveTo>
                            <a:cubicBezTo>
                              <a:pt x="44" y="29"/>
                              <a:pt x="44" y="29"/>
                              <a:pt x="44" y="29"/>
                            </a:cubicBezTo>
                            <a:cubicBezTo>
                              <a:pt x="51" y="29"/>
                              <a:pt x="57" y="23"/>
                              <a:pt x="57" y="15"/>
                            </a:cubicBezTo>
                            <a:cubicBezTo>
                              <a:pt x="57" y="7"/>
                              <a:pt x="50" y="0"/>
                              <a:pt x="43" y="0"/>
                            </a:cubicBezTo>
                            <a:cubicBezTo>
                              <a:pt x="15" y="0"/>
                              <a:pt x="15" y="0"/>
                              <a:pt x="15" y="0"/>
                            </a:cubicBezTo>
                            <a:cubicBezTo>
                              <a:pt x="7" y="0"/>
                              <a:pt x="0" y="7"/>
                              <a:pt x="0" y="15"/>
                            </a:cubicBezTo>
                            <a:cubicBezTo>
                              <a:pt x="0" y="23"/>
                              <a:pt x="7" y="29"/>
                              <a:pt x="15" y="29"/>
                            </a:cubicBezTo>
                            <a:close/>
                          </a:path>
                        </a:pathLst>
                      </a:custGeom>
                      <a:solidFill>
                        <a:srgbClr val="4D4D4F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=""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algn="l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1200" b="0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/>
                          <a:cs typeface=""/>
                        </a:endParaRPr>
                      </a:p>
                    </p:txBody>
                  </p:sp>
                  <p:sp>
                    <p:nvSpPr>
                      <p:cNvPr id="2260" name="Freeform 18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4905376" y="1997075"/>
                        <a:ext cx="50800" cy="41275"/>
                      </a:xfrm>
                      <a:custGeom>
                        <a:avLst/>
                        <a:gdLst>
                          <a:gd name="T0" fmla="*/ 10 w 56"/>
                          <a:gd name="T1" fmla="*/ 30 h 47"/>
                          <a:gd name="T2" fmla="*/ 31 w 56"/>
                          <a:gd name="T3" fmla="*/ 43 h 47"/>
                          <a:gd name="T4" fmla="*/ 40 w 56"/>
                          <a:gd name="T5" fmla="*/ 47 h 47"/>
                          <a:gd name="T6" fmla="*/ 51 w 56"/>
                          <a:gd name="T7" fmla="*/ 41 h 47"/>
                          <a:gd name="T8" fmla="*/ 49 w 56"/>
                          <a:gd name="T9" fmla="*/ 21 h 47"/>
                          <a:gd name="T10" fmla="*/ 22 w 56"/>
                          <a:gd name="T11" fmla="*/ 4 h 47"/>
                          <a:gd name="T12" fmla="*/ 3 w 56"/>
                          <a:gd name="T13" fmla="*/ 11 h 47"/>
                          <a:gd name="T14" fmla="*/ 10 w 56"/>
                          <a:gd name="T15" fmla="*/ 30 h 47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  <a:cxn ang="0">
                            <a:pos x="T14" y="T15"/>
                          </a:cxn>
                        </a:cxnLst>
                        <a:rect l="0" t="0" r="r" b="b"/>
                        <a:pathLst>
                          <a:path w="56" h="47">
                            <a:moveTo>
                              <a:pt x="10" y="30"/>
                            </a:moveTo>
                            <a:cubicBezTo>
                              <a:pt x="17" y="33"/>
                              <a:pt x="25" y="38"/>
                              <a:pt x="31" y="43"/>
                            </a:cubicBezTo>
                            <a:cubicBezTo>
                              <a:pt x="34" y="46"/>
                              <a:pt x="37" y="47"/>
                              <a:pt x="40" y="47"/>
                            </a:cubicBezTo>
                            <a:cubicBezTo>
                              <a:pt x="44" y="47"/>
                              <a:pt x="49" y="45"/>
                              <a:pt x="51" y="41"/>
                            </a:cubicBezTo>
                            <a:cubicBezTo>
                              <a:pt x="56" y="35"/>
                              <a:pt x="55" y="26"/>
                              <a:pt x="49" y="21"/>
                            </a:cubicBezTo>
                            <a:cubicBezTo>
                              <a:pt x="41" y="14"/>
                              <a:pt x="32" y="9"/>
                              <a:pt x="22" y="4"/>
                            </a:cubicBezTo>
                            <a:cubicBezTo>
                              <a:pt x="15" y="0"/>
                              <a:pt x="7" y="3"/>
                              <a:pt x="3" y="11"/>
                            </a:cubicBezTo>
                            <a:cubicBezTo>
                              <a:pt x="0" y="18"/>
                              <a:pt x="3" y="26"/>
                              <a:pt x="10" y="30"/>
                            </a:cubicBezTo>
                            <a:close/>
                          </a:path>
                        </a:pathLst>
                      </a:custGeom>
                      <a:solidFill>
                        <a:srgbClr val="4D4D4F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=""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algn="l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1200" b="0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/>
                          <a:cs typeface=""/>
                        </a:endParaRPr>
                      </a:p>
                    </p:txBody>
                  </p:sp>
                  <p:sp>
                    <p:nvSpPr>
                      <p:cNvPr id="2261" name="Freeform 19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4476751" y="2039938"/>
                        <a:ext cx="39688" cy="52388"/>
                      </a:xfrm>
                      <a:custGeom>
                        <a:avLst/>
                        <a:gdLst>
                          <a:gd name="T0" fmla="*/ 12 w 45"/>
                          <a:gd name="T1" fmla="*/ 56 h 57"/>
                          <a:gd name="T2" fmla="*/ 16 w 45"/>
                          <a:gd name="T3" fmla="*/ 57 h 57"/>
                          <a:gd name="T4" fmla="*/ 30 w 45"/>
                          <a:gd name="T5" fmla="*/ 47 h 57"/>
                          <a:gd name="T6" fmla="*/ 41 w 45"/>
                          <a:gd name="T7" fmla="*/ 24 h 57"/>
                          <a:gd name="T8" fmla="*/ 36 w 45"/>
                          <a:gd name="T9" fmla="*/ 4 h 57"/>
                          <a:gd name="T10" fmla="*/ 16 w 45"/>
                          <a:gd name="T11" fmla="*/ 9 h 57"/>
                          <a:gd name="T12" fmla="*/ 3 w 45"/>
                          <a:gd name="T13" fmla="*/ 38 h 57"/>
                          <a:gd name="T14" fmla="*/ 12 w 45"/>
                          <a:gd name="T15" fmla="*/ 56 h 57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  <a:cxn ang="0">
                            <a:pos x="T14" y="T15"/>
                          </a:cxn>
                        </a:cxnLst>
                        <a:rect l="0" t="0" r="r" b="b"/>
                        <a:pathLst>
                          <a:path w="45" h="57">
                            <a:moveTo>
                              <a:pt x="12" y="56"/>
                            </a:moveTo>
                            <a:cubicBezTo>
                              <a:pt x="13" y="57"/>
                              <a:pt x="15" y="57"/>
                              <a:pt x="16" y="57"/>
                            </a:cubicBezTo>
                            <a:cubicBezTo>
                              <a:pt x="22" y="57"/>
                              <a:pt x="28" y="53"/>
                              <a:pt x="30" y="47"/>
                            </a:cubicBezTo>
                            <a:cubicBezTo>
                              <a:pt x="33" y="39"/>
                              <a:pt x="36" y="32"/>
                              <a:pt x="41" y="24"/>
                            </a:cubicBezTo>
                            <a:cubicBezTo>
                              <a:pt x="45" y="17"/>
                              <a:pt x="43" y="9"/>
                              <a:pt x="36" y="4"/>
                            </a:cubicBezTo>
                            <a:cubicBezTo>
                              <a:pt x="29" y="0"/>
                              <a:pt x="21" y="2"/>
                              <a:pt x="16" y="9"/>
                            </a:cubicBezTo>
                            <a:cubicBezTo>
                              <a:pt x="11" y="18"/>
                              <a:pt x="6" y="28"/>
                              <a:pt x="3" y="38"/>
                            </a:cubicBezTo>
                            <a:cubicBezTo>
                              <a:pt x="0" y="45"/>
                              <a:pt x="4" y="54"/>
                              <a:pt x="12" y="56"/>
                            </a:cubicBezTo>
                            <a:close/>
                          </a:path>
                        </a:pathLst>
                      </a:custGeom>
                      <a:solidFill>
                        <a:srgbClr val="4D4D4F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=""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algn="l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1200" b="0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/>
                          <a:cs typeface=""/>
                        </a:endParaRPr>
                      </a:p>
                    </p:txBody>
                  </p:sp>
                  <p:sp>
                    <p:nvSpPr>
                      <p:cNvPr id="2262" name="Freeform 20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4522788" y="1992313"/>
                        <a:ext cx="52388" cy="39688"/>
                      </a:xfrm>
                      <a:custGeom>
                        <a:avLst/>
                        <a:gdLst>
                          <a:gd name="T0" fmla="*/ 55 w 58"/>
                          <a:gd name="T1" fmla="*/ 11 h 43"/>
                          <a:gd name="T2" fmla="*/ 37 w 58"/>
                          <a:gd name="T3" fmla="*/ 2 h 43"/>
                          <a:gd name="T4" fmla="*/ 9 w 58"/>
                          <a:gd name="T5" fmla="*/ 17 h 43"/>
                          <a:gd name="T6" fmla="*/ 4 w 58"/>
                          <a:gd name="T7" fmla="*/ 37 h 43"/>
                          <a:gd name="T8" fmla="*/ 16 w 58"/>
                          <a:gd name="T9" fmla="*/ 43 h 43"/>
                          <a:gd name="T10" fmla="*/ 24 w 58"/>
                          <a:gd name="T11" fmla="*/ 41 h 43"/>
                          <a:gd name="T12" fmla="*/ 47 w 58"/>
                          <a:gd name="T13" fmla="*/ 29 h 43"/>
                          <a:gd name="T14" fmla="*/ 55 w 58"/>
                          <a:gd name="T15" fmla="*/ 11 h 43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  <a:cxn ang="0">
                            <a:pos x="T14" y="T15"/>
                          </a:cxn>
                        </a:cxnLst>
                        <a:rect l="0" t="0" r="r" b="b"/>
                        <a:pathLst>
                          <a:path w="58" h="43">
                            <a:moveTo>
                              <a:pt x="55" y="11"/>
                            </a:moveTo>
                            <a:cubicBezTo>
                              <a:pt x="53" y="3"/>
                              <a:pt x="44" y="0"/>
                              <a:pt x="37" y="2"/>
                            </a:cubicBezTo>
                            <a:cubicBezTo>
                              <a:pt x="27" y="6"/>
                              <a:pt x="17" y="11"/>
                              <a:pt x="9" y="17"/>
                            </a:cubicBezTo>
                            <a:cubicBezTo>
                              <a:pt x="2" y="21"/>
                              <a:pt x="0" y="30"/>
                              <a:pt x="4" y="37"/>
                            </a:cubicBezTo>
                            <a:cubicBezTo>
                              <a:pt x="7" y="41"/>
                              <a:pt x="12" y="43"/>
                              <a:pt x="16" y="43"/>
                            </a:cubicBezTo>
                            <a:cubicBezTo>
                              <a:pt x="19" y="43"/>
                              <a:pt x="22" y="43"/>
                              <a:pt x="24" y="41"/>
                            </a:cubicBezTo>
                            <a:cubicBezTo>
                              <a:pt x="31" y="36"/>
                              <a:pt x="39" y="32"/>
                              <a:pt x="47" y="29"/>
                            </a:cubicBezTo>
                            <a:cubicBezTo>
                              <a:pt x="54" y="27"/>
                              <a:pt x="58" y="18"/>
                              <a:pt x="55" y="11"/>
                            </a:cubicBezTo>
                            <a:close/>
                          </a:path>
                        </a:pathLst>
                      </a:custGeom>
                      <a:solidFill>
                        <a:srgbClr val="4D4D4F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=""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algn="l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1200" b="0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/>
                          <a:cs typeface=""/>
                        </a:endParaRPr>
                      </a:p>
                    </p:txBody>
                  </p:sp>
                  <p:sp>
                    <p:nvSpPr>
                      <p:cNvPr id="2263" name="Freeform 21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4959351" y="2051050"/>
                        <a:ext cx="36513" cy="52388"/>
                      </a:xfrm>
                      <a:custGeom>
                        <a:avLst/>
                        <a:gdLst>
                          <a:gd name="T0" fmla="*/ 13 w 42"/>
                          <a:gd name="T1" fmla="*/ 47 h 58"/>
                          <a:gd name="T2" fmla="*/ 27 w 42"/>
                          <a:gd name="T3" fmla="*/ 58 h 58"/>
                          <a:gd name="T4" fmla="*/ 30 w 42"/>
                          <a:gd name="T5" fmla="*/ 57 h 58"/>
                          <a:gd name="T6" fmla="*/ 41 w 42"/>
                          <a:gd name="T7" fmla="*/ 40 h 58"/>
                          <a:gd name="T8" fmla="*/ 30 w 42"/>
                          <a:gd name="T9" fmla="*/ 10 h 58"/>
                          <a:gd name="T10" fmla="*/ 11 w 42"/>
                          <a:gd name="T11" fmla="*/ 4 h 58"/>
                          <a:gd name="T12" fmla="*/ 4 w 42"/>
                          <a:gd name="T13" fmla="*/ 23 h 58"/>
                          <a:gd name="T14" fmla="*/ 13 w 42"/>
                          <a:gd name="T15" fmla="*/ 47 h 58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  <a:cxn ang="0">
                            <a:pos x="T14" y="T15"/>
                          </a:cxn>
                        </a:cxnLst>
                        <a:rect l="0" t="0" r="r" b="b"/>
                        <a:pathLst>
                          <a:path w="42" h="58">
                            <a:moveTo>
                              <a:pt x="13" y="47"/>
                            </a:moveTo>
                            <a:cubicBezTo>
                              <a:pt x="14" y="53"/>
                              <a:pt x="20" y="58"/>
                              <a:pt x="27" y="58"/>
                            </a:cubicBezTo>
                            <a:cubicBezTo>
                              <a:pt x="28" y="58"/>
                              <a:pt x="29" y="58"/>
                              <a:pt x="30" y="57"/>
                            </a:cubicBezTo>
                            <a:cubicBezTo>
                              <a:pt x="38" y="56"/>
                              <a:pt x="42" y="48"/>
                              <a:pt x="41" y="40"/>
                            </a:cubicBezTo>
                            <a:cubicBezTo>
                              <a:pt x="38" y="30"/>
                              <a:pt x="35" y="20"/>
                              <a:pt x="30" y="10"/>
                            </a:cubicBezTo>
                            <a:cubicBezTo>
                              <a:pt x="26" y="3"/>
                              <a:pt x="18" y="0"/>
                              <a:pt x="11" y="4"/>
                            </a:cubicBezTo>
                            <a:cubicBezTo>
                              <a:pt x="3" y="7"/>
                              <a:pt x="0" y="16"/>
                              <a:pt x="4" y="23"/>
                            </a:cubicBezTo>
                            <a:cubicBezTo>
                              <a:pt x="8" y="31"/>
                              <a:pt x="11" y="39"/>
                              <a:pt x="13" y="47"/>
                            </a:cubicBezTo>
                            <a:close/>
                          </a:path>
                        </a:pathLst>
                      </a:custGeom>
                      <a:solidFill>
                        <a:srgbClr val="4D4D4F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=""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algn="l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1200" b="0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/>
                          <a:cs typeface=""/>
                        </a:endParaRPr>
                      </a:p>
                    </p:txBody>
                  </p:sp>
                  <p:sp>
                    <p:nvSpPr>
                      <p:cNvPr id="2264" name="Freeform 22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4598988" y="1985963"/>
                        <a:ext cx="52388" cy="26988"/>
                      </a:xfrm>
                      <a:custGeom>
                        <a:avLst/>
                        <a:gdLst>
                          <a:gd name="T0" fmla="*/ 14 w 58"/>
                          <a:gd name="T1" fmla="*/ 29 h 29"/>
                          <a:gd name="T2" fmla="*/ 43 w 58"/>
                          <a:gd name="T3" fmla="*/ 29 h 29"/>
                          <a:gd name="T4" fmla="*/ 58 w 58"/>
                          <a:gd name="T5" fmla="*/ 15 h 29"/>
                          <a:gd name="T6" fmla="*/ 43 w 58"/>
                          <a:gd name="T7" fmla="*/ 0 h 29"/>
                          <a:gd name="T8" fmla="*/ 14 w 58"/>
                          <a:gd name="T9" fmla="*/ 0 h 29"/>
                          <a:gd name="T10" fmla="*/ 0 w 58"/>
                          <a:gd name="T11" fmla="*/ 15 h 29"/>
                          <a:gd name="T12" fmla="*/ 14 w 58"/>
                          <a:gd name="T13" fmla="*/ 29 h 29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</a:cxnLst>
                        <a:rect l="0" t="0" r="r" b="b"/>
                        <a:pathLst>
                          <a:path w="58" h="29">
                            <a:moveTo>
                              <a:pt x="14" y="29"/>
                            </a:moveTo>
                            <a:cubicBezTo>
                              <a:pt x="43" y="29"/>
                              <a:pt x="43" y="29"/>
                              <a:pt x="43" y="29"/>
                            </a:cubicBezTo>
                            <a:cubicBezTo>
                              <a:pt x="51" y="29"/>
                              <a:pt x="58" y="23"/>
                              <a:pt x="58" y="15"/>
                            </a:cubicBezTo>
                            <a:cubicBezTo>
                              <a:pt x="58" y="7"/>
                              <a:pt x="51" y="0"/>
                              <a:pt x="43" y="0"/>
                            </a:cubicBezTo>
                            <a:cubicBezTo>
                              <a:pt x="14" y="0"/>
                              <a:pt x="14" y="0"/>
                              <a:pt x="14" y="0"/>
                            </a:cubicBezTo>
                            <a:cubicBezTo>
                              <a:pt x="6" y="0"/>
                              <a:pt x="0" y="7"/>
                              <a:pt x="0" y="15"/>
                            </a:cubicBezTo>
                            <a:cubicBezTo>
                              <a:pt x="0" y="23"/>
                              <a:pt x="6" y="29"/>
                              <a:pt x="14" y="29"/>
                            </a:cubicBezTo>
                            <a:close/>
                          </a:path>
                        </a:pathLst>
                      </a:custGeom>
                      <a:solidFill>
                        <a:srgbClr val="4D4D4F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=""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algn="l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1200" b="0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/>
                          <a:cs typeface=""/>
                        </a:endParaRPr>
                      </a:p>
                    </p:txBody>
                  </p:sp>
                  <p:sp>
                    <p:nvSpPr>
                      <p:cNvPr id="2265" name="Freeform 23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4676776" y="1985963"/>
                        <a:ext cx="50800" cy="26988"/>
                      </a:xfrm>
                      <a:custGeom>
                        <a:avLst/>
                        <a:gdLst>
                          <a:gd name="T0" fmla="*/ 15 w 58"/>
                          <a:gd name="T1" fmla="*/ 29 h 29"/>
                          <a:gd name="T2" fmla="*/ 43 w 58"/>
                          <a:gd name="T3" fmla="*/ 29 h 29"/>
                          <a:gd name="T4" fmla="*/ 58 w 58"/>
                          <a:gd name="T5" fmla="*/ 15 h 29"/>
                          <a:gd name="T6" fmla="*/ 43 w 58"/>
                          <a:gd name="T7" fmla="*/ 0 h 29"/>
                          <a:gd name="T8" fmla="*/ 15 w 58"/>
                          <a:gd name="T9" fmla="*/ 0 h 29"/>
                          <a:gd name="T10" fmla="*/ 0 w 58"/>
                          <a:gd name="T11" fmla="*/ 15 h 29"/>
                          <a:gd name="T12" fmla="*/ 15 w 58"/>
                          <a:gd name="T13" fmla="*/ 29 h 29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</a:cxnLst>
                        <a:rect l="0" t="0" r="r" b="b"/>
                        <a:pathLst>
                          <a:path w="58" h="29">
                            <a:moveTo>
                              <a:pt x="15" y="29"/>
                            </a:moveTo>
                            <a:cubicBezTo>
                              <a:pt x="43" y="29"/>
                              <a:pt x="43" y="29"/>
                              <a:pt x="43" y="29"/>
                            </a:cubicBezTo>
                            <a:cubicBezTo>
                              <a:pt x="51" y="29"/>
                              <a:pt x="58" y="23"/>
                              <a:pt x="58" y="15"/>
                            </a:cubicBezTo>
                            <a:cubicBezTo>
                              <a:pt x="58" y="7"/>
                              <a:pt x="51" y="0"/>
                              <a:pt x="43" y="0"/>
                            </a:cubicBezTo>
                            <a:cubicBezTo>
                              <a:pt x="15" y="0"/>
                              <a:pt x="15" y="0"/>
                              <a:pt x="15" y="0"/>
                            </a:cubicBezTo>
                            <a:cubicBezTo>
                              <a:pt x="7" y="0"/>
                              <a:pt x="0" y="7"/>
                              <a:pt x="0" y="15"/>
                            </a:cubicBezTo>
                            <a:cubicBezTo>
                              <a:pt x="0" y="23"/>
                              <a:pt x="7" y="29"/>
                              <a:pt x="15" y="29"/>
                            </a:cubicBezTo>
                            <a:close/>
                          </a:path>
                        </a:pathLst>
                      </a:custGeom>
                      <a:solidFill>
                        <a:srgbClr val="4D4D4F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=""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algn="l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1200" b="0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/>
                          <a:cs typeface=""/>
                        </a:endParaRPr>
                      </a:p>
                    </p:txBody>
                  </p:sp>
                  <p:sp>
                    <p:nvSpPr>
                      <p:cNvPr id="2266" name="Freeform 24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4752976" y="1985963"/>
                        <a:ext cx="52388" cy="26988"/>
                      </a:xfrm>
                      <a:custGeom>
                        <a:avLst/>
                        <a:gdLst>
                          <a:gd name="T0" fmla="*/ 15 w 58"/>
                          <a:gd name="T1" fmla="*/ 29 h 29"/>
                          <a:gd name="T2" fmla="*/ 43 w 58"/>
                          <a:gd name="T3" fmla="*/ 29 h 29"/>
                          <a:gd name="T4" fmla="*/ 58 w 58"/>
                          <a:gd name="T5" fmla="*/ 15 h 29"/>
                          <a:gd name="T6" fmla="*/ 43 w 58"/>
                          <a:gd name="T7" fmla="*/ 0 h 29"/>
                          <a:gd name="T8" fmla="*/ 15 w 58"/>
                          <a:gd name="T9" fmla="*/ 0 h 29"/>
                          <a:gd name="T10" fmla="*/ 0 w 58"/>
                          <a:gd name="T11" fmla="*/ 15 h 29"/>
                          <a:gd name="T12" fmla="*/ 15 w 58"/>
                          <a:gd name="T13" fmla="*/ 29 h 29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</a:cxnLst>
                        <a:rect l="0" t="0" r="r" b="b"/>
                        <a:pathLst>
                          <a:path w="58" h="29">
                            <a:moveTo>
                              <a:pt x="15" y="29"/>
                            </a:moveTo>
                            <a:cubicBezTo>
                              <a:pt x="43" y="29"/>
                              <a:pt x="43" y="29"/>
                              <a:pt x="43" y="29"/>
                            </a:cubicBezTo>
                            <a:cubicBezTo>
                              <a:pt x="51" y="29"/>
                              <a:pt x="58" y="23"/>
                              <a:pt x="58" y="15"/>
                            </a:cubicBezTo>
                            <a:cubicBezTo>
                              <a:pt x="58" y="7"/>
                              <a:pt x="51" y="0"/>
                              <a:pt x="43" y="0"/>
                            </a:cubicBezTo>
                            <a:cubicBezTo>
                              <a:pt x="15" y="0"/>
                              <a:pt x="15" y="0"/>
                              <a:pt x="15" y="0"/>
                            </a:cubicBezTo>
                            <a:cubicBezTo>
                              <a:pt x="7" y="0"/>
                              <a:pt x="0" y="7"/>
                              <a:pt x="0" y="15"/>
                            </a:cubicBezTo>
                            <a:cubicBezTo>
                              <a:pt x="0" y="23"/>
                              <a:pt x="7" y="29"/>
                              <a:pt x="15" y="29"/>
                            </a:cubicBezTo>
                            <a:close/>
                          </a:path>
                        </a:pathLst>
                      </a:custGeom>
                      <a:solidFill>
                        <a:srgbClr val="4D4D4F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=""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algn="l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1200" b="0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/>
                          <a:cs typeface=""/>
                        </a:endParaRPr>
                      </a:p>
                    </p:txBody>
                  </p:sp>
                  <p:sp>
                    <p:nvSpPr>
                      <p:cNvPr id="2267" name="Freeform 25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4471988" y="2349500"/>
                        <a:ext cx="26988" cy="52388"/>
                      </a:xfrm>
                      <a:custGeom>
                        <a:avLst/>
                        <a:gdLst>
                          <a:gd name="T0" fmla="*/ 30 w 31"/>
                          <a:gd name="T1" fmla="*/ 42 h 58"/>
                          <a:gd name="T2" fmla="*/ 29 w 31"/>
                          <a:gd name="T3" fmla="*/ 28 h 58"/>
                          <a:gd name="T4" fmla="*/ 29 w 31"/>
                          <a:gd name="T5" fmla="*/ 15 h 58"/>
                          <a:gd name="T6" fmla="*/ 14 w 31"/>
                          <a:gd name="T7" fmla="*/ 0 h 58"/>
                          <a:gd name="T8" fmla="*/ 0 w 31"/>
                          <a:gd name="T9" fmla="*/ 15 h 58"/>
                          <a:gd name="T10" fmla="*/ 0 w 31"/>
                          <a:gd name="T11" fmla="*/ 28 h 58"/>
                          <a:gd name="T12" fmla="*/ 1 w 31"/>
                          <a:gd name="T13" fmla="*/ 45 h 58"/>
                          <a:gd name="T14" fmla="*/ 15 w 31"/>
                          <a:gd name="T15" fmla="*/ 58 h 58"/>
                          <a:gd name="T16" fmla="*/ 17 w 31"/>
                          <a:gd name="T17" fmla="*/ 58 h 58"/>
                          <a:gd name="T18" fmla="*/ 30 w 31"/>
                          <a:gd name="T19" fmla="*/ 42 h 58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  <a:cxn ang="0">
                            <a:pos x="T14" y="T15"/>
                          </a:cxn>
                          <a:cxn ang="0">
                            <a:pos x="T16" y="T17"/>
                          </a:cxn>
                          <a:cxn ang="0">
                            <a:pos x="T18" y="T19"/>
                          </a:cxn>
                        </a:cxnLst>
                        <a:rect l="0" t="0" r="r" b="b"/>
                        <a:pathLst>
                          <a:path w="31" h="58">
                            <a:moveTo>
                              <a:pt x="30" y="42"/>
                            </a:moveTo>
                            <a:cubicBezTo>
                              <a:pt x="29" y="37"/>
                              <a:pt x="29" y="33"/>
                              <a:pt x="29" y="28"/>
                            </a:cubicBezTo>
                            <a:cubicBezTo>
                              <a:pt x="29" y="15"/>
                              <a:pt x="29" y="15"/>
                              <a:pt x="29" y="15"/>
                            </a:cubicBezTo>
                            <a:cubicBezTo>
                              <a:pt x="29" y="7"/>
                              <a:pt x="22" y="0"/>
                              <a:pt x="14" y="0"/>
                            </a:cubicBezTo>
                            <a:cubicBezTo>
                              <a:pt x="7" y="0"/>
                              <a:pt x="0" y="7"/>
                              <a:pt x="0" y="15"/>
                            </a:cubicBezTo>
                            <a:cubicBezTo>
                              <a:pt x="0" y="28"/>
                              <a:pt x="0" y="28"/>
                              <a:pt x="0" y="28"/>
                            </a:cubicBezTo>
                            <a:cubicBezTo>
                              <a:pt x="0" y="34"/>
                              <a:pt x="0" y="39"/>
                              <a:pt x="1" y="45"/>
                            </a:cubicBezTo>
                            <a:cubicBezTo>
                              <a:pt x="2" y="52"/>
                              <a:pt x="8" y="58"/>
                              <a:pt x="15" y="58"/>
                            </a:cubicBezTo>
                            <a:cubicBezTo>
                              <a:pt x="16" y="58"/>
                              <a:pt x="17" y="58"/>
                              <a:pt x="17" y="58"/>
                            </a:cubicBezTo>
                            <a:cubicBezTo>
                              <a:pt x="25" y="57"/>
                              <a:pt x="31" y="50"/>
                              <a:pt x="30" y="42"/>
                            </a:cubicBezTo>
                            <a:close/>
                          </a:path>
                        </a:pathLst>
                      </a:custGeom>
                      <a:solidFill>
                        <a:srgbClr val="4D4D4F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=""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algn="l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1200" b="0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/>
                          <a:cs typeface=""/>
                        </a:endParaRPr>
                      </a:p>
                    </p:txBody>
                  </p:sp>
                  <p:sp>
                    <p:nvSpPr>
                      <p:cNvPr id="2268" name="Freeform 26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4973638" y="2282825"/>
                        <a:ext cx="25400" cy="52388"/>
                      </a:xfrm>
                      <a:custGeom>
                        <a:avLst/>
                        <a:gdLst>
                          <a:gd name="T0" fmla="*/ 14 w 29"/>
                          <a:gd name="T1" fmla="*/ 0 h 58"/>
                          <a:gd name="T2" fmla="*/ 0 w 29"/>
                          <a:gd name="T3" fmla="*/ 15 h 58"/>
                          <a:gd name="T4" fmla="*/ 0 w 29"/>
                          <a:gd name="T5" fmla="*/ 44 h 58"/>
                          <a:gd name="T6" fmla="*/ 14 w 29"/>
                          <a:gd name="T7" fmla="*/ 58 h 58"/>
                          <a:gd name="T8" fmla="*/ 29 w 29"/>
                          <a:gd name="T9" fmla="*/ 44 h 58"/>
                          <a:gd name="T10" fmla="*/ 29 w 29"/>
                          <a:gd name="T11" fmla="*/ 15 h 58"/>
                          <a:gd name="T12" fmla="*/ 14 w 29"/>
                          <a:gd name="T13" fmla="*/ 0 h 58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</a:cxnLst>
                        <a:rect l="0" t="0" r="r" b="b"/>
                        <a:pathLst>
                          <a:path w="29" h="58">
                            <a:moveTo>
                              <a:pt x="14" y="0"/>
                            </a:moveTo>
                            <a:cubicBezTo>
                              <a:pt x="6" y="0"/>
                              <a:pt x="0" y="7"/>
                              <a:pt x="0" y="15"/>
                            </a:cubicBezTo>
                            <a:cubicBezTo>
                              <a:pt x="0" y="44"/>
                              <a:pt x="0" y="44"/>
                              <a:pt x="0" y="44"/>
                            </a:cubicBezTo>
                            <a:cubicBezTo>
                              <a:pt x="0" y="52"/>
                              <a:pt x="6" y="58"/>
                              <a:pt x="14" y="58"/>
                            </a:cubicBezTo>
                            <a:cubicBezTo>
                              <a:pt x="22" y="58"/>
                              <a:pt x="29" y="52"/>
                              <a:pt x="29" y="44"/>
                            </a:cubicBezTo>
                            <a:cubicBezTo>
                              <a:pt x="29" y="15"/>
                              <a:pt x="29" y="15"/>
                              <a:pt x="29" y="15"/>
                            </a:cubicBezTo>
                            <a:cubicBezTo>
                              <a:pt x="29" y="7"/>
                              <a:pt x="22" y="0"/>
                              <a:pt x="14" y="0"/>
                            </a:cubicBezTo>
                            <a:close/>
                          </a:path>
                        </a:pathLst>
                      </a:custGeom>
                      <a:solidFill>
                        <a:srgbClr val="4D4D4F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=""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algn="l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1200" b="0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/>
                          <a:cs typeface=""/>
                        </a:endParaRPr>
                      </a:p>
                    </p:txBody>
                  </p:sp>
                  <p:sp>
                    <p:nvSpPr>
                      <p:cNvPr id="2269" name="Freeform 28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4927601" y="2432050"/>
                        <a:ext cx="47625" cy="46038"/>
                      </a:xfrm>
                      <a:custGeom>
                        <a:avLst/>
                        <a:gdLst>
                          <a:gd name="T0" fmla="*/ 25 w 53"/>
                          <a:gd name="T1" fmla="*/ 7 h 51"/>
                          <a:gd name="T2" fmla="*/ 7 w 53"/>
                          <a:gd name="T3" fmla="*/ 25 h 51"/>
                          <a:gd name="T4" fmla="*/ 5 w 53"/>
                          <a:gd name="T5" fmla="*/ 45 h 51"/>
                          <a:gd name="T6" fmla="*/ 16 w 53"/>
                          <a:gd name="T7" fmla="*/ 51 h 51"/>
                          <a:gd name="T8" fmla="*/ 25 w 53"/>
                          <a:gd name="T9" fmla="*/ 47 h 51"/>
                          <a:gd name="T10" fmla="*/ 48 w 53"/>
                          <a:gd name="T11" fmla="*/ 25 h 51"/>
                          <a:gd name="T12" fmla="*/ 45 w 53"/>
                          <a:gd name="T13" fmla="*/ 5 h 51"/>
                          <a:gd name="T14" fmla="*/ 25 w 53"/>
                          <a:gd name="T15" fmla="*/ 7 h 51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  <a:cxn ang="0">
                            <a:pos x="T14" y="T15"/>
                          </a:cxn>
                        </a:cxnLst>
                        <a:rect l="0" t="0" r="r" b="b"/>
                        <a:pathLst>
                          <a:path w="53" h="51">
                            <a:moveTo>
                              <a:pt x="25" y="7"/>
                            </a:moveTo>
                            <a:cubicBezTo>
                              <a:pt x="20" y="14"/>
                              <a:pt x="14" y="20"/>
                              <a:pt x="7" y="25"/>
                            </a:cubicBezTo>
                            <a:cubicBezTo>
                              <a:pt x="1" y="30"/>
                              <a:pt x="0" y="39"/>
                              <a:pt x="5" y="45"/>
                            </a:cubicBezTo>
                            <a:cubicBezTo>
                              <a:pt x="8" y="49"/>
                              <a:pt x="12" y="51"/>
                              <a:pt x="16" y="51"/>
                            </a:cubicBezTo>
                            <a:cubicBezTo>
                              <a:pt x="20" y="51"/>
                              <a:pt x="23" y="50"/>
                              <a:pt x="25" y="47"/>
                            </a:cubicBezTo>
                            <a:cubicBezTo>
                              <a:pt x="34" y="41"/>
                              <a:pt x="41" y="33"/>
                              <a:pt x="48" y="25"/>
                            </a:cubicBezTo>
                            <a:cubicBezTo>
                              <a:pt x="53" y="19"/>
                              <a:pt x="52" y="9"/>
                              <a:pt x="45" y="5"/>
                            </a:cubicBezTo>
                            <a:cubicBezTo>
                              <a:pt x="39" y="0"/>
                              <a:pt x="30" y="1"/>
                              <a:pt x="25" y="7"/>
                            </a:cubicBezTo>
                            <a:close/>
                          </a:path>
                        </a:pathLst>
                      </a:custGeom>
                      <a:solidFill>
                        <a:srgbClr val="4D4D4F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=""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algn="l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1200" b="0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/>
                          <a:cs typeface=""/>
                        </a:endParaRPr>
                      </a:p>
                    </p:txBody>
                  </p:sp>
                  <p:sp>
                    <p:nvSpPr>
                      <p:cNvPr id="2270" name="Freeform 29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4968876" y="2360613"/>
                        <a:ext cx="30163" cy="52388"/>
                      </a:xfrm>
                      <a:custGeom>
                        <a:avLst/>
                        <a:gdLst>
                          <a:gd name="T0" fmla="*/ 19 w 34"/>
                          <a:gd name="T1" fmla="*/ 0 h 58"/>
                          <a:gd name="T2" fmla="*/ 5 w 34"/>
                          <a:gd name="T3" fmla="*/ 15 h 58"/>
                          <a:gd name="T4" fmla="*/ 2 w 34"/>
                          <a:gd name="T5" fmla="*/ 40 h 58"/>
                          <a:gd name="T6" fmla="*/ 13 w 34"/>
                          <a:gd name="T7" fmla="*/ 58 h 58"/>
                          <a:gd name="T8" fmla="*/ 16 w 34"/>
                          <a:gd name="T9" fmla="*/ 58 h 58"/>
                          <a:gd name="T10" fmla="*/ 30 w 34"/>
                          <a:gd name="T11" fmla="*/ 47 h 58"/>
                          <a:gd name="T12" fmla="*/ 34 w 34"/>
                          <a:gd name="T13" fmla="*/ 15 h 58"/>
                          <a:gd name="T14" fmla="*/ 34 w 34"/>
                          <a:gd name="T15" fmla="*/ 14 h 58"/>
                          <a:gd name="T16" fmla="*/ 19 w 34"/>
                          <a:gd name="T17" fmla="*/ 0 h 58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  <a:cxn ang="0">
                            <a:pos x="T14" y="T15"/>
                          </a:cxn>
                          <a:cxn ang="0">
                            <a:pos x="T16" y="T17"/>
                          </a:cxn>
                        </a:cxnLst>
                        <a:rect l="0" t="0" r="r" b="b"/>
                        <a:pathLst>
                          <a:path w="34" h="58">
                            <a:moveTo>
                              <a:pt x="19" y="0"/>
                            </a:moveTo>
                            <a:cubicBezTo>
                              <a:pt x="11" y="0"/>
                              <a:pt x="5" y="7"/>
                              <a:pt x="5" y="15"/>
                            </a:cubicBezTo>
                            <a:cubicBezTo>
                              <a:pt x="5" y="24"/>
                              <a:pt x="4" y="32"/>
                              <a:pt x="2" y="40"/>
                            </a:cubicBezTo>
                            <a:cubicBezTo>
                              <a:pt x="0" y="48"/>
                              <a:pt x="5" y="56"/>
                              <a:pt x="13" y="58"/>
                            </a:cubicBezTo>
                            <a:cubicBezTo>
                              <a:pt x="14" y="58"/>
                              <a:pt x="15" y="58"/>
                              <a:pt x="16" y="58"/>
                            </a:cubicBezTo>
                            <a:cubicBezTo>
                              <a:pt x="23" y="58"/>
                              <a:pt x="29" y="53"/>
                              <a:pt x="30" y="47"/>
                            </a:cubicBezTo>
                            <a:cubicBezTo>
                              <a:pt x="32" y="36"/>
                              <a:pt x="34" y="26"/>
                              <a:pt x="34" y="15"/>
                            </a:cubicBezTo>
                            <a:cubicBezTo>
                              <a:pt x="34" y="14"/>
                              <a:pt x="34" y="14"/>
                              <a:pt x="34" y="14"/>
                            </a:cubicBezTo>
                            <a:cubicBezTo>
                              <a:pt x="34" y="6"/>
                              <a:pt x="27" y="0"/>
                              <a:pt x="19" y="0"/>
                            </a:cubicBezTo>
                            <a:close/>
                          </a:path>
                        </a:pathLst>
                      </a:custGeom>
                      <a:solidFill>
                        <a:srgbClr val="4D4D4F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=""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algn="l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1200" b="0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/>
                          <a:cs typeface=""/>
                        </a:endParaRPr>
                      </a:p>
                    </p:txBody>
                  </p:sp>
                  <p:sp>
                    <p:nvSpPr>
                      <p:cNvPr id="2271" name="Freeform 30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4973638" y="2205038"/>
                        <a:ext cx="25400" cy="52388"/>
                      </a:xfrm>
                      <a:custGeom>
                        <a:avLst/>
                        <a:gdLst>
                          <a:gd name="T0" fmla="*/ 14 w 29"/>
                          <a:gd name="T1" fmla="*/ 0 h 58"/>
                          <a:gd name="T2" fmla="*/ 0 w 29"/>
                          <a:gd name="T3" fmla="*/ 15 h 58"/>
                          <a:gd name="T4" fmla="*/ 0 w 29"/>
                          <a:gd name="T5" fmla="*/ 43 h 58"/>
                          <a:gd name="T6" fmla="*/ 14 w 29"/>
                          <a:gd name="T7" fmla="*/ 58 h 58"/>
                          <a:gd name="T8" fmla="*/ 29 w 29"/>
                          <a:gd name="T9" fmla="*/ 43 h 58"/>
                          <a:gd name="T10" fmla="*/ 29 w 29"/>
                          <a:gd name="T11" fmla="*/ 15 h 58"/>
                          <a:gd name="T12" fmla="*/ 14 w 29"/>
                          <a:gd name="T13" fmla="*/ 0 h 58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</a:cxnLst>
                        <a:rect l="0" t="0" r="r" b="b"/>
                        <a:pathLst>
                          <a:path w="29" h="58">
                            <a:moveTo>
                              <a:pt x="14" y="0"/>
                            </a:moveTo>
                            <a:cubicBezTo>
                              <a:pt x="6" y="0"/>
                              <a:pt x="0" y="7"/>
                              <a:pt x="0" y="15"/>
                            </a:cubicBezTo>
                            <a:cubicBezTo>
                              <a:pt x="0" y="43"/>
                              <a:pt x="0" y="43"/>
                              <a:pt x="0" y="43"/>
                            </a:cubicBezTo>
                            <a:cubicBezTo>
                              <a:pt x="0" y="51"/>
                              <a:pt x="6" y="58"/>
                              <a:pt x="14" y="58"/>
                            </a:cubicBezTo>
                            <a:cubicBezTo>
                              <a:pt x="22" y="58"/>
                              <a:pt x="29" y="51"/>
                              <a:pt x="29" y="43"/>
                            </a:cubicBezTo>
                            <a:cubicBezTo>
                              <a:pt x="29" y="15"/>
                              <a:pt x="29" y="15"/>
                              <a:pt x="29" y="15"/>
                            </a:cubicBezTo>
                            <a:cubicBezTo>
                              <a:pt x="29" y="7"/>
                              <a:pt x="22" y="0"/>
                              <a:pt x="14" y="0"/>
                            </a:cubicBezTo>
                            <a:close/>
                          </a:path>
                        </a:pathLst>
                      </a:custGeom>
                      <a:solidFill>
                        <a:srgbClr val="4D4D4F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=""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algn="l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1200" b="0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/>
                          <a:cs typeface=""/>
                        </a:endParaRPr>
                      </a:p>
                    </p:txBody>
                  </p:sp>
                  <p:sp>
                    <p:nvSpPr>
                      <p:cNvPr id="2272" name="Freeform 31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4973638" y="2127250"/>
                        <a:ext cx="25400" cy="52388"/>
                      </a:xfrm>
                      <a:custGeom>
                        <a:avLst/>
                        <a:gdLst>
                          <a:gd name="T0" fmla="*/ 14 w 29"/>
                          <a:gd name="T1" fmla="*/ 0 h 58"/>
                          <a:gd name="T2" fmla="*/ 0 w 29"/>
                          <a:gd name="T3" fmla="*/ 15 h 58"/>
                          <a:gd name="T4" fmla="*/ 0 w 29"/>
                          <a:gd name="T5" fmla="*/ 43 h 58"/>
                          <a:gd name="T6" fmla="*/ 14 w 29"/>
                          <a:gd name="T7" fmla="*/ 58 h 58"/>
                          <a:gd name="T8" fmla="*/ 29 w 29"/>
                          <a:gd name="T9" fmla="*/ 43 h 58"/>
                          <a:gd name="T10" fmla="*/ 29 w 29"/>
                          <a:gd name="T11" fmla="*/ 15 h 58"/>
                          <a:gd name="T12" fmla="*/ 14 w 29"/>
                          <a:gd name="T13" fmla="*/ 0 h 58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</a:cxnLst>
                        <a:rect l="0" t="0" r="r" b="b"/>
                        <a:pathLst>
                          <a:path w="29" h="58">
                            <a:moveTo>
                              <a:pt x="14" y="0"/>
                            </a:moveTo>
                            <a:cubicBezTo>
                              <a:pt x="6" y="0"/>
                              <a:pt x="0" y="7"/>
                              <a:pt x="0" y="15"/>
                            </a:cubicBezTo>
                            <a:cubicBezTo>
                              <a:pt x="0" y="43"/>
                              <a:pt x="0" y="43"/>
                              <a:pt x="0" y="43"/>
                            </a:cubicBezTo>
                            <a:cubicBezTo>
                              <a:pt x="0" y="51"/>
                              <a:pt x="6" y="58"/>
                              <a:pt x="14" y="58"/>
                            </a:cubicBezTo>
                            <a:cubicBezTo>
                              <a:pt x="22" y="58"/>
                              <a:pt x="29" y="51"/>
                              <a:pt x="29" y="43"/>
                            </a:cubicBezTo>
                            <a:cubicBezTo>
                              <a:pt x="29" y="15"/>
                              <a:pt x="29" y="15"/>
                              <a:pt x="29" y="15"/>
                            </a:cubicBezTo>
                            <a:cubicBezTo>
                              <a:pt x="29" y="7"/>
                              <a:pt x="22" y="0"/>
                              <a:pt x="14" y="0"/>
                            </a:cubicBezTo>
                            <a:close/>
                          </a:path>
                        </a:pathLst>
                      </a:custGeom>
                      <a:solidFill>
                        <a:srgbClr val="4D4D4F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=""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algn="l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1200" b="0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/>
                          <a:cs typeface=""/>
                        </a:endParaRPr>
                      </a:p>
                    </p:txBody>
                  </p:sp>
                  <p:sp>
                    <p:nvSpPr>
                      <p:cNvPr id="2273" name="Freeform 32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4546601" y="2470150"/>
                        <a:ext cx="53975" cy="33338"/>
                      </a:xfrm>
                      <a:custGeom>
                        <a:avLst/>
                        <a:gdLst>
                          <a:gd name="T0" fmla="*/ 46 w 60"/>
                          <a:gd name="T1" fmla="*/ 8 h 37"/>
                          <a:gd name="T2" fmla="*/ 21 w 60"/>
                          <a:gd name="T3" fmla="*/ 2 h 37"/>
                          <a:gd name="T4" fmla="*/ 3 w 60"/>
                          <a:gd name="T5" fmla="*/ 11 h 37"/>
                          <a:gd name="T6" fmla="*/ 12 w 60"/>
                          <a:gd name="T7" fmla="*/ 30 h 37"/>
                          <a:gd name="T8" fmla="*/ 43 w 60"/>
                          <a:gd name="T9" fmla="*/ 37 h 37"/>
                          <a:gd name="T10" fmla="*/ 44 w 60"/>
                          <a:gd name="T11" fmla="*/ 37 h 37"/>
                          <a:gd name="T12" fmla="*/ 59 w 60"/>
                          <a:gd name="T13" fmla="*/ 24 h 37"/>
                          <a:gd name="T14" fmla="*/ 46 w 60"/>
                          <a:gd name="T15" fmla="*/ 8 h 37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  <a:cxn ang="0">
                            <a:pos x="T14" y="T15"/>
                          </a:cxn>
                        </a:cxnLst>
                        <a:rect l="0" t="0" r="r" b="b"/>
                        <a:pathLst>
                          <a:path w="60" h="37">
                            <a:moveTo>
                              <a:pt x="46" y="8"/>
                            </a:moveTo>
                            <a:cubicBezTo>
                              <a:pt x="38" y="7"/>
                              <a:pt x="29" y="5"/>
                              <a:pt x="21" y="2"/>
                            </a:cubicBezTo>
                            <a:cubicBezTo>
                              <a:pt x="14" y="0"/>
                              <a:pt x="6" y="4"/>
                              <a:pt x="3" y="11"/>
                            </a:cubicBezTo>
                            <a:cubicBezTo>
                              <a:pt x="0" y="19"/>
                              <a:pt x="4" y="27"/>
                              <a:pt x="12" y="30"/>
                            </a:cubicBezTo>
                            <a:cubicBezTo>
                              <a:pt x="22" y="33"/>
                              <a:pt x="32" y="36"/>
                              <a:pt x="43" y="37"/>
                            </a:cubicBezTo>
                            <a:cubicBezTo>
                              <a:pt x="43" y="37"/>
                              <a:pt x="44" y="37"/>
                              <a:pt x="44" y="37"/>
                            </a:cubicBezTo>
                            <a:cubicBezTo>
                              <a:pt x="51" y="37"/>
                              <a:pt x="58" y="32"/>
                              <a:pt x="59" y="24"/>
                            </a:cubicBezTo>
                            <a:cubicBezTo>
                              <a:pt x="60" y="16"/>
                              <a:pt x="54" y="9"/>
                              <a:pt x="46" y="8"/>
                            </a:cubicBezTo>
                            <a:close/>
                          </a:path>
                        </a:pathLst>
                      </a:custGeom>
                      <a:solidFill>
                        <a:srgbClr val="4D4D4F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=""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algn="l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1200" b="0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/>
                          <a:cs typeface=""/>
                        </a:endParaRPr>
                      </a:p>
                    </p:txBody>
                  </p:sp>
                  <p:sp>
                    <p:nvSpPr>
                      <p:cNvPr id="2274" name="Freeform 33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4781551" y="2478088"/>
                        <a:ext cx="50800" cy="25400"/>
                      </a:xfrm>
                      <a:custGeom>
                        <a:avLst/>
                        <a:gdLst>
                          <a:gd name="T0" fmla="*/ 43 w 57"/>
                          <a:gd name="T1" fmla="*/ 0 h 29"/>
                          <a:gd name="T2" fmla="*/ 14 w 57"/>
                          <a:gd name="T3" fmla="*/ 0 h 29"/>
                          <a:gd name="T4" fmla="*/ 0 w 57"/>
                          <a:gd name="T5" fmla="*/ 15 h 29"/>
                          <a:gd name="T6" fmla="*/ 14 w 57"/>
                          <a:gd name="T7" fmla="*/ 29 h 29"/>
                          <a:gd name="T8" fmla="*/ 43 w 57"/>
                          <a:gd name="T9" fmla="*/ 29 h 29"/>
                          <a:gd name="T10" fmla="*/ 57 w 57"/>
                          <a:gd name="T11" fmla="*/ 15 h 29"/>
                          <a:gd name="T12" fmla="*/ 43 w 57"/>
                          <a:gd name="T13" fmla="*/ 0 h 29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</a:cxnLst>
                        <a:rect l="0" t="0" r="r" b="b"/>
                        <a:pathLst>
                          <a:path w="57" h="29">
                            <a:moveTo>
                              <a:pt x="43" y="0"/>
                            </a:moveTo>
                            <a:cubicBezTo>
                              <a:pt x="14" y="0"/>
                              <a:pt x="14" y="0"/>
                              <a:pt x="14" y="0"/>
                            </a:cubicBezTo>
                            <a:cubicBezTo>
                              <a:pt x="6" y="0"/>
                              <a:pt x="0" y="7"/>
                              <a:pt x="0" y="15"/>
                            </a:cubicBezTo>
                            <a:cubicBezTo>
                              <a:pt x="0" y="23"/>
                              <a:pt x="6" y="29"/>
                              <a:pt x="14" y="29"/>
                            </a:cubicBezTo>
                            <a:cubicBezTo>
                              <a:pt x="43" y="29"/>
                              <a:pt x="43" y="29"/>
                              <a:pt x="43" y="29"/>
                            </a:cubicBezTo>
                            <a:cubicBezTo>
                              <a:pt x="51" y="29"/>
                              <a:pt x="57" y="23"/>
                              <a:pt x="57" y="15"/>
                            </a:cubicBezTo>
                            <a:cubicBezTo>
                              <a:pt x="57" y="7"/>
                              <a:pt x="51" y="0"/>
                              <a:pt x="43" y="0"/>
                            </a:cubicBezTo>
                            <a:close/>
                          </a:path>
                        </a:pathLst>
                      </a:custGeom>
                      <a:solidFill>
                        <a:srgbClr val="4D4D4F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=""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algn="l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1200" b="0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/>
                          <a:cs typeface=""/>
                        </a:endParaRPr>
                      </a:p>
                    </p:txBody>
                  </p:sp>
                  <p:sp>
                    <p:nvSpPr>
                      <p:cNvPr id="2275" name="Freeform 34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4703763" y="2478088"/>
                        <a:ext cx="50800" cy="25400"/>
                      </a:xfrm>
                      <a:custGeom>
                        <a:avLst/>
                        <a:gdLst>
                          <a:gd name="T0" fmla="*/ 44 w 58"/>
                          <a:gd name="T1" fmla="*/ 0 h 29"/>
                          <a:gd name="T2" fmla="*/ 15 w 58"/>
                          <a:gd name="T3" fmla="*/ 0 h 29"/>
                          <a:gd name="T4" fmla="*/ 0 w 58"/>
                          <a:gd name="T5" fmla="*/ 15 h 29"/>
                          <a:gd name="T6" fmla="*/ 15 w 58"/>
                          <a:gd name="T7" fmla="*/ 29 h 29"/>
                          <a:gd name="T8" fmla="*/ 44 w 58"/>
                          <a:gd name="T9" fmla="*/ 29 h 29"/>
                          <a:gd name="T10" fmla="*/ 58 w 58"/>
                          <a:gd name="T11" fmla="*/ 15 h 29"/>
                          <a:gd name="T12" fmla="*/ 44 w 58"/>
                          <a:gd name="T13" fmla="*/ 0 h 29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</a:cxnLst>
                        <a:rect l="0" t="0" r="r" b="b"/>
                        <a:pathLst>
                          <a:path w="58" h="29">
                            <a:moveTo>
                              <a:pt x="44" y="0"/>
                            </a:moveTo>
                            <a:cubicBezTo>
                              <a:pt x="15" y="0"/>
                              <a:pt x="15" y="0"/>
                              <a:pt x="15" y="0"/>
                            </a:cubicBezTo>
                            <a:cubicBezTo>
                              <a:pt x="7" y="0"/>
                              <a:pt x="0" y="7"/>
                              <a:pt x="0" y="15"/>
                            </a:cubicBezTo>
                            <a:cubicBezTo>
                              <a:pt x="0" y="23"/>
                              <a:pt x="7" y="29"/>
                              <a:pt x="15" y="29"/>
                            </a:cubicBezTo>
                            <a:cubicBezTo>
                              <a:pt x="44" y="29"/>
                              <a:pt x="44" y="29"/>
                              <a:pt x="44" y="29"/>
                            </a:cubicBezTo>
                            <a:cubicBezTo>
                              <a:pt x="51" y="29"/>
                              <a:pt x="58" y="23"/>
                              <a:pt x="58" y="15"/>
                            </a:cubicBezTo>
                            <a:cubicBezTo>
                              <a:pt x="58" y="7"/>
                              <a:pt x="51" y="0"/>
                              <a:pt x="44" y="0"/>
                            </a:cubicBezTo>
                            <a:close/>
                          </a:path>
                        </a:pathLst>
                      </a:custGeom>
                      <a:solidFill>
                        <a:srgbClr val="4D4D4F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=""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algn="l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1200" b="0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/>
                          <a:cs typeface=""/>
                        </a:endParaRPr>
                      </a:p>
                    </p:txBody>
                  </p:sp>
                  <p:sp>
                    <p:nvSpPr>
                      <p:cNvPr id="2276" name="Freeform 35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4625976" y="2478088"/>
                        <a:ext cx="52388" cy="25400"/>
                      </a:xfrm>
                      <a:custGeom>
                        <a:avLst/>
                        <a:gdLst>
                          <a:gd name="T0" fmla="*/ 43 w 58"/>
                          <a:gd name="T1" fmla="*/ 0 h 29"/>
                          <a:gd name="T2" fmla="*/ 15 w 58"/>
                          <a:gd name="T3" fmla="*/ 0 h 29"/>
                          <a:gd name="T4" fmla="*/ 0 w 58"/>
                          <a:gd name="T5" fmla="*/ 15 h 29"/>
                          <a:gd name="T6" fmla="*/ 15 w 58"/>
                          <a:gd name="T7" fmla="*/ 29 h 29"/>
                          <a:gd name="T8" fmla="*/ 43 w 58"/>
                          <a:gd name="T9" fmla="*/ 29 h 29"/>
                          <a:gd name="T10" fmla="*/ 58 w 58"/>
                          <a:gd name="T11" fmla="*/ 15 h 29"/>
                          <a:gd name="T12" fmla="*/ 43 w 58"/>
                          <a:gd name="T13" fmla="*/ 0 h 29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</a:cxnLst>
                        <a:rect l="0" t="0" r="r" b="b"/>
                        <a:pathLst>
                          <a:path w="58" h="29">
                            <a:moveTo>
                              <a:pt x="43" y="0"/>
                            </a:moveTo>
                            <a:cubicBezTo>
                              <a:pt x="15" y="0"/>
                              <a:pt x="15" y="0"/>
                              <a:pt x="15" y="0"/>
                            </a:cubicBezTo>
                            <a:cubicBezTo>
                              <a:pt x="7" y="0"/>
                              <a:pt x="0" y="7"/>
                              <a:pt x="0" y="15"/>
                            </a:cubicBezTo>
                            <a:cubicBezTo>
                              <a:pt x="0" y="23"/>
                              <a:pt x="7" y="29"/>
                              <a:pt x="15" y="29"/>
                            </a:cubicBezTo>
                            <a:cubicBezTo>
                              <a:pt x="43" y="29"/>
                              <a:pt x="43" y="29"/>
                              <a:pt x="43" y="29"/>
                            </a:cubicBezTo>
                            <a:cubicBezTo>
                              <a:pt x="51" y="29"/>
                              <a:pt x="58" y="23"/>
                              <a:pt x="58" y="15"/>
                            </a:cubicBezTo>
                            <a:cubicBezTo>
                              <a:pt x="58" y="7"/>
                              <a:pt x="51" y="0"/>
                              <a:pt x="43" y="0"/>
                            </a:cubicBezTo>
                            <a:close/>
                          </a:path>
                        </a:pathLst>
                      </a:custGeom>
                      <a:solidFill>
                        <a:srgbClr val="4D4D4F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=""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algn="l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1200" b="0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/>
                          <a:cs typeface=""/>
                        </a:endParaRPr>
                      </a:p>
                    </p:txBody>
                  </p:sp>
                  <p:sp>
                    <p:nvSpPr>
                      <p:cNvPr id="2277" name="Freeform 2276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4859338" y="2473325"/>
                        <a:ext cx="52388" cy="30163"/>
                      </a:xfrm>
                      <a:custGeom>
                        <a:avLst/>
                        <a:gdLst>
                          <a:gd name="T0" fmla="*/ 39 w 58"/>
                          <a:gd name="T1" fmla="*/ 2 h 34"/>
                          <a:gd name="T2" fmla="*/ 14 w 58"/>
                          <a:gd name="T3" fmla="*/ 5 h 34"/>
                          <a:gd name="T4" fmla="*/ 0 w 58"/>
                          <a:gd name="T5" fmla="*/ 20 h 34"/>
                          <a:gd name="T6" fmla="*/ 14 w 58"/>
                          <a:gd name="T7" fmla="*/ 34 h 34"/>
                          <a:gd name="T8" fmla="*/ 14 w 58"/>
                          <a:gd name="T9" fmla="*/ 34 h 34"/>
                          <a:gd name="T10" fmla="*/ 46 w 58"/>
                          <a:gd name="T11" fmla="*/ 30 h 34"/>
                          <a:gd name="T12" fmla="*/ 56 w 58"/>
                          <a:gd name="T13" fmla="*/ 12 h 34"/>
                          <a:gd name="T14" fmla="*/ 39 w 58"/>
                          <a:gd name="T15" fmla="*/ 2 h 34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  <a:cxn ang="0">
                            <a:pos x="T14" y="T15"/>
                          </a:cxn>
                        </a:cxnLst>
                        <a:rect l="0" t="0" r="r" b="b"/>
                        <a:pathLst>
                          <a:path w="58" h="34">
                            <a:moveTo>
                              <a:pt x="39" y="2"/>
                            </a:moveTo>
                            <a:cubicBezTo>
                              <a:pt x="31" y="4"/>
                              <a:pt x="22" y="5"/>
                              <a:pt x="14" y="5"/>
                            </a:cubicBezTo>
                            <a:cubicBezTo>
                              <a:pt x="6" y="5"/>
                              <a:pt x="0" y="12"/>
                              <a:pt x="0" y="20"/>
                            </a:cubicBezTo>
                            <a:cubicBezTo>
                              <a:pt x="0" y="28"/>
                              <a:pt x="6" y="34"/>
                              <a:pt x="14" y="34"/>
                            </a:cubicBezTo>
                            <a:cubicBezTo>
                              <a:pt x="14" y="34"/>
                              <a:pt x="14" y="34"/>
                              <a:pt x="14" y="34"/>
                            </a:cubicBezTo>
                            <a:cubicBezTo>
                              <a:pt x="25" y="34"/>
                              <a:pt x="36" y="32"/>
                              <a:pt x="46" y="30"/>
                            </a:cubicBezTo>
                            <a:cubicBezTo>
                              <a:pt x="54" y="28"/>
                              <a:pt x="58" y="20"/>
                              <a:pt x="56" y="12"/>
                            </a:cubicBezTo>
                            <a:cubicBezTo>
                              <a:pt x="55" y="5"/>
                              <a:pt x="47" y="0"/>
                              <a:pt x="39" y="2"/>
                            </a:cubicBezTo>
                            <a:close/>
                          </a:path>
                        </a:pathLst>
                      </a:custGeom>
                      <a:solidFill>
                        <a:srgbClr val="4D4D4F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=""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algn="l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1200" b="0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/>
                          <a:cs typeface=""/>
                        </a:endParaRPr>
                      </a:p>
                    </p:txBody>
                  </p:sp>
                </p:grpSp>
                <p:sp>
                  <p:nvSpPr>
                    <p:cNvPr id="2254" name="Freeform 12"/>
                    <p:cNvSpPr>
                      <a:spLocks noEditPoints="1"/>
                    </p:cNvSpPr>
                    <p:nvPr/>
                  </p:nvSpPr>
                  <p:spPr bwMode="auto">
                    <a:xfrm>
                      <a:off x="5406483" y="2446478"/>
                      <a:ext cx="214941" cy="191168"/>
                    </a:xfrm>
                    <a:custGeom>
                      <a:avLst/>
                      <a:gdLst>
                        <a:gd name="T0" fmla="*/ 419 w 494"/>
                        <a:gd name="T1" fmla="*/ 299 h 448"/>
                        <a:gd name="T2" fmla="*/ 403 w 494"/>
                        <a:gd name="T3" fmla="*/ 301 h 448"/>
                        <a:gd name="T4" fmla="*/ 302 w 494"/>
                        <a:gd name="T5" fmla="*/ 126 h 448"/>
                        <a:gd name="T6" fmla="*/ 322 w 494"/>
                        <a:gd name="T7" fmla="*/ 75 h 448"/>
                        <a:gd name="T8" fmla="*/ 247 w 494"/>
                        <a:gd name="T9" fmla="*/ 0 h 448"/>
                        <a:gd name="T10" fmla="*/ 173 w 494"/>
                        <a:gd name="T11" fmla="*/ 75 h 448"/>
                        <a:gd name="T12" fmla="*/ 193 w 494"/>
                        <a:gd name="T13" fmla="*/ 126 h 448"/>
                        <a:gd name="T14" fmla="*/ 91 w 494"/>
                        <a:gd name="T15" fmla="*/ 301 h 448"/>
                        <a:gd name="T16" fmla="*/ 75 w 494"/>
                        <a:gd name="T17" fmla="*/ 299 h 448"/>
                        <a:gd name="T18" fmla="*/ 0 w 494"/>
                        <a:gd name="T19" fmla="*/ 373 h 448"/>
                        <a:gd name="T20" fmla="*/ 75 w 494"/>
                        <a:gd name="T21" fmla="*/ 448 h 448"/>
                        <a:gd name="T22" fmla="*/ 146 w 494"/>
                        <a:gd name="T23" fmla="*/ 395 h 448"/>
                        <a:gd name="T24" fmla="*/ 349 w 494"/>
                        <a:gd name="T25" fmla="*/ 395 h 448"/>
                        <a:gd name="T26" fmla="*/ 419 w 494"/>
                        <a:gd name="T27" fmla="*/ 448 h 448"/>
                        <a:gd name="T28" fmla="*/ 494 w 494"/>
                        <a:gd name="T29" fmla="*/ 373 h 448"/>
                        <a:gd name="T30" fmla="*/ 419 w 494"/>
                        <a:gd name="T31" fmla="*/ 299 h 448"/>
                        <a:gd name="T32" fmla="*/ 349 w 494"/>
                        <a:gd name="T33" fmla="*/ 351 h 448"/>
                        <a:gd name="T34" fmla="*/ 146 w 494"/>
                        <a:gd name="T35" fmla="*/ 351 h 448"/>
                        <a:gd name="T36" fmla="*/ 130 w 494"/>
                        <a:gd name="T37" fmla="*/ 323 h 448"/>
                        <a:gd name="T38" fmla="*/ 231 w 494"/>
                        <a:gd name="T39" fmla="*/ 148 h 448"/>
                        <a:gd name="T40" fmla="*/ 247 w 494"/>
                        <a:gd name="T41" fmla="*/ 150 h 448"/>
                        <a:gd name="T42" fmla="*/ 264 w 494"/>
                        <a:gd name="T43" fmla="*/ 148 h 448"/>
                        <a:gd name="T44" fmla="*/ 365 w 494"/>
                        <a:gd name="T45" fmla="*/ 323 h 448"/>
                        <a:gd name="T46" fmla="*/ 349 w 494"/>
                        <a:gd name="T47" fmla="*/ 351 h 44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</a:cxnLst>
                      <a:rect l="0" t="0" r="r" b="b"/>
                      <a:pathLst>
                        <a:path w="494" h="448">
                          <a:moveTo>
                            <a:pt x="419" y="299"/>
                          </a:moveTo>
                          <a:cubicBezTo>
                            <a:pt x="414" y="299"/>
                            <a:pt x="408" y="300"/>
                            <a:pt x="403" y="301"/>
                          </a:cubicBezTo>
                          <a:cubicBezTo>
                            <a:pt x="302" y="126"/>
                            <a:pt x="302" y="126"/>
                            <a:pt x="302" y="126"/>
                          </a:cubicBezTo>
                          <a:cubicBezTo>
                            <a:pt x="314" y="112"/>
                            <a:pt x="322" y="95"/>
                            <a:pt x="322" y="75"/>
                          </a:cubicBezTo>
                          <a:cubicBezTo>
                            <a:pt x="322" y="34"/>
                            <a:pt x="288" y="0"/>
                            <a:pt x="247" y="0"/>
                          </a:cubicBezTo>
                          <a:cubicBezTo>
                            <a:pt x="206" y="0"/>
                            <a:pt x="173" y="34"/>
                            <a:pt x="173" y="75"/>
                          </a:cubicBezTo>
                          <a:cubicBezTo>
                            <a:pt x="173" y="95"/>
                            <a:pt x="180" y="112"/>
                            <a:pt x="193" y="126"/>
                          </a:cubicBezTo>
                          <a:cubicBezTo>
                            <a:pt x="91" y="301"/>
                            <a:pt x="91" y="301"/>
                            <a:pt x="91" y="301"/>
                          </a:cubicBezTo>
                          <a:cubicBezTo>
                            <a:pt x="86" y="300"/>
                            <a:pt x="81" y="299"/>
                            <a:pt x="75" y="299"/>
                          </a:cubicBezTo>
                          <a:cubicBezTo>
                            <a:pt x="34" y="299"/>
                            <a:pt x="0" y="332"/>
                            <a:pt x="0" y="373"/>
                          </a:cubicBezTo>
                          <a:cubicBezTo>
                            <a:pt x="0" y="415"/>
                            <a:pt x="34" y="448"/>
                            <a:pt x="75" y="448"/>
                          </a:cubicBezTo>
                          <a:cubicBezTo>
                            <a:pt x="108" y="448"/>
                            <a:pt x="136" y="426"/>
                            <a:pt x="146" y="395"/>
                          </a:cubicBezTo>
                          <a:cubicBezTo>
                            <a:pt x="349" y="395"/>
                            <a:pt x="349" y="395"/>
                            <a:pt x="349" y="395"/>
                          </a:cubicBezTo>
                          <a:cubicBezTo>
                            <a:pt x="358" y="426"/>
                            <a:pt x="386" y="448"/>
                            <a:pt x="419" y="448"/>
                          </a:cubicBezTo>
                          <a:cubicBezTo>
                            <a:pt x="461" y="448"/>
                            <a:pt x="494" y="415"/>
                            <a:pt x="494" y="373"/>
                          </a:cubicBezTo>
                          <a:cubicBezTo>
                            <a:pt x="494" y="332"/>
                            <a:pt x="461" y="299"/>
                            <a:pt x="419" y="299"/>
                          </a:cubicBezTo>
                          <a:close/>
                          <a:moveTo>
                            <a:pt x="349" y="351"/>
                          </a:moveTo>
                          <a:cubicBezTo>
                            <a:pt x="146" y="351"/>
                            <a:pt x="146" y="351"/>
                            <a:pt x="146" y="351"/>
                          </a:cubicBezTo>
                          <a:cubicBezTo>
                            <a:pt x="142" y="341"/>
                            <a:pt x="137" y="331"/>
                            <a:pt x="130" y="323"/>
                          </a:cubicBezTo>
                          <a:cubicBezTo>
                            <a:pt x="231" y="148"/>
                            <a:pt x="231" y="148"/>
                            <a:pt x="231" y="148"/>
                          </a:cubicBezTo>
                          <a:cubicBezTo>
                            <a:pt x="236" y="149"/>
                            <a:pt x="242" y="150"/>
                            <a:pt x="247" y="150"/>
                          </a:cubicBezTo>
                          <a:cubicBezTo>
                            <a:pt x="253" y="150"/>
                            <a:pt x="258" y="149"/>
                            <a:pt x="264" y="148"/>
                          </a:cubicBezTo>
                          <a:cubicBezTo>
                            <a:pt x="365" y="323"/>
                            <a:pt x="365" y="323"/>
                            <a:pt x="365" y="323"/>
                          </a:cubicBezTo>
                          <a:cubicBezTo>
                            <a:pt x="358" y="331"/>
                            <a:pt x="352" y="341"/>
                            <a:pt x="349" y="351"/>
                          </a:cubicBezTo>
                          <a:close/>
                        </a:path>
                      </a:pathLst>
                    </a:custGeom>
                    <a:solidFill>
                      <a:sysClr val="window" lastClr="FFFFFF"/>
                    </a:solidFill>
                    <a:ln>
                      <a:noFill/>
                    </a:ln>
                    <a:extLst/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algn="l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200" b="0" i="0" u="none" strike="noStrike" kern="0" cap="none" spc="0" normalizeH="0" baseline="0" noProof="0" dirty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Arial"/>
                        <a:cs typeface=""/>
                      </a:endParaRPr>
                    </a:p>
                  </p:txBody>
                </p:sp>
              </p:grpSp>
            </p:grpSp>
          </p:grpSp>
        </p:grpSp>
      </p:grpSp>
      <p:cxnSp>
        <p:nvCxnSpPr>
          <p:cNvPr id="11" name="Straight Connector 10"/>
          <p:cNvCxnSpPr/>
          <p:nvPr/>
        </p:nvCxnSpPr>
        <p:spPr bwMode="auto">
          <a:xfrm>
            <a:off x="3013261" y="3066675"/>
            <a:ext cx="0" cy="999168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bg2"/>
            </a:solidFill>
            <a:prstDash val="solid"/>
            <a:round/>
            <a:headEnd type="none" w="lg" len="lg"/>
            <a:tailEnd type="none" w="lg" len="lg"/>
          </a:ln>
          <a:effectLst/>
        </p:spPr>
      </p:cxnSp>
      <p:cxnSp>
        <p:nvCxnSpPr>
          <p:cNvPr id="13" name="Straight Connector 12"/>
          <p:cNvCxnSpPr/>
          <p:nvPr/>
        </p:nvCxnSpPr>
        <p:spPr bwMode="auto">
          <a:xfrm flipV="1">
            <a:off x="3013261" y="3066675"/>
            <a:ext cx="166272" cy="2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bg2"/>
            </a:solidFill>
            <a:prstDash val="solid"/>
            <a:round/>
            <a:headEnd type="none" w="lg" len="lg"/>
            <a:tailEnd type="none" w="lg" len="lg"/>
          </a:ln>
          <a:effectLst/>
        </p:spPr>
      </p:cxnSp>
      <p:sp>
        <p:nvSpPr>
          <p:cNvPr id="18" name="TextBox 17"/>
          <p:cNvSpPr txBox="1"/>
          <p:nvPr/>
        </p:nvSpPr>
        <p:spPr>
          <a:xfrm>
            <a:off x="3068656" y="2951760"/>
            <a:ext cx="75958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00" b="0" dirty="0" smtClean="0"/>
              <a:t>API Management</a:t>
            </a:r>
            <a:endParaRPr lang="en-US" sz="700" b="0" dirty="0"/>
          </a:p>
        </p:txBody>
      </p:sp>
      <p:cxnSp>
        <p:nvCxnSpPr>
          <p:cNvPr id="2413" name="Straight Connector 2412"/>
          <p:cNvCxnSpPr/>
          <p:nvPr/>
        </p:nvCxnSpPr>
        <p:spPr bwMode="auto">
          <a:xfrm flipV="1">
            <a:off x="3012236" y="3374452"/>
            <a:ext cx="166272" cy="2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bg2"/>
            </a:solidFill>
            <a:prstDash val="solid"/>
            <a:round/>
            <a:headEnd type="none" w="lg" len="lg"/>
            <a:tailEnd type="none" w="lg" len="lg"/>
          </a:ln>
          <a:effectLst/>
        </p:spPr>
      </p:cxnSp>
      <p:sp>
        <p:nvSpPr>
          <p:cNvPr id="2414" name="TextBox 2413"/>
          <p:cNvSpPr txBox="1"/>
          <p:nvPr/>
        </p:nvSpPr>
        <p:spPr>
          <a:xfrm>
            <a:off x="3067631" y="3259537"/>
            <a:ext cx="75958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00" b="0" dirty="0" smtClean="0"/>
              <a:t>Identify</a:t>
            </a:r>
          </a:p>
          <a:p>
            <a:r>
              <a:rPr lang="en-US" sz="700" b="0" dirty="0" smtClean="0"/>
              <a:t>Management</a:t>
            </a:r>
            <a:endParaRPr lang="en-US" sz="700" b="0" dirty="0"/>
          </a:p>
        </p:txBody>
      </p:sp>
      <p:cxnSp>
        <p:nvCxnSpPr>
          <p:cNvPr id="2415" name="Straight Connector 2414"/>
          <p:cNvCxnSpPr/>
          <p:nvPr/>
        </p:nvCxnSpPr>
        <p:spPr bwMode="auto">
          <a:xfrm flipV="1">
            <a:off x="3011007" y="3707893"/>
            <a:ext cx="166272" cy="2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bg2"/>
            </a:solidFill>
            <a:prstDash val="solid"/>
            <a:round/>
            <a:headEnd type="none" w="lg" len="lg"/>
            <a:tailEnd type="none" w="lg" len="lg"/>
          </a:ln>
          <a:effectLst/>
        </p:spPr>
      </p:cxnSp>
      <p:sp>
        <p:nvSpPr>
          <p:cNvPr id="2416" name="TextBox 2415"/>
          <p:cNvSpPr txBox="1"/>
          <p:nvPr/>
        </p:nvSpPr>
        <p:spPr>
          <a:xfrm>
            <a:off x="3066402" y="3592978"/>
            <a:ext cx="759584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00" b="0" dirty="0" smtClean="0"/>
              <a:t>Analytics</a:t>
            </a:r>
            <a:endParaRPr lang="en-US" sz="700" b="0" dirty="0"/>
          </a:p>
        </p:txBody>
      </p:sp>
      <p:cxnSp>
        <p:nvCxnSpPr>
          <p:cNvPr id="2417" name="Straight Connector 2416"/>
          <p:cNvCxnSpPr/>
          <p:nvPr/>
        </p:nvCxnSpPr>
        <p:spPr bwMode="auto">
          <a:xfrm flipV="1">
            <a:off x="3010118" y="4069834"/>
            <a:ext cx="166272" cy="2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bg2"/>
            </a:solidFill>
            <a:prstDash val="solid"/>
            <a:round/>
            <a:headEnd type="none" w="lg" len="lg"/>
            <a:tailEnd type="none" w="lg" len="lg"/>
          </a:ln>
          <a:effectLst/>
        </p:spPr>
      </p:cxnSp>
      <p:sp>
        <p:nvSpPr>
          <p:cNvPr id="2418" name="TextBox 2417"/>
          <p:cNvSpPr txBox="1"/>
          <p:nvPr/>
        </p:nvSpPr>
        <p:spPr>
          <a:xfrm>
            <a:off x="3037377" y="3870511"/>
            <a:ext cx="75958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00" b="0" dirty="0" smtClean="0"/>
              <a:t>Service Registry</a:t>
            </a:r>
            <a:endParaRPr lang="en-US" sz="700" b="0" dirty="0"/>
          </a:p>
        </p:txBody>
      </p:sp>
      <p:sp>
        <p:nvSpPr>
          <p:cNvPr id="2419" name="TextBox 2418"/>
          <p:cNvSpPr txBox="1"/>
          <p:nvPr/>
        </p:nvSpPr>
        <p:spPr>
          <a:xfrm>
            <a:off x="4458772" y="2063057"/>
            <a:ext cx="75958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b="0" dirty="0" smtClean="0">
                <a:latin typeface="Franklin Gothic Book" charset="0"/>
                <a:ea typeface="Franklin Gothic Book" charset="0"/>
                <a:cs typeface="Franklin Gothic Book" charset="0"/>
              </a:rPr>
              <a:t>Service Discovery</a:t>
            </a:r>
            <a:endParaRPr lang="en-US" sz="800" b="0" dirty="0">
              <a:latin typeface="Franklin Gothic Book" charset="0"/>
              <a:ea typeface="Franklin Gothic Book" charset="0"/>
              <a:cs typeface="Franklin Gothic Book" charset="0"/>
            </a:endParaRPr>
          </a:p>
        </p:txBody>
      </p:sp>
      <p:sp>
        <p:nvSpPr>
          <p:cNvPr id="2420" name="TextBox 2419"/>
          <p:cNvSpPr txBox="1"/>
          <p:nvPr/>
        </p:nvSpPr>
        <p:spPr>
          <a:xfrm>
            <a:off x="5091533" y="2063056"/>
            <a:ext cx="75958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b="0" dirty="0" smtClean="0">
                <a:latin typeface="Franklin Gothic Book" charset="0"/>
                <a:ea typeface="Franklin Gothic Book" charset="0"/>
                <a:cs typeface="Franklin Gothic Book" charset="0"/>
              </a:rPr>
              <a:t>Service </a:t>
            </a:r>
            <a:r>
              <a:rPr lang="en-US" sz="800" b="0" kern="0" dirty="0">
                <a:solidFill>
                  <a:prstClr val="black"/>
                </a:solidFill>
                <a:latin typeface="Franklin Gothic Book" charset="0"/>
                <a:ea typeface="Franklin Gothic Book" charset="0"/>
                <a:cs typeface="Franklin Gothic Book" charset="0"/>
              </a:rPr>
              <a:t>Observability</a:t>
            </a:r>
          </a:p>
        </p:txBody>
      </p:sp>
      <p:sp>
        <p:nvSpPr>
          <p:cNvPr id="2421" name="TextBox 2420"/>
          <p:cNvSpPr txBox="1"/>
          <p:nvPr/>
        </p:nvSpPr>
        <p:spPr>
          <a:xfrm>
            <a:off x="5762716" y="2047911"/>
            <a:ext cx="75958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b="0" dirty="0" smtClean="0">
                <a:latin typeface="Franklin Gothic Book" charset="0"/>
                <a:ea typeface="Franklin Gothic Book" charset="0"/>
                <a:cs typeface="Franklin Gothic Book" charset="0"/>
              </a:rPr>
              <a:t>Service Fault Tolerance</a:t>
            </a:r>
            <a:endParaRPr lang="en-US" sz="800" b="0" dirty="0">
              <a:latin typeface="Franklin Gothic Book" charset="0"/>
              <a:ea typeface="Franklin Gothic Book" charset="0"/>
              <a:cs typeface="Franklin Gothic Book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187447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0" name="Rounded Rectangle 139"/>
          <p:cNvSpPr/>
          <p:nvPr/>
        </p:nvSpPr>
        <p:spPr>
          <a:xfrm>
            <a:off x="7569994" y="2290002"/>
            <a:ext cx="1793208" cy="3542290"/>
          </a:xfrm>
          <a:prstGeom prst="roundRect">
            <a:avLst>
              <a:gd name="adj" fmla="val 2042"/>
            </a:avLst>
          </a:prstGeom>
          <a:solidFill>
            <a:schemeClr val="bg1"/>
          </a:solidFill>
          <a:ln>
            <a:solidFill>
              <a:schemeClr val="bg2">
                <a:lumMod val="40000"/>
                <a:lumOff val="6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Franklin Gothic Book" charset="0"/>
              <a:ea typeface="Franklin Gothic Book" charset="0"/>
              <a:cs typeface="Franklin Gothic Book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Representative Microservices Ecosystem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970ACE7-7972-4389-A70A-097F415613C7}" type="slidenum">
              <a:rPr lang="en-US" smtClean="0"/>
              <a:pPr/>
              <a:t>5</a:t>
            </a:fld>
            <a:endParaRPr lang="en-US" dirty="0"/>
          </a:p>
        </p:txBody>
      </p:sp>
      <p:sp>
        <p:nvSpPr>
          <p:cNvPr id="6" name="Rounded Rectangle 5"/>
          <p:cNvSpPr/>
          <p:nvPr/>
        </p:nvSpPr>
        <p:spPr>
          <a:xfrm>
            <a:off x="766618" y="2882323"/>
            <a:ext cx="6625899" cy="3542290"/>
          </a:xfrm>
          <a:prstGeom prst="roundRect">
            <a:avLst>
              <a:gd name="adj" fmla="val 2042"/>
            </a:avLst>
          </a:prstGeom>
          <a:solidFill>
            <a:schemeClr val="bg1"/>
          </a:solidFill>
          <a:ln>
            <a:solidFill>
              <a:schemeClr val="bg2">
                <a:lumMod val="40000"/>
                <a:lumOff val="6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Franklin Gothic Book" charset="0"/>
              <a:ea typeface="Franklin Gothic Book" charset="0"/>
              <a:cs typeface="Franklin Gothic Book" charset="0"/>
            </a:endParaRPr>
          </a:p>
        </p:txBody>
      </p:sp>
      <p:grpSp>
        <p:nvGrpSpPr>
          <p:cNvPr id="7" name="Group 6"/>
          <p:cNvGrpSpPr/>
          <p:nvPr/>
        </p:nvGrpSpPr>
        <p:grpSpPr>
          <a:xfrm>
            <a:off x="1032542" y="3021608"/>
            <a:ext cx="6255363" cy="3353264"/>
            <a:chOff x="2531838" y="842425"/>
            <a:chExt cx="6255363" cy="3353264"/>
          </a:xfrm>
        </p:grpSpPr>
        <p:sp>
          <p:nvSpPr>
            <p:cNvPr id="13" name="Rounded Rectangle 12"/>
            <p:cNvSpPr/>
            <p:nvPr/>
          </p:nvSpPr>
          <p:spPr>
            <a:xfrm>
              <a:off x="4462272" y="2194560"/>
              <a:ext cx="1307592" cy="1161288"/>
            </a:xfrm>
            <a:prstGeom prst="roundRect">
              <a:avLst>
                <a:gd name="adj" fmla="val 8793"/>
              </a:avLst>
            </a:prstGeom>
            <a:noFill/>
            <a:ln>
              <a:solidFill>
                <a:schemeClr val="tx2"/>
              </a:solidFill>
              <a:prstDash val="dash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r>
                <a:rPr lang="en-US" sz="700" dirty="0" smtClean="0">
                  <a:solidFill>
                    <a:schemeClr val="tx2"/>
                  </a:solidFill>
                  <a:latin typeface="Franklin Gothic Book" charset="0"/>
                  <a:ea typeface="Franklin Gothic Book" charset="0"/>
                  <a:cs typeface="Franklin Gothic Book" charset="0"/>
                </a:rPr>
                <a:t>VM</a:t>
              </a:r>
              <a:endParaRPr lang="en-US" sz="700" dirty="0">
                <a:solidFill>
                  <a:schemeClr val="tx2"/>
                </a:solidFill>
                <a:latin typeface="Franklin Gothic Book" charset="0"/>
                <a:ea typeface="Franklin Gothic Book" charset="0"/>
                <a:cs typeface="Franklin Gothic Book" charset="0"/>
              </a:endParaRPr>
            </a:p>
          </p:txBody>
        </p:sp>
        <p:pic>
          <p:nvPicPr>
            <p:cNvPr id="14" name="Picture 13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4521708" y="3049524"/>
              <a:ext cx="214884" cy="214884"/>
            </a:xfrm>
            <a:prstGeom prst="rect">
              <a:avLst/>
            </a:prstGeom>
          </p:spPr>
        </p:pic>
        <p:pic>
          <p:nvPicPr>
            <p:cNvPr id="15" name="Picture 14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4545170" y="2688590"/>
              <a:ext cx="167959" cy="269494"/>
            </a:xfrm>
            <a:prstGeom prst="rect">
              <a:avLst/>
            </a:prstGeom>
          </p:spPr>
        </p:pic>
        <p:sp>
          <p:nvSpPr>
            <p:cNvPr id="18" name="TextBox 17"/>
            <p:cNvSpPr txBox="1"/>
            <p:nvPr/>
          </p:nvSpPr>
          <p:spPr>
            <a:xfrm>
              <a:off x="7696839" y="3860114"/>
              <a:ext cx="1090362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800" dirty="0" smtClean="0">
                  <a:solidFill>
                    <a:schemeClr val="tx2"/>
                  </a:solidFill>
                  <a:latin typeface="Franklin Gothic Book" charset="0"/>
                  <a:ea typeface="Franklin Gothic Book" charset="0"/>
                  <a:cs typeface="Franklin Gothic Book" charset="0"/>
                </a:rPr>
                <a:t>Docker Management</a:t>
              </a:r>
              <a:endParaRPr lang="en-US" sz="800" dirty="0">
                <a:solidFill>
                  <a:schemeClr val="tx2"/>
                </a:solidFill>
                <a:latin typeface="Franklin Gothic Book" charset="0"/>
                <a:ea typeface="Franklin Gothic Book" charset="0"/>
                <a:cs typeface="Franklin Gothic Book" charset="0"/>
              </a:endParaRPr>
            </a:p>
          </p:txBody>
        </p:sp>
        <p:pic>
          <p:nvPicPr>
            <p:cNvPr id="19" name="Picture 18"/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2824946" y="1049342"/>
              <a:ext cx="348021" cy="375412"/>
            </a:xfrm>
            <a:prstGeom prst="rect">
              <a:avLst/>
            </a:prstGeom>
          </p:spPr>
        </p:pic>
        <p:pic>
          <p:nvPicPr>
            <p:cNvPr id="20" name="Picture 19"/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3348594" y="1049342"/>
              <a:ext cx="496203" cy="230757"/>
            </a:xfrm>
            <a:prstGeom prst="rect">
              <a:avLst/>
            </a:prstGeom>
          </p:spPr>
        </p:pic>
        <p:grpSp>
          <p:nvGrpSpPr>
            <p:cNvPr id="21" name="Group 20"/>
            <p:cNvGrpSpPr/>
            <p:nvPr/>
          </p:nvGrpSpPr>
          <p:grpSpPr>
            <a:xfrm>
              <a:off x="5349240" y="842425"/>
              <a:ext cx="1307592" cy="1161288"/>
              <a:chOff x="5349240" y="1013875"/>
              <a:chExt cx="1307592" cy="1161288"/>
            </a:xfrm>
          </p:grpSpPr>
          <p:sp>
            <p:nvSpPr>
              <p:cNvPr id="44" name="Rounded Rectangle 43"/>
              <p:cNvSpPr/>
              <p:nvPr/>
            </p:nvSpPr>
            <p:spPr>
              <a:xfrm>
                <a:off x="5705856" y="1210877"/>
                <a:ext cx="868680" cy="867726"/>
              </a:xfrm>
              <a:prstGeom prst="roundRect">
                <a:avLst>
                  <a:gd name="adj" fmla="val 6141"/>
                </a:avLst>
              </a:prstGeom>
              <a:noFill/>
              <a:ln>
                <a:solidFill>
                  <a:schemeClr val="bg2">
                    <a:lumMod val="85000"/>
                  </a:schemeClr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latin typeface="Franklin Gothic Book" charset="0"/>
                  <a:ea typeface="Franklin Gothic Book" charset="0"/>
                  <a:cs typeface="Franklin Gothic Book" charset="0"/>
                </a:endParaRPr>
              </a:p>
            </p:txBody>
          </p:sp>
          <p:pic>
            <p:nvPicPr>
              <p:cNvPr id="48" name="Picture 47"/>
              <p:cNvPicPr>
                <a:picLocks noChangeAspect="1"/>
              </p:cNvPicPr>
              <p:nvPr/>
            </p:nvPicPr>
            <p:blipFill>
              <a:blip r:embed="rId7"/>
              <a:stretch>
                <a:fillRect/>
              </a:stretch>
            </p:blipFill>
            <p:spPr>
              <a:xfrm>
                <a:off x="5974228" y="1614349"/>
                <a:ext cx="290015" cy="290015"/>
              </a:xfrm>
              <a:prstGeom prst="rect">
                <a:avLst/>
              </a:prstGeom>
            </p:spPr>
          </p:pic>
          <p:sp>
            <p:nvSpPr>
              <p:cNvPr id="49" name="Rounded Rectangle 48"/>
              <p:cNvSpPr/>
              <p:nvPr/>
            </p:nvSpPr>
            <p:spPr>
              <a:xfrm>
                <a:off x="5349240" y="1013875"/>
                <a:ext cx="1307592" cy="1161288"/>
              </a:xfrm>
              <a:prstGeom prst="roundRect">
                <a:avLst>
                  <a:gd name="adj" fmla="val 11418"/>
                </a:avLst>
              </a:prstGeom>
              <a:noFill/>
              <a:ln>
                <a:solidFill>
                  <a:schemeClr val="tx2"/>
                </a:solidFill>
                <a:prstDash val="dash"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r>
                  <a:rPr lang="en-US" sz="700" dirty="0">
                    <a:solidFill>
                      <a:schemeClr val="tx2"/>
                    </a:solidFill>
                    <a:latin typeface="Franklin Gothic Book" charset="0"/>
                    <a:ea typeface="Franklin Gothic Book" charset="0"/>
                    <a:cs typeface="Franklin Gothic Book" charset="0"/>
                  </a:rPr>
                  <a:t>VM</a:t>
                </a:r>
              </a:p>
            </p:txBody>
          </p:sp>
          <p:pic>
            <p:nvPicPr>
              <p:cNvPr id="50" name="Picture 49"/>
              <p:cNvPicPr>
                <a:picLocks noChangeAspect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5408676" y="1868839"/>
                <a:ext cx="214884" cy="214884"/>
              </a:xfrm>
              <a:prstGeom prst="rect">
                <a:avLst/>
              </a:prstGeom>
            </p:spPr>
          </p:pic>
          <p:pic>
            <p:nvPicPr>
              <p:cNvPr id="51" name="Picture 50"/>
              <p:cNvPicPr>
                <a:picLocks noChangeAspect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5432138" y="1507905"/>
                <a:ext cx="167959" cy="269494"/>
              </a:xfrm>
              <a:prstGeom prst="rect">
                <a:avLst/>
              </a:prstGeom>
            </p:spPr>
          </p:pic>
          <p:pic>
            <p:nvPicPr>
              <p:cNvPr id="52" name="Picture 51"/>
              <p:cNvPicPr>
                <a:picLocks noChangeAspect="1"/>
              </p:cNvPicPr>
              <p:nvPr/>
            </p:nvPicPr>
            <p:blipFill>
              <a:blip r:embed="rId8"/>
              <a:stretch>
                <a:fillRect/>
              </a:stretch>
            </p:blipFill>
            <p:spPr>
              <a:xfrm>
                <a:off x="5408676" y="1226473"/>
                <a:ext cx="214884" cy="214884"/>
              </a:xfrm>
              <a:prstGeom prst="rect">
                <a:avLst/>
              </a:prstGeom>
            </p:spPr>
          </p:pic>
        </p:grpSp>
        <p:sp>
          <p:nvSpPr>
            <p:cNvPr id="22" name="Rounded Rectangle 21"/>
            <p:cNvSpPr/>
            <p:nvPr/>
          </p:nvSpPr>
          <p:spPr>
            <a:xfrm>
              <a:off x="6688233" y="2389402"/>
              <a:ext cx="868680" cy="923544"/>
            </a:xfrm>
            <a:prstGeom prst="roundRect">
              <a:avLst>
                <a:gd name="adj" fmla="val 7018"/>
              </a:avLst>
            </a:prstGeom>
            <a:noFill/>
            <a:ln>
              <a:solidFill>
                <a:schemeClr val="bg2">
                  <a:lumMod val="8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atin typeface="Franklin Gothic Book" charset="0"/>
                <a:ea typeface="Franklin Gothic Book" charset="0"/>
                <a:cs typeface="Franklin Gothic Book" charset="0"/>
              </a:endParaRPr>
            </a:p>
          </p:txBody>
        </p:sp>
        <p:pic>
          <p:nvPicPr>
            <p:cNvPr id="26" name="Picture 25"/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6967694" y="2834651"/>
              <a:ext cx="319456" cy="319456"/>
            </a:xfrm>
            <a:prstGeom prst="rect">
              <a:avLst/>
            </a:prstGeom>
          </p:spPr>
        </p:pic>
        <p:sp>
          <p:nvSpPr>
            <p:cNvPr id="27" name="Rounded Rectangle 26"/>
            <p:cNvSpPr/>
            <p:nvPr/>
          </p:nvSpPr>
          <p:spPr>
            <a:xfrm>
              <a:off x="6331617" y="2206246"/>
              <a:ext cx="1307592" cy="1161288"/>
            </a:xfrm>
            <a:prstGeom prst="roundRect">
              <a:avLst>
                <a:gd name="adj" fmla="val 8793"/>
              </a:avLst>
            </a:prstGeom>
            <a:noFill/>
            <a:ln>
              <a:solidFill>
                <a:schemeClr val="tx2"/>
              </a:solidFill>
              <a:prstDash val="dash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r>
                <a:rPr lang="en-US" sz="700" dirty="0">
                  <a:solidFill>
                    <a:schemeClr val="tx2"/>
                  </a:solidFill>
                  <a:latin typeface="Franklin Gothic Book" charset="0"/>
                  <a:ea typeface="Franklin Gothic Book" charset="0"/>
                  <a:cs typeface="Franklin Gothic Book" charset="0"/>
                </a:rPr>
                <a:t>VM</a:t>
              </a:r>
            </a:p>
          </p:txBody>
        </p:sp>
        <p:pic>
          <p:nvPicPr>
            <p:cNvPr id="28" name="Picture 27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6391053" y="3061210"/>
              <a:ext cx="214884" cy="214884"/>
            </a:xfrm>
            <a:prstGeom prst="rect">
              <a:avLst/>
            </a:prstGeom>
          </p:spPr>
        </p:pic>
        <p:pic>
          <p:nvPicPr>
            <p:cNvPr id="29" name="Picture 28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6414515" y="2700276"/>
              <a:ext cx="167959" cy="269494"/>
            </a:xfrm>
            <a:prstGeom prst="rect">
              <a:avLst/>
            </a:prstGeom>
          </p:spPr>
        </p:pic>
        <p:pic>
          <p:nvPicPr>
            <p:cNvPr id="30" name="Picture 29"/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6391053" y="2418844"/>
              <a:ext cx="214884" cy="214884"/>
            </a:xfrm>
            <a:prstGeom prst="rect">
              <a:avLst/>
            </a:prstGeom>
          </p:spPr>
        </p:pic>
        <p:cxnSp>
          <p:nvCxnSpPr>
            <p:cNvPr id="31" name="Straight Arrow Connector 50"/>
            <p:cNvCxnSpPr>
              <a:endCxn id="42" idx="3"/>
            </p:cNvCxnSpPr>
            <p:nvPr/>
          </p:nvCxnSpPr>
          <p:spPr>
            <a:xfrm rot="16200000" flipV="1">
              <a:off x="5614365" y="836811"/>
              <a:ext cx="938461" cy="4316851"/>
            </a:xfrm>
            <a:prstGeom prst="bentConnector2">
              <a:avLst/>
            </a:prstGeom>
            <a:ln w="12700">
              <a:solidFill>
                <a:schemeClr val="tx2">
                  <a:lumMod val="90000"/>
                  <a:lumOff val="10000"/>
                  <a:alpha val="39000"/>
                </a:schemeClr>
              </a:solidFill>
              <a:tailEnd type="triangle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Arrow Connector 51"/>
            <p:cNvCxnSpPr>
              <a:stCxn id="18" idx="1"/>
              <a:endCxn id="33" idx="3"/>
            </p:cNvCxnSpPr>
            <p:nvPr/>
          </p:nvCxnSpPr>
          <p:spPr>
            <a:xfrm flipH="1" flipV="1">
              <a:off x="6537960" y="1202692"/>
              <a:ext cx="1887633" cy="2443512"/>
            </a:xfrm>
            <a:prstGeom prst="bentConnector3">
              <a:avLst>
                <a:gd name="adj1" fmla="val -12110"/>
              </a:avLst>
            </a:prstGeom>
            <a:ln w="12700">
              <a:solidFill>
                <a:schemeClr val="tx2">
                  <a:lumMod val="90000"/>
                  <a:lumOff val="10000"/>
                  <a:alpha val="39000"/>
                </a:schemeClr>
              </a:solidFill>
              <a:tailEnd type="triangle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Arrow Connector 54"/>
            <p:cNvCxnSpPr>
              <a:stCxn id="18" idx="3"/>
            </p:cNvCxnSpPr>
            <p:nvPr/>
          </p:nvCxnSpPr>
          <p:spPr>
            <a:xfrm rot="10800000">
              <a:off x="5266944" y="2674620"/>
              <a:ext cx="2791504" cy="971584"/>
            </a:xfrm>
            <a:prstGeom prst="bentConnector2">
              <a:avLst/>
            </a:prstGeom>
            <a:ln w="12700">
              <a:solidFill>
                <a:schemeClr val="tx2">
                  <a:lumMod val="90000"/>
                  <a:lumOff val="10000"/>
                  <a:alpha val="39000"/>
                </a:schemeClr>
              </a:solidFill>
              <a:tailEnd type="triangle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pic>
          <p:nvPicPr>
            <p:cNvPr id="34" name="Picture 33"/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2721865" y="3232587"/>
              <a:ext cx="1056560" cy="529947"/>
            </a:xfrm>
            <a:prstGeom prst="rect">
              <a:avLst/>
            </a:prstGeom>
          </p:spPr>
        </p:pic>
        <p:cxnSp>
          <p:nvCxnSpPr>
            <p:cNvPr id="35" name="Straight Arrow Connector 17"/>
            <p:cNvCxnSpPr>
              <a:stCxn id="39" idx="1"/>
              <a:endCxn id="20" idx="1"/>
            </p:cNvCxnSpPr>
            <p:nvPr/>
          </p:nvCxnSpPr>
          <p:spPr>
            <a:xfrm rot="10800000" flipV="1">
              <a:off x="2721866" y="1471201"/>
              <a:ext cx="2710273" cy="2026359"/>
            </a:xfrm>
            <a:prstGeom prst="bentConnector3">
              <a:avLst>
                <a:gd name="adj1" fmla="val 108435"/>
              </a:avLst>
            </a:prstGeom>
            <a:ln w="12700">
              <a:solidFill>
                <a:schemeClr val="tx2">
                  <a:lumMod val="90000"/>
                  <a:lumOff val="10000"/>
                  <a:alpha val="39000"/>
                </a:schemeClr>
              </a:solidFill>
              <a:tailEnd type="triangle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Arrow Connector 19"/>
            <p:cNvCxnSpPr>
              <a:endCxn id="20" idx="0"/>
            </p:cNvCxnSpPr>
            <p:nvPr/>
          </p:nvCxnSpPr>
          <p:spPr>
            <a:xfrm rot="10800000" flipV="1">
              <a:off x="3250146" y="2775203"/>
              <a:ext cx="1212127" cy="457383"/>
            </a:xfrm>
            <a:prstGeom prst="bentConnector2">
              <a:avLst/>
            </a:prstGeom>
            <a:ln w="12700">
              <a:solidFill>
                <a:schemeClr val="tx2">
                  <a:lumMod val="90000"/>
                  <a:lumOff val="10000"/>
                  <a:alpha val="39000"/>
                </a:schemeClr>
              </a:solidFill>
              <a:tailEnd type="triangle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Arrow Connector 21"/>
            <p:cNvCxnSpPr>
              <a:endCxn id="20" idx="2"/>
            </p:cNvCxnSpPr>
            <p:nvPr/>
          </p:nvCxnSpPr>
          <p:spPr>
            <a:xfrm rot="5400000">
              <a:off x="4631100" y="1895139"/>
              <a:ext cx="486440" cy="3248350"/>
            </a:xfrm>
            <a:prstGeom prst="bentConnector3">
              <a:avLst>
                <a:gd name="adj1" fmla="val 133940"/>
              </a:avLst>
            </a:prstGeom>
            <a:ln w="12700">
              <a:solidFill>
                <a:schemeClr val="tx2">
                  <a:lumMod val="90000"/>
                  <a:lumOff val="10000"/>
                  <a:alpha val="39000"/>
                </a:schemeClr>
              </a:solidFill>
              <a:tailEnd type="triangle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pic>
          <p:nvPicPr>
            <p:cNvPr id="38" name="Picture 37"/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>
              <a:off x="2592288" y="1962755"/>
              <a:ext cx="1315715" cy="592072"/>
            </a:xfrm>
            <a:prstGeom prst="rect">
              <a:avLst/>
            </a:prstGeom>
          </p:spPr>
        </p:pic>
        <p:cxnSp>
          <p:nvCxnSpPr>
            <p:cNvPr id="39" name="Straight Arrow Connector 58"/>
            <p:cNvCxnSpPr>
              <a:stCxn id="38" idx="1"/>
            </p:cNvCxnSpPr>
            <p:nvPr/>
          </p:nvCxnSpPr>
          <p:spPr>
            <a:xfrm rot="10800000" flipV="1">
              <a:off x="3250146" y="1804831"/>
              <a:ext cx="2158530" cy="157924"/>
            </a:xfrm>
            <a:prstGeom prst="bentConnector2">
              <a:avLst/>
            </a:prstGeom>
            <a:ln w="12700">
              <a:solidFill>
                <a:schemeClr val="tx2">
                  <a:lumMod val="90000"/>
                  <a:lumOff val="10000"/>
                  <a:alpha val="39000"/>
                </a:schemeClr>
              </a:solidFill>
              <a:tailEnd type="triangle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Arrow Connector 60"/>
            <p:cNvCxnSpPr/>
            <p:nvPr/>
          </p:nvCxnSpPr>
          <p:spPr>
            <a:xfrm rot="16200000" flipH="1" flipV="1">
              <a:off x="4479920" y="1622642"/>
              <a:ext cx="64231" cy="1208065"/>
            </a:xfrm>
            <a:prstGeom prst="bentConnector4">
              <a:avLst>
                <a:gd name="adj1" fmla="val -225405"/>
                <a:gd name="adj2" fmla="val 77060"/>
              </a:avLst>
            </a:prstGeom>
            <a:ln w="12700">
              <a:solidFill>
                <a:schemeClr val="tx2">
                  <a:lumMod val="90000"/>
                  <a:lumOff val="10000"/>
                  <a:alpha val="39000"/>
                </a:schemeClr>
              </a:solidFill>
              <a:tailEnd type="triangle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Arrow Connector 62"/>
            <p:cNvCxnSpPr/>
            <p:nvPr/>
          </p:nvCxnSpPr>
          <p:spPr>
            <a:xfrm rot="5400000" flipH="1">
              <a:off x="4694597" y="1472197"/>
              <a:ext cx="1017303" cy="2590492"/>
            </a:xfrm>
            <a:prstGeom prst="bentConnector4">
              <a:avLst>
                <a:gd name="adj1" fmla="val -22471"/>
                <a:gd name="adj2" fmla="val 89431"/>
              </a:avLst>
            </a:prstGeom>
            <a:ln w="12700">
              <a:solidFill>
                <a:schemeClr val="tx2">
                  <a:lumMod val="90000"/>
                  <a:lumOff val="10000"/>
                  <a:alpha val="39000"/>
                </a:schemeClr>
              </a:solidFill>
              <a:tailEnd type="triangle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42" name="TextBox 41"/>
            <p:cNvSpPr txBox="1"/>
            <p:nvPr/>
          </p:nvSpPr>
          <p:spPr>
            <a:xfrm>
              <a:off x="2575120" y="2418284"/>
              <a:ext cx="1350049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800" dirty="0" smtClean="0">
                  <a:solidFill>
                    <a:schemeClr val="tx2"/>
                  </a:solidFill>
                  <a:latin typeface="Franklin Gothic Book" charset="0"/>
                  <a:ea typeface="Franklin Gothic Book" charset="0"/>
                  <a:cs typeface="Franklin Gothic Book" charset="0"/>
                </a:rPr>
                <a:t>Consul – Service Discovery</a:t>
              </a:r>
              <a:endParaRPr lang="en-US" dirty="0">
                <a:solidFill>
                  <a:schemeClr val="tx2"/>
                </a:solidFill>
                <a:latin typeface="Franklin Gothic Book" charset="0"/>
                <a:ea typeface="Franklin Gothic Book" charset="0"/>
                <a:cs typeface="Franklin Gothic Book" charset="0"/>
              </a:endParaRPr>
            </a:p>
          </p:txBody>
        </p:sp>
        <p:sp>
          <p:nvSpPr>
            <p:cNvPr id="43" name="TextBox 42"/>
            <p:cNvSpPr txBox="1"/>
            <p:nvPr/>
          </p:nvSpPr>
          <p:spPr>
            <a:xfrm>
              <a:off x="2531838" y="3980245"/>
              <a:ext cx="1436611" cy="215444"/>
            </a:xfrm>
            <a:prstGeom prst="rect">
              <a:avLst/>
            </a:prstGeom>
            <a:solidFill>
              <a:schemeClr val="bg1"/>
            </a:solidFill>
          </p:spPr>
          <p:txBody>
            <a:bodyPr wrap="none" rtlCol="0">
              <a:spAutoFit/>
            </a:bodyPr>
            <a:lstStyle/>
            <a:p>
              <a:r>
                <a:rPr lang="en-US" sz="800" dirty="0" smtClean="0">
                  <a:solidFill>
                    <a:schemeClr val="tx2"/>
                  </a:solidFill>
                  <a:latin typeface="Franklin Gothic Book" charset="0"/>
                  <a:ea typeface="Franklin Gothic Book" charset="0"/>
                  <a:cs typeface="Franklin Gothic Book" charset="0"/>
                </a:rPr>
                <a:t>Kibana – Service Monitoring </a:t>
              </a:r>
              <a:endParaRPr lang="en-US" dirty="0">
                <a:solidFill>
                  <a:schemeClr val="tx2"/>
                </a:solidFill>
                <a:latin typeface="Franklin Gothic Book" charset="0"/>
                <a:ea typeface="Franklin Gothic Book" charset="0"/>
                <a:cs typeface="Franklin Gothic Book" charset="0"/>
              </a:endParaRPr>
            </a:p>
          </p:txBody>
        </p:sp>
      </p:grpSp>
      <p:sp>
        <p:nvSpPr>
          <p:cNvPr id="53" name="TextBox 52"/>
          <p:cNvSpPr txBox="1"/>
          <p:nvPr/>
        </p:nvSpPr>
        <p:spPr>
          <a:xfrm>
            <a:off x="1578944" y="2191248"/>
            <a:ext cx="4660871" cy="307777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40000"/>
                <a:lumOff val="6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>
              <a:defRPr>
                <a:solidFill>
                  <a:schemeClr val="lt1"/>
                </a:solidFill>
                <a:latin typeface="+mj-lt"/>
                <a:cs typeface="+mn-cs"/>
              </a:defRPr>
            </a:lvl1pPr>
            <a:lvl2pPr>
              <a:defRPr>
                <a:solidFill>
                  <a:schemeClr val="lt1"/>
                </a:solidFill>
                <a:latin typeface="+mn-lt"/>
                <a:cs typeface="+mn-cs"/>
              </a:defRPr>
            </a:lvl2pPr>
            <a:lvl3pPr>
              <a:defRPr>
                <a:solidFill>
                  <a:schemeClr val="lt1"/>
                </a:solidFill>
                <a:latin typeface="+mn-lt"/>
                <a:cs typeface="+mn-cs"/>
              </a:defRPr>
            </a:lvl3pPr>
            <a:lvl4pPr>
              <a:defRPr>
                <a:solidFill>
                  <a:schemeClr val="lt1"/>
                </a:solidFill>
                <a:latin typeface="+mn-lt"/>
                <a:cs typeface="+mn-cs"/>
              </a:defRPr>
            </a:lvl4pPr>
            <a:lvl5pPr>
              <a:defRPr>
                <a:solidFill>
                  <a:schemeClr val="lt1"/>
                </a:solidFill>
                <a:latin typeface="+mn-lt"/>
                <a:cs typeface="+mn-cs"/>
              </a:defRPr>
            </a:lvl5pPr>
            <a:lvl6pPr>
              <a:defRPr>
                <a:solidFill>
                  <a:schemeClr val="lt1"/>
                </a:solidFill>
                <a:latin typeface="+mn-lt"/>
                <a:cs typeface="+mn-cs"/>
              </a:defRPr>
            </a:lvl6pPr>
            <a:lvl7pPr>
              <a:defRPr>
                <a:solidFill>
                  <a:schemeClr val="lt1"/>
                </a:solidFill>
                <a:latin typeface="+mn-lt"/>
                <a:cs typeface="+mn-cs"/>
              </a:defRPr>
            </a:lvl7pPr>
            <a:lvl8pPr>
              <a:defRPr>
                <a:solidFill>
                  <a:schemeClr val="lt1"/>
                </a:solidFill>
                <a:latin typeface="+mn-lt"/>
                <a:cs typeface="+mn-cs"/>
              </a:defRPr>
            </a:lvl8pPr>
            <a:lvl9pPr>
              <a:defRPr>
                <a:solidFill>
                  <a:schemeClr val="lt1"/>
                </a:solidFill>
                <a:latin typeface="+mn-lt"/>
                <a:cs typeface="+mn-cs"/>
              </a:defRPr>
            </a:lvl9pPr>
          </a:lstStyle>
          <a:p>
            <a:r>
              <a:rPr lang="en-US" b="0" dirty="0" smtClean="0">
                <a:solidFill>
                  <a:schemeClr val="tx1"/>
                </a:solidFill>
                <a:latin typeface="Franklin Gothic Book" charset="0"/>
                <a:ea typeface="Franklin Gothic Book" charset="0"/>
                <a:cs typeface="Franklin Gothic Book" charset="0"/>
              </a:rPr>
              <a:t>API Management (Gateway, Analytics, Governance)</a:t>
            </a:r>
            <a:endParaRPr lang="en-US" b="0" dirty="0">
              <a:solidFill>
                <a:schemeClr val="tx1"/>
              </a:solidFill>
              <a:latin typeface="Franklin Gothic Book" charset="0"/>
              <a:ea typeface="Franklin Gothic Book" charset="0"/>
              <a:cs typeface="Franklin Gothic Book" charset="0"/>
            </a:endParaRPr>
          </a:p>
        </p:txBody>
      </p:sp>
      <p:cxnSp>
        <p:nvCxnSpPr>
          <p:cNvPr id="55" name="Straight Arrow Connector 54"/>
          <p:cNvCxnSpPr/>
          <p:nvPr/>
        </p:nvCxnSpPr>
        <p:spPr bwMode="auto">
          <a:xfrm flipV="1">
            <a:off x="3319592" y="2499025"/>
            <a:ext cx="0" cy="383298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bg2"/>
            </a:solidFill>
            <a:prstDash val="sysDash"/>
            <a:round/>
            <a:headEnd type="none" w="lg" len="lg"/>
            <a:tailEnd type="triangle"/>
          </a:ln>
          <a:effectLst/>
        </p:spPr>
      </p:cxnSp>
      <p:cxnSp>
        <p:nvCxnSpPr>
          <p:cNvPr id="57" name="Straight Arrow Connector 56"/>
          <p:cNvCxnSpPr/>
          <p:nvPr/>
        </p:nvCxnSpPr>
        <p:spPr bwMode="auto">
          <a:xfrm>
            <a:off x="4755200" y="2499025"/>
            <a:ext cx="0" cy="383298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bg2"/>
            </a:solidFill>
            <a:prstDash val="sysDash"/>
            <a:round/>
            <a:headEnd type="none" w="lg" len="lg"/>
            <a:tailEnd type="triangle"/>
          </a:ln>
          <a:effectLst/>
        </p:spPr>
      </p:cxnSp>
      <p:sp>
        <p:nvSpPr>
          <p:cNvPr id="58" name="Rectangle 57"/>
          <p:cNvSpPr/>
          <p:nvPr/>
        </p:nvSpPr>
        <p:spPr>
          <a:xfrm>
            <a:off x="1884657" y="1620743"/>
            <a:ext cx="4096821" cy="327518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40000"/>
                <a:lumOff val="6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0" dirty="0">
                <a:solidFill>
                  <a:schemeClr val="tx2"/>
                </a:solidFill>
                <a:latin typeface="Franklin Gothic Book" charset="0"/>
                <a:ea typeface="Franklin Gothic Book" charset="0"/>
                <a:cs typeface="Franklin Gothic Book" charset="0"/>
              </a:rPr>
              <a:t>Consumer Applications / Portals / Mobil Apps</a:t>
            </a:r>
          </a:p>
        </p:txBody>
      </p:sp>
      <p:cxnSp>
        <p:nvCxnSpPr>
          <p:cNvPr id="59" name="Straight Arrow Connector 58"/>
          <p:cNvCxnSpPr/>
          <p:nvPr/>
        </p:nvCxnSpPr>
        <p:spPr bwMode="auto">
          <a:xfrm flipH="1" flipV="1">
            <a:off x="3294250" y="1961838"/>
            <a:ext cx="7698" cy="229410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bg2"/>
            </a:solidFill>
            <a:prstDash val="sysDash"/>
            <a:round/>
            <a:headEnd type="none" w="lg" len="lg"/>
            <a:tailEnd type="triangle"/>
          </a:ln>
          <a:effectLst/>
        </p:spPr>
      </p:cxnSp>
      <p:cxnSp>
        <p:nvCxnSpPr>
          <p:cNvPr id="60" name="Straight Arrow Connector 59"/>
          <p:cNvCxnSpPr/>
          <p:nvPr/>
        </p:nvCxnSpPr>
        <p:spPr bwMode="auto">
          <a:xfrm flipH="1">
            <a:off x="4737740" y="1961838"/>
            <a:ext cx="10590" cy="229410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bg2"/>
            </a:solidFill>
            <a:prstDash val="sysDash"/>
            <a:round/>
            <a:headEnd type="none" w="lg" len="lg"/>
            <a:tailEnd type="triangle"/>
          </a:ln>
          <a:effectLst/>
        </p:spPr>
      </p:cxnSp>
      <p:sp>
        <p:nvSpPr>
          <p:cNvPr id="67" name="Rounded Rectangle 66"/>
          <p:cNvSpPr/>
          <p:nvPr/>
        </p:nvSpPr>
        <p:spPr>
          <a:xfrm>
            <a:off x="3319592" y="4575371"/>
            <a:ext cx="868680" cy="923544"/>
          </a:xfrm>
          <a:prstGeom prst="roundRect">
            <a:avLst>
              <a:gd name="adj" fmla="val 6141"/>
            </a:avLst>
          </a:prstGeom>
          <a:noFill/>
          <a:ln>
            <a:solidFill>
              <a:schemeClr val="bg2">
                <a:lumMod val="8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Franklin Gothic Book" charset="0"/>
              <a:ea typeface="Franklin Gothic Book" charset="0"/>
              <a:cs typeface="Franklin Gothic Book" charset="0"/>
            </a:endParaRPr>
          </a:p>
        </p:txBody>
      </p:sp>
      <p:pic>
        <p:nvPicPr>
          <p:cNvPr id="68" name="Picture 67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570720" y="5003378"/>
            <a:ext cx="329912" cy="329912"/>
          </a:xfrm>
          <a:prstGeom prst="rect">
            <a:avLst/>
          </a:prstGeom>
        </p:spPr>
      </p:pic>
      <p:pic>
        <p:nvPicPr>
          <p:cNvPr id="69" name="Picture 68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022412" y="4586341"/>
            <a:ext cx="214884" cy="214884"/>
          </a:xfrm>
          <a:prstGeom prst="rect">
            <a:avLst/>
          </a:prstGeom>
        </p:spPr>
      </p:pic>
      <p:grpSp>
        <p:nvGrpSpPr>
          <p:cNvPr id="4" name="Group 3"/>
          <p:cNvGrpSpPr/>
          <p:nvPr/>
        </p:nvGrpSpPr>
        <p:grpSpPr>
          <a:xfrm>
            <a:off x="4239259" y="3242193"/>
            <a:ext cx="249857" cy="235347"/>
            <a:chOff x="796784" y="2455327"/>
            <a:chExt cx="249857" cy="235347"/>
          </a:xfrm>
        </p:grpSpPr>
        <p:sp>
          <p:nvSpPr>
            <p:cNvPr id="70" name="Rounded Rectangle 69"/>
            <p:cNvSpPr/>
            <p:nvPr/>
          </p:nvSpPr>
          <p:spPr>
            <a:xfrm>
              <a:off x="796784" y="2455327"/>
              <a:ext cx="249857" cy="235347"/>
            </a:xfrm>
            <a:prstGeom prst="roundRect">
              <a:avLst/>
            </a:prstGeom>
            <a:solidFill>
              <a:srgbClr val="F79646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"/>
                <a:cs typeface=""/>
              </a:endParaRPr>
            </a:p>
          </p:txBody>
        </p:sp>
        <p:sp>
          <p:nvSpPr>
            <p:cNvPr id="72" name="Freeform 12"/>
            <p:cNvSpPr>
              <a:spLocks noEditPoints="1"/>
            </p:cNvSpPr>
            <p:nvPr/>
          </p:nvSpPr>
          <p:spPr bwMode="auto">
            <a:xfrm>
              <a:off x="828964" y="2505098"/>
              <a:ext cx="167023" cy="136694"/>
            </a:xfrm>
            <a:custGeom>
              <a:avLst/>
              <a:gdLst>
                <a:gd name="T0" fmla="*/ 419 w 494"/>
                <a:gd name="T1" fmla="*/ 299 h 448"/>
                <a:gd name="T2" fmla="*/ 403 w 494"/>
                <a:gd name="T3" fmla="*/ 301 h 448"/>
                <a:gd name="T4" fmla="*/ 302 w 494"/>
                <a:gd name="T5" fmla="*/ 126 h 448"/>
                <a:gd name="T6" fmla="*/ 322 w 494"/>
                <a:gd name="T7" fmla="*/ 75 h 448"/>
                <a:gd name="T8" fmla="*/ 247 w 494"/>
                <a:gd name="T9" fmla="*/ 0 h 448"/>
                <a:gd name="T10" fmla="*/ 173 w 494"/>
                <a:gd name="T11" fmla="*/ 75 h 448"/>
                <a:gd name="T12" fmla="*/ 193 w 494"/>
                <a:gd name="T13" fmla="*/ 126 h 448"/>
                <a:gd name="T14" fmla="*/ 91 w 494"/>
                <a:gd name="T15" fmla="*/ 301 h 448"/>
                <a:gd name="T16" fmla="*/ 75 w 494"/>
                <a:gd name="T17" fmla="*/ 299 h 448"/>
                <a:gd name="T18" fmla="*/ 0 w 494"/>
                <a:gd name="T19" fmla="*/ 373 h 448"/>
                <a:gd name="T20" fmla="*/ 75 w 494"/>
                <a:gd name="T21" fmla="*/ 448 h 448"/>
                <a:gd name="T22" fmla="*/ 146 w 494"/>
                <a:gd name="T23" fmla="*/ 395 h 448"/>
                <a:gd name="T24" fmla="*/ 349 w 494"/>
                <a:gd name="T25" fmla="*/ 395 h 448"/>
                <a:gd name="T26" fmla="*/ 419 w 494"/>
                <a:gd name="T27" fmla="*/ 448 h 448"/>
                <a:gd name="T28" fmla="*/ 494 w 494"/>
                <a:gd name="T29" fmla="*/ 373 h 448"/>
                <a:gd name="T30" fmla="*/ 419 w 494"/>
                <a:gd name="T31" fmla="*/ 299 h 448"/>
                <a:gd name="T32" fmla="*/ 349 w 494"/>
                <a:gd name="T33" fmla="*/ 351 h 448"/>
                <a:gd name="T34" fmla="*/ 146 w 494"/>
                <a:gd name="T35" fmla="*/ 351 h 448"/>
                <a:gd name="T36" fmla="*/ 130 w 494"/>
                <a:gd name="T37" fmla="*/ 323 h 448"/>
                <a:gd name="T38" fmla="*/ 231 w 494"/>
                <a:gd name="T39" fmla="*/ 148 h 448"/>
                <a:gd name="T40" fmla="*/ 247 w 494"/>
                <a:gd name="T41" fmla="*/ 150 h 448"/>
                <a:gd name="T42" fmla="*/ 264 w 494"/>
                <a:gd name="T43" fmla="*/ 148 h 448"/>
                <a:gd name="T44" fmla="*/ 365 w 494"/>
                <a:gd name="T45" fmla="*/ 323 h 448"/>
                <a:gd name="T46" fmla="*/ 349 w 494"/>
                <a:gd name="T47" fmla="*/ 351 h 4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494" h="448">
                  <a:moveTo>
                    <a:pt x="419" y="299"/>
                  </a:moveTo>
                  <a:cubicBezTo>
                    <a:pt x="414" y="299"/>
                    <a:pt x="408" y="300"/>
                    <a:pt x="403" y="301"/>
                  </a:cubicBezTo>
                  <a:cubicBezTo>
                    <a:pt x="302" y="126"/>
                    <a:pt x="302" y="126"/>
                    <a:pt x="302" y="126"/>
                  </a:cubicBezTo>
                  <a:cubicBezTo>
                    <a:pt x="314" y="112"/>
                    <a:pt x="322" y="95"/>
                    <a:pt x="322" y="75"/>
                  </a:cubicBezTo>
                  <a:cubicBezTo>
                    <a:pt x="322" y="34"/>
                    <a:pt x="288" y="0"/>
                    <a:pt x="247" y="0"/>
                  </a:cubicBezTo>
                  <a:cubicBezTo>
                    <a:pt x="206" y="0"/>
                    <a:pt x="173" y="34"/>
                    <a:pt x="173" y="75"/>
                  </a:cubicBezTo>
                  <a:cubicBezTo>
                    <a:pt x="173" y="95"/>
                    <a:pt x="180" y="112"/>
                    <a:pt x="193" y="126"/>
                  </a:cubicBezTo>
                  <a:cubicBezTo>
                    <a:pt x="91" y="301"/>
                    <a:pt x="91" y="301"/>
                    <a:pt x="91" y="301"/>
                  </a:cubicBezTo>
                  <a:cubicBezTo>
                    <a:pt x="86" y="300"/>
                    <a:pt x="81" y="299"/>
                    <a:pt x="75" y="299"/>
                  </a:cubicBezTo>
                  <a:cubicBezTo>
                    <a:pt x="34" y="299"/>
                    <a:pt x="0" y="332"/>
                    <a:pt x="0" y="373"/>
                  </a:cubicBezTo>
                  <a:cubicBezTo>
                    <a:pt x="0" y="415"/>
                    <a:pt x="34" y="448"/>
                    <a:pt x="75" y="448"/>
                  </a:cubicBezTo>
                  <a:cubicBezTo>
                    <a:pt x="108" y="448"/>
                    <a:pt x="136" y="426"/>
                    <a:pt x="146" y="395"/>
                  </a:cubicBezTo>
                  <a:cubicBezTo>
                    <a:pt x="349" y="395"/>
                    <a:pt x="349" y="395"/>
                    <a:pt x="349" y="395"/>
                  </a:cubicBezTo>
                  <a:cubicBezTo>
                    <a:pt x="358" y="426"/>
                    <a:pt x="386" y="448"/>
                    <a:pt x="419" y="448"/>
                  </a:cubicBezTo>
                  <a:cubicBezTo>
                    <a:pt x="461" y="448"/>
                    <a:pt x="494" y="415"/>
                    <a:pt x="494" y="373"/>
                  </a:cubicBezTo>
                  <a:cubicBezTo>
                    <a:pt x="494" y="332"/>
                    <a:pt x="461" y="299"/>
                    <a:pt x="419" y="299"/>
                  </a:cubicBezTo>
                  <a:close/>
                  <a:moveTo>
                    <a:pt x="349" y="351"/>
                  </a:moveTo>
                  <a:cubicBezTo>
                    <a:pt x="146" y="351"/>
                    <a:pt x="146" y="351"/>
                    <a:pt x="146" y="351"/>
                  </a:cubicBezTo>
                  <a:cubicBezTo>
                    <a:pt x="142" y="341"/>
                    <a:pt x="137" y="331"/>
                    <a:pt x="130" y="323"/>
                  </a:cubicBezTo>
                  <a:cubicBezTo>
                    <a:pt x="231" y="148"/>
                    <a:pt x="231" y="148"/>
                    <a:pt x="231" y="148"/>
                  </a:cubicBezTo>
                  <a:cubicBezTo>
                    <a:pt x="236" y="149"/>
                    <a:pt x="242" y="150"/>
                    <a:pt x="247" y="150"/>
                  </a:cubicBezTo>
                  <a:cubicBezTo>
                    <a:pt x="253" y="150"/>
                    <a:pt x="258" y="149"/>
                    <a:pt x="264" y="148"/>
                  </a:cubicBezTo>
                  <a:cubicBezTo>
                    <a:pt x="365" y="323"/>
                    <a:pt x="365" y="323"/>
                    <a:pt x="365" y="323"/>
                  </a:cubicBezTo>
                  <a:cubicBezTo>
                    <a:pt x="358" y="331"/>
                    <a:pt x="352" y="341"/>
                    <a:pt x="349" y="351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200" dirty="0"/>
            </a:p>
          </p:txBody>
        </p:sp>
      </p:grpSp>
      <p:grpSp>
        <p:nvGrpSpPr>
          <p:cNvPr id="5" name="Group 4"/>
          <p:cNvGrpSpPr/>
          <p:nvPr/>
        </p:nvGrpSpPr>
        <p:grpSpPr>
          <a:xfrm>
            <a:off x="3367660" y="4621765"/>
            <a:ext cx="239418" cy="233531"/>
            <a:chOff x="810381" y="2904842"/>
            <a:chExt cx="239418" cy="233531"/>
          </a:xfrm>
        </p:grpSpPr>
        <p:sp>
          <p:nvSpPr>
            <p:cNvPr id="73" name="Rounded Rectangle 72"/>
            <p:cNvSpPr/>
            <p:nvPr/>
          </p:nvSpPr>
          <p:spPr>
            <a:xfrm>
              <a:off x="810381" y="2904842"/>
              <a:ext cx="239418" cy="233531"/>
            </a:xfrm>
            <a:prstGeom prst="roundRect">
              <a:avLst/>
            </a:prstGeom>
            <a:solidFill>
              <a:srgbClr val="4F81BD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"/>
                <a:cs typeface=""/>
              </a:endParaRPr>
            </a:p>
          </p:txBody>
        </p:sp>
        <p:sp>
          <p:nvSpPr>
            <p:cNvPr id="74" name="Freeform 12"/>
            <p:cNvSpPr>
              <a:spLocks noEditPoints="1"/>
            </p:cNvSpPr>
            <p:nvPr/>
          </p:nvSpPr>
          <p:spPr bwMode="auto">
            <a:xfrm>
              <a:off x="837998" y="2941520"/>
              <a:ext cx="167023" cy="143584"/>
            </a:xfrm>
            <a:custGeom>
              <a:avLst/>
              <a:gdLst>
                <a:gd name="T0" fmla="*/ 419 w 494"/>
                <a:gd name="T1" fmla="*/ 299 h 448"/>
                <a:gd name="T2" fmla="*/ 403 w 494"/>
                <a:gd name="T3" fmla="*/ 301 h 448"/>
                <a:gd name="T4" fmla="*/ 302 w 494"/>
                <a:gd name="T5" fmla="*/ 126 h 448"/>
                <a:gd name="T6" fmla="*/ 322 w 494"/>
                <a:gd name="T7" fmla="*/ 75 h 448"/>
                <a:gd name="T8" fmla="*/ 247 w 494"/>
                <a:gd name="T9" fmla="*/ 0 h 448"/>
                <a:gd name="T10" fmla="*/ 173 w 494"/>
                <a:gd name="T11" fmla="*/ 75 h 448"/>
                <a:gd name="T12" fmla="*/ 193 w 494"/>
                <a:gd name="T13" fmla="*/ 126 h 448"/>
                <a:gd name="T14" fmla="*/ 91 w 494"/>
                <a:gd name="T15" fmla="*/ 301 h 448"/>
                <a:gd name="T16" fmla="*/ 75 w 494"/>
                <a:gd name="T17" fmla="*/ 299 h 448"/>
                <a:gd name="T18" fmla="*/ 0 w 494"/>
                <a:gd name="T19" fmla="*/ 373 h 448"/>
                <a:gd name="T20" fmla="*/ 75 w 494"/>
                <a:gd name="T21" fmla="*/ 448 h 448"/>
                <a:gd name="T22" fmla="*/ 146 w 494"/>
                <a:gd name="T23" fmla="*/ 395 h 448"/>
                <a:gd name="T24" fmla="*/ 349 w 494"/>
                <a:gd name="T25" fmla="*/ 395 h 448"/>
                <a:gd name="T26" fmla="*/ 419 w 494"/>
                <a:gd name="T27" fmla="*/ 448 h 448"/>
                <a:gd name="T28" fmla="*/ 494 w 494"/>
                <a:gd name="T29" fmla="*/ 373 h 448"/>
                <a:gd name="T30" fmla="*/ 419 w 494"/>
                <a:gd name="T31" fmla="*/ 299 h 448"/>
                <a:gd name="T32" fmla="*/ 349 w 494"/>
                <a:gd name="T33" fmla="*/ 351 h 448"/>
                <a:gd name="T34" fmla="*/ 146 w 494"/>
                <a:gd name="T35" fmla="*/ 351 h 448"/>
                <a:gd name="T36" fmla="*/ 130 w 494"/>
                <a:gd name="T37" fmla="*/ 323 h 448"/>
                <a:gd name="T38" fmla="*/ 231 w 494"/>
                <a:gd name="T39" fmla="*/ 148 h 448"/>
                <a:gd name="T40" fmla="*/ 247 w 494"/>
                <a:gd name="T41" fmla="*/ 150 h 448"/>
                <a:gd name="T42" fmla="*/ 264 w 494"/>
                <a:gd name="T43" fmla="*/ 148 h 448"/>
                <a:gd name="T44" fmla="*/ 365 w 494"/>
                <a:gd name="T45" fmla="*/ 323 h 448"/>
                <a:gd name="T46" fmla="*/ 349 w 494"/>
                <a:gd name="T47" fmla="*/ 351 h 4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494" h="448">
                  <a:moveTo>
                    <a:pt x="419" y="299"/>
                  </a:moveTo>
                  <a:cubicBezTo>
                    <a:pt x="414" y="299"/>
                    <a:pt x="408" y="300"/>
                    <a:pt x="403" y="301"/>
                  </a:cubicBezTo>
                  <a:cubicBezTo>
                    <a:pt x="302" y="126"/>
                    <a:pt x="302" y="126"/>
                    <a:pt x="302" y="126"/>
                  </a:cubicBezTo>
                  <a:cubicBezTo>
                    <a:pt x="314" y="112"/>
                    <a:pt x="322" y="95"/>
                    <a:pt x="322" y="75"/>
                  </a:cubicBezTo>
                  <a:cubicBezTo>
                    <a:pt x="322" y="34"/>
                    <a:pt x="288" y="0"/>
                    <a:pt x="247" y="0"/>
                  </a:cubicBezTo>
                  <a:cubicBezTo>
                    <a:pt x="206" y="0"/>
                    <a:pt x="173" y="34"/>
                    <a:pt x="173" y="75"/>
                  </a:cubicBezTo>
                  <a:cubicBezTo>
                    <a:pt x="173" y="95"/>
                    <a:pt x="180" y="112"/>
                    <a:pt x="193" y="126"/>
                  </a:cubicBezTo>
                  <a:cubicBezTo>
                    <a:pt x="91" y="301"/>
                    <a:pt x="91" y="301"/>
                    <a:pt x="91" y="301"/>
                  </a:cubicBezTo>
                  <a:cubicBezTo>
                    <a:pt x="86" y="300"/>
                    <a:pt x="81" y="299"/>
                    <a:pt x="75" y="299"/>
                  </a:cubicBezTo>
                  <a:cubicBezTo>
                    <a:pt x="34" y="299"/>
                    <a:pt x="0" y="332"/>
                    <a:pt x="0" y="373"/>
                  </a:cubicBezTo>
                  <a:cubicBezTo>
                    <a:pt x="0" y="415"/>
                    <a:pt x="34" y="448"/>
                    <a:pt x="75" y="448"/>
                  </a:cubicBezTo>
                  <a:cubicBezTo>
                    <a:pt x="108" y="448"/>
                    <a:pt x="136" y="426"/>
                    <a:pt x="146" y="395"/>
                  </a:cubicBezTo>
                  <a:cubicBezTo>
                    <a:pt x="349" y="395"/>
                    <a:pt x="349" y="395"/>
                    <a:pt x="349" y="395"/>
                  </a:cubicBezTo>
                  <a:cubicBezTo>
                    <a:pt x="358" y="426"/>
                    <a:pt x="386" y="448"/>
                    <a:pt x="419" y="448"/>
                  </a:cubicBezTo>
                  <a:cubicBezTo>
                    <a:pt x="461" y="448"/>
                    <a:pt x="494" y="415"/>
                    <a:pt x="494" y="373"/>
                  </a:cubicBezTo>
                  <a:cubicBezTo>
                    <a:pt x="494" y="332"/>
                    <a:pt x="461" y="299"/>
                    <a:pt x="419" y="299"/>
                  </a:cubicBezTo>
                  <a:close/>
                  <a:moveTo>
                    <a:pt x="349" y="351"/>
                  </a:moveTo>
                  <a:cubicBezTo>
                    <a:pt x="146" y="351"/>
                    <a:pt x="146" y="351"/>
                    <a:pt x="146" y="351"/>
                  </a:cubicBezTo>
                  <a:cubicBezTo>
                    <a:pt x="142" y="341"/>
                    <a:pt x="137" y="331"/>
                    <a:pt x="130" y="323"/>
                  </a:cubicBezTo>
                  <a:cubicBezTo>
                    <a:pt x="231" y="148"/>
                    <a:pt x="231" y="148"/>
                    <a:pt x="231" y="148"/>
                  </a:cubicBezTo>
                  <a:cubicBezTo>
                    <a:pt x="236" y="149"/>
                    <a:pt x="242" y="150"/>
                    <a:pt x="247" y="150"/>
                  </a:cubicBezTo>
                  <a:cubicBezTo>
                    <a:pt x="253" y="150"/>
                    <a:pt x="258" y="149"/>
                    <a:pt x="264" y="148"/>
                  </a:cubicBezTo>
                  <a:cubicBezTo>
                    <a:pt x="365" y="323"/>
                    <a:pt x="365" y="323"/>
                    <a:pt x="365" y="323"/>
                  </a:cubicBezTo>
                  <a:cubicBezTo>
                    <a:pt x="358" y="331"/>
                    <a:pt x="352" y="341"/>
                    <a:pt x="349" y="351"/>
                  </a:cubicBez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"/>
              </a:endParaRPr>
            </a:p>
          </p:txBody>
        </p:sp>
      </p:grpSp>
      <p:grpSp>
        <p:nvGrpSpPr>
          <p:cNvPr id="54" name="Group 53"/>
          <p:cNvGrpSpPr/>
          <p:nvPr/>
        </p:nvGrpSpPr>
        <p:grpSpPr>
          <a:xfrm>
            <a:off x="5239593" y="4631479"/>
            <a:ext cx="239417" cy="222324"/>
            <a:chOff x="810381" y="3309181"/>
            <a:chExt cx="239417" cy="222324"/>
          </a:xfrm>
        </p:grpSpPr>
        <p:sp>
          <p:nvSpPr>
            <p:cNvPr id="75" name="Rounded Rectangle 74"/>
            <p:cNvSpPr/>
            <p:nvPr/>
          </p:nvSpPr>
          <p:spPr>
            <a:xfrm>
              <a:off x="810381" y="3309181"/>
              <a:ext cx="239417" cy="222324"/>
            </a:xfrm>
            <a:prstGeom prst="roundRect">
              <a:avLst/>
            </a:prstGeom>
            <a:solidFill>
              <a:srgbClr val="948A5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6" name="Freeform 12"/>
            <p:cNvSpPr>
              <a:spLocks noEditPoints="1"/>
            </p:cNvSpPr>
            <p:nvPr/>
          </p:nvSpPr>
          <p:spPr bwMode="auto">
            <a:xfrm>
              <a:off x="853059" y="3351995"/>
              <a:ext cx="167023" cy="136694"/>
            </a:xfrm>
            <a:custGeom>
              <a:avLst/>
              <a:gdLst>
                <a:gd name="T0" fmla="*/ 419 w 494"/>
                <a:gd name="T1" fmla="*/ 299 h 448"/>
                <a:gd name="T2" fmla="*/ 403 w 494"/>
                <a:gd name="T3" fmla="*/ 301 h 448"/>
                <a:gd name="T4" fmla="*/ 302 w 494"/>
                <a:gd name="T5" fmla="*/ 126 h 448"/>
                <a:gd name="T6" fmla="*/ 322 w 494"/>
                <a:gd name="T7" fmla="*/ 75 h 448"/>
                <a:gd name="T8" fmla="*/ 247 w 494"/>
                <a:gd name="T9" fmla="*/ 0 h 448"/>
                <a:gd name="T10" fmla="*/ 173 w 494"/>
                <a:gd name="T11" fmla="*/ 75 h 448"/>
                <a:gd name="T12" fmla="*/ 193 w 494"/>
                <a:gd name="T13" fmla="*/ 126 h 448"/>
                <a:gd name="T14" fmla="*/ 91 w 494"/>
                <a:gd name="T15" fmla="*/ 301 h 448"/>
                <a:gd name="T16" fmla="*/ 75 w 494"/>
                <a:gd name="T17" fmla="*/ 299 h 448"/>
                <a:gd name="T18" fmla="*/ 0 w 494"/>
                <a:gd name="T19" fmla="*/ 373 h 448"/>
                <a:gd name="T20" fmla="*/ 75 w 494"/>
                <a:gd name="T21" fmla="*/ 448 h 448"/>
                <a:gd name="T22" fmla="*/ 146 w 494"/>
                <a:gd name="T23" fmla="*/ 395 h 448"/>
                <a:gd name="T24" fmla="*/ 349 w 494"/>
                <a:gd name="T25" fmla="*/ 395 h 448"/>
                <a:gd name="T26" fmla="*/ 419 w 494"/>
                <a:gd name="T27" fmla="*/ 448 h 448"/>
                <a:gd name="T28" fmla="*/ 494 w 494"/>
                <a:gd name="T29" fmla="*/ 373 h 448"/>
                <a:gd name="T30" fmla="*/ 419 w 494"/>
                <a:gd name="T31" fmla="*/ 299 h 448"/>
                <a:gd name="T32" fmla="*/ 349 w 494"/>
                <a:gd name="T33" fmla="*/ 351 h 448"/>
                <a:gd name="T34" fmla="*/ 146 w 494"/>
                <a:gd name="T35" fmla="*/ 351 h 448"/>
                <a:gd name="T36" fmla="*/ 130 w 494"/>
                <a:gd name="T37" fmla="*/ 323 h 448"/>
                <a:gd name="T38" fmla="*/ 231 w 494"/>
                <a:gd name="T39" fmla="*/ 148 h 448"/>
                <a:gd name="T40" fmla="*/ 247 w 494"/>
                <a:gd name="T41" fmla="*/ 150 h 448"/>
                <a:gd name="T42" fmla="*/ 264 w 494"/>
                <a:gd name="T43" fmla="*/ 148 h 448"/>
                <a:gd name="T44" fmla="*/ 365 w 494"/>
                <a:gd name="T45" fmla="*/ 323 h 448"/>
                <a:gd name="T46" fmla="*/ 349 w 494"/>
                <a:gd name="T47" fmla="*/ 351 h 4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494" h="448">
                  <a:moveTo>
                    <a:pt x="419" y="299"/>
                  </a:moveTo>
                  <a:cubicBezTo>
                    <a:pt x="414" y="299"/>
                    <a:pt x="408" y="300"/>
                    <a:pt x="403" y="301"/>
                  </a:cubicBezTo>
                  <a:cubicBezTo>
                    <a:pt x="302" y="126"/>
                    <a:pt x="302" y="126"/>
                    <a:pt x="302" y="126"/>
                  </a:cubicBezTo>
                  <a:cubicBezTo>
                    <a:pt x="314" y="112"/>
                    <a:pt x="322" y="95"/>
                    <a:pt x="322" y="75"/>
                  </a:cubicBezTo>
                  <a:cubicBezTo>
                    <a:pt x="322" y="34"/>
                    <a:pt x="288" y="0"/>
                    <a:pt x="247" y="0"/>
                  </a:cubicBezTo>
                  <a:cubicBezTo>
                    <a:pt x="206" y="0"/>
                    <a:pt x="173" y="34"/>
                    <a:pt x="173" y="75"/>
                  </a:cubicBezTo>
                  <a:cubicBezTo>
                    <a:pt x="173" y="95"/>
                    <a:pt x="180" y="112"/>
                    <a:pt x="193" y="126"/>
                  </a:cubicBezTo>
                  <a:cubicBezTo>
                    <a:pt x="91" y="301"/>
                    <a:pt x="91" y="301"/>
                    <a:pt x="91" y="301"/>
                  </a:cubicBezTo>
                  <a:cubicBezTo>
                    <a:pt x="86" y="300"/>
                    <a:pt x="81" y="299"/>
                    <a:pt x="75" y="299"/>
                  </a:cubicBezTo>
                  <a:cubicBezTo>
                    <a:pt x="34" y="299"/>
                    <a:pt x="0" y="332"/>
                    <a:pt x="0" y="373"/>
                  </a:cubicBezTo>
                  <a:cubicBezTo>
                    <a:pt x="0" y="415"/>
                    <a:pt x="34" y="448"/>
                    <a:pt x="75" y="448"/>
                  </a:cubicBezTo>
                  <a:cubicBezTo>
                    <a:pt x="108" y="448"/>
                    <a:pt x="136" y="426"/>
                    <a:pt x="146" y="395"/>
                  </a:cubicBezTo>
                  <a:cubicBezTo>
                    <a:pt x="349" y="395"/>
                    <a:pt x="349" y="395"/>
                    <a:pt x="349" y="395"/>
                  </a:cubicBezTo>
                  <a:cubicBezTo>
                    <a:pt x="358" y="426"/>
                    <a:pt x="386" y="448"/>
                    <a:pt x="419" y="448"/>
                  </a:cubicBezTo>
                  <a:cubicBezTo>
                    <a:pt x="461" y="448"/>
                    <a:pt x="494" y="415"/>
                    <a:pt x="494" y="373"/>
                  </a:cubicBezTo>
                  <a:cubicBezTo>
                    <a:pt x="494" y="332"/>
                    <a:pt x="461" y="299"/>
                    <a:pt x="419" y="299"/>
                  </a:cubicBezTo>
                  <a:close/>
                  <a:moveTo>
                    <a:pt x="349" y="351"/>
                  </a:moveTo>
                  <a:cubicBezTo>
                    <a:pt x="146" y="351"/>
                    <a:pt x="146" y="351"/>
                    <a:pt x="146" y="351"/>
                  </a:cubicBezTo>
                  <a:cubicBezTo>
                    <a:pt x="142" y="341"/>
                    <a:pt x="137" y="331"/>
                    <a:pt x="130" y="323"/>
                  </a:cubicBezTo>
                  <a:cubicBezTo>
                    <a:pt x="231" y="148"/>
                    <a:pt x="231" y="148"/>
                    <a:pt x="231" y="148"/>
                  </a:cubicBezTo>
                  <a:cubicBezTo>
                    <a:pt x="236" y="149"/>
                    <a:pt x="242" y="150"/>
                    <a:pt x="247" y="150"/>
                  </a:cubicBezTo>
                  <a:cubicBezTo>
                    <a:pt x="253" y="150"/>
                    <a:pt x="258" y="149"/>
                    <a:pt x="264" y="148"/>
                  </a:cubicBezTo>
                  <a:cubicBezTo>
                    <a:pt x="365" y="323"/>
                    <a:pt x="365" y="323"/>
                    <a:pt x="365" y="323"/>
                  </a:cubicBezTo>
                  <a:cubicBezTo>
                    <a:pt x="358" y="331"/>
                    <a:pt x="352" y="341"/>
                    <a:pt x="349" y="351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200" dirty="0"/>
            </a:p>
          </p:txBody>
        </p:sp>
      </p:grpSp>
      <p:grpSp>
        <p:nvGrpSpPr>
          <p:cNvPr id="78" name="Group 77"/>
          <p:cNvGrpSpPr/>
          <p:nvPr/>
        </p:nvGrpSpPr>
        <p:grpSpPr>
          <a:xfrm>
            <a:off x="4521296" y="3242193"/>
            <a:ext cx="249857" cy="235347"/>
            <a:chOff x="796784" y="2455327"/>
            <a:chExt cx="249857" cy="235347"/>
          </a:xfrm>
        </p:grpSpPr>
        <p:sp>
          <p:nvSpPr>
            <p:cNvPr id="79" name="Rounded Rectangle 78"/>
            <p:cNvSpPr/>
            <p:nvPr/>
          </p:nvSpPr>
          <p:spPr>
            <a:xfrm>
              <a:off x="796784" y="2455327"/>
              <a:ext cx="249857" cy="235347"/>
            </a:xfrm>
            <a:prstGeom prst="roundRect">
              <a:avLst/>
            </a:prstGeom>
            <a:solidFill>
              <a:srgbClr val="F79646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"/>
                <a:cs typeface=""/>
              </a:endParaRPr>
            </a:p>
          </p:txBody>
        </p:sp>
        <p:sp>
          <p:nvSpPr>
            <p:cNvPr id="80" name="Freeform 12"/>
            <p:cNvSpPr>
              <a:spLocks noEditPoints="1"/>
            </p:cNvSpPr>
            <p:nvPr/>
          </p:nvSpPr>
          <p:spPr bwMode="auto">
            <a:xfrm>
              <a:off x="828964" y="2505098"/>
              <a:ext cx="167023" cy="136694"/>
            </a:xfrm>
            <a:custGeom>
              <a:avLst/>
              <a:gdLst>
                <a:gd name="T0" fmla="*/ 419 w 494"/>
                <a:gd name="T1" fmla="*/ 299 h 448"/>
                <a:gd name="T2" fmla="*/ 403 w 494"/>
                <a:gd name="T3" fmla="*/ 301 h 448"/>
                <a:gd name="T4" fmla="*/ 302 w 494"/>
                <a:gd name="T5" fmla="*/ 126 h 448"/>
                <a:gd name="T6" fmla="*/ 322 w 494"/>
                <a:gd name="T7" fmla="*/ 75 h 448"/>
                <a:gd name="T8" fmla="*/ 247 w 494"/>
                <a:gd name="T9" fmla="*/ 0 h 448"/>
                <a:gd name="T10" fmla="*/ 173 w 494"/>
                <a:gd name="T11" fmla="*/ 75 h 448"/>
                <a:gd name="T12" fmla="*/ 193 w 494"/>
                <a:gd name="T13" fmla="*/ 126 h 448"/>
                <a:gd name="T14" fmla="*/ 91 w 494"/>
                <a:gd name="T15" fmla="*/ 301 h 448"/>
                <a:gd name="T16" fmla="*/ 75 w 494"/>
                <a:gd name="T17" fmla="*/ 299 h 448"/>
                <a:gd name="T18" fmla="*/ 0 w 494"/>
                <a:gd name="T19" fmla="*/ 373 h 448"/>
                <a:gd name="T20" fmla="*/ 75 w 494"/>
                <a:gd name="T21" fmla="*/ 448 h 448"/>
                <a:gd name="T22" fmla="*/ 146 w 494"/>
                <a:gd name="T23" fmla="*/ 395 h 448"/>
                <a:gd name="T24" fmla="*/ 349 w 494"/>
                <a:gd name="T25" fmla="*/ 395 h 448"/>
                <a:gd name="T26" fmla="*/ 419 w 494"/>
                <a:gd name="T27" fmla="*/ 448 h 448"/>
                <a:gd name="T28" fmla="*/ 494 w 494"/>
                <a:gd name="T29" fmla="*/ 373 h 448"/>
                <a:gd name="T30" fmla="*/ 419 w 494"/>
                <a:gd name="T31" fmla="*/ 299 h 448"/>
                <a:gd name="T32" fmla="*/ 349 w 494"/>
                <a:gd name="T33" fmla="*/ 351 h 448"/>
                <a:gd name="T34" fmla="*/ 146 w 494"/>
                <a:gd name="T35" fmla="*/ 351 h 448"/>
                <a:gd name="T36" fmla="*/ 130 w 494"/>
                <a:gd name="T37" fmla="*/ 323 h 448"/>
                <a:gd name="T38" fmla="*/ 231 w 494"/>
                <a:gd name="T39" fmla="*/ 148 h 448"/>
                <a:gd name="T40" fmla="*/ 247 w 494"/>
                <a:gd name="T41" fmla="*/ 150 h 448"/>
                <a:gd name="T42" fmla="*/ 264 w 494"/>
                <a:gd name="T43" fmla="*/ 148 h 448"/>
                <a:gd name="T44" fmla="*/ 365 w 494"/>
                <a:gd name="T45" fmla="*/ 323 h 448"/>
                <a:gd name="T46" fmla="*/ 349 w 494"/>
                <a:gd name="T47" fmla="*/ 351 h 4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494" h="448">
                  <a:moveTo>
                    <a:pt x="419" y="299"/>
                  </a:moveTo>
                  <a:cubicBezTo>
                    <a:pt x="414" y="299"/>
                    <a:pt x="408" y="300"/>
                    <a:pt x="403" y="301"/>
                  </a:cubicBezTo>
                  <a:cubicBezTo>
                    <a:pt x="302" y="126"/>
                    <a:pt x="302" y="126"/>
                    <a:pt x="302" y="126"/>
                  </a:cubicBezTo>
                  <a:cubicBezTo>
                    <a:pt x="314" y="112"/>
                    <a:pt x="322" y="95"/>
                    <a:pt x="322" y="75"/>
                  </a:cubicBezTo>
                  <a:cubicBezTo>
                    <a:pt x="322" y="34"/>
                    <a:pt x="288" y="0"/>
                    <a:pt x="247" y="0"/>
                  </a:cubicBezTo>
                  <a:cubicBezTo>
                    <a:pt x="206" y="0"/>
                    <a:pt x="173" y="34"/>
                    <a:pt x="173" y="75"/>
                  </a:cubicBezTo>
                  <a:cubicBezTo>
                    <a:pt x="173" y="95"/>
                    <a:pt x="180" y="112"/>
                    <a:pt x="193" y="126"/>
                  </a:cubicBezTo>
                  <a:cubicBezTo>
                    <a:pt x="91" y="301"/>
                    <a:pt x="91" y="301"/>
                    <a:pt x="91" y="301"/>
                  </a:cubicBezTo>
                  <a:cubicBezTo>
                    <a:pt x="86" y="300"/>
                    <a:pt x="81" y="299"/>
                    <a:pt x="75" y="299"/>
                  </a:cubicBezTo>
                  <a:cubicBezTo>
                    <a:pt x="34" y="299"/>
                    <a:pt x="0" y="332"/>
                    <a:pt x="0" y="373"/>
                  </a:cubicBezTo>
                  <a:cubicBezTo>
                    <a:pt x="0" y="415"/>
                    <a:pt x="34" y="448"/>
                    <a:pt x="75" y="448"/>
                  </a:cubicBezTo>
                  <a:cubicBezTo>
                    <a:pt x="108" y="448"/>
                    <a:pt x="136" y="426"/>
                    <a:pt x="146" y="395"/>
                  </a:cubicBezTo>
                  <a:cubicBezTo>
                    <a:pt x="349" y="395"/>
                    <a:pt x="349" y="395"/>
                    <a:pt x="349" y="395"/>
                  </a:cubicBezTo>
                  <a:cubicBezTo>
                    <a:pt x="358" y="426"/>
                    <a:pt x="386" y="448"/>
                    <a:pt x="419" y="448"/>
                  </a:cubicBezTo>
                  <a:cubicBezTo>
                    <a:pt x="461" y="448"/>
                    <a:pt x="494" y="415"/>
                    <a:pt x="494" y="373"/>
                  </a:cubicBezTo>
                  <a:cubicBezTo>
                    <a:pt x="494" y="332"/>
                    <a:pt x="461" y="299"/>
                    <a:pt x="419" y="299"/>
                  </a:cubicBezTo>
                  <a:close/>
                  <a:moveTo>
                    <a:pt x="349" y="351"/>
                  </a:moveTo>
                  <a:cubicBezTo>
                    <a:pt x="146" y="351"/>
                    <a:pt x="146" y="351"/>
                    <a:pt x="146" y="351"/>
                  </a:cubicBezTo>
                  <a:cubicBezTo>
                    <a:pt x="142" y="341"/>
                    <a:pt x="137" y="331"/>
                    <a:pt x="130" y="323"/>
                  </a:cubicBezTo>
                  <a:cubicBezTo>
                    <a:pt x="231" y="148"/>
                    <a:pt x="231" y="148"/>
                    <a:pt x="231" y="148"/>
                  </a:cubicBezTo>
                  <a:cubicBezTo>
                    <a:pt x="236" y="149"/>
                    <a:pt x="242" y="150"/>
                    <a:pt x="247" y="150"/>
                  </a:cubicBezTo>
                  <a:cubicBezTo>
                    <a:pt x="253" y="150"/>
                    <a:pt x="258" y="149"/>
                    <a:pt x="264" y="148"/>
                  </a:cubicBezTo>
                  <a:cubicBezTo>
                    <a:pt x="365" y="323"/>
                    <a:pt x="365" y="323"/>
                    <a:pt x="365" y="323"/>
                  </a:cubicBezTo>
                  <a:cubicBezTo>
                    <a:pt x="358" y="331"/>
                    <a:pt x="352" y="341"/>
                    <a:pt x="349" y="351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200" dirty="0"/>
            </a:p>
          </p:txBody>
        </p:sp>
      </p:grpSp>
      <p:grpSp>
        <p:nvGrpSpPr>
          <p:cNvPr id="81" name="Group 80"/>
          <p:cNvGrpSpPr/>
          <p:nvPr/>
        </p:nvGrpSpPr>
        <p:grpSpPr>
          <a:xfrm>
            <a:off x="4806354" y="3242192"/>
            <a:ext cx="249857" cy="235347"/>
            <a:chOff x="796784" y="2455327"/>
            <a:chExt cx="249857" cy="235347"/>
          </a:xfrm>
        </p:grpSpPr>
        <p:sp>
          <p:nvSpPr>
            <p:cNvPr id="82" name="Rounded Rectangle 81"/>
            <p:cNvSpPr/>
            <p:nvPr/>
          </p:nvSpPr>
          <p:spPr>
            <a:xfrm>
              <a:off x="796784" y="2455327"/>
              <a:ext cx="249857" cy="235347"/>
            </a:xfrm>
            <a:prstGeom prst="roundRect">
              <a:avLst/>
            </a:prstGeom>
            <a:solidFill>
              <a:srgbClr val="F79646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"/>
                <a:cs typeface=""/>
              </a:endParaRPr>
            </a:p>
          </p:txBody>
        </p:sp>
        <p:sp>
          <p:nvSpPr>
            <p:cNvPr id="83" name="Freeform 12"/>
            <p:cNvSpPr>
              <a:spLocks noEditPoints="1"/>
            </p:cNvSpPr>
            <p:nvPr/>
          </p:nvSpPr>
          <p:spPr bwMode="auto">
            <a:xfrm>
              <a:off x="828964" y="2505098"/>
              <a:ext cx="167023" cy="136694"/>
            </a:xfrm>
            <a:custGeom>
              <a:avLst/>
              <a:gdLst>
                <a:gd name="T0" fmla="*/ 419 w 494"/>
                <a:gd name="T1" fmla="*/ 299 h 448"/>
                <a:gd name="T2" fmla="*/ 403 w 494"/>
                <a:gd name="T3" fmla="*/ 301 h 448"/>
                <a:gd name="T4" fmla="*/ 302 w 494"/>
                <a:gd name="T5" fmla="*/ 126 h 448"/>
                <a:gd name="T6" fmla="*/ 322 w 494"/>
                <a:gd name="T7" fmla="*/ 75 h 448"/>
                <a:gd name="T8" fmla="*/ 247 w 494"/>
                <a:gd name="T9" fmla="*/ 0 h 448"/>
                <a:gd name="T10" fmla="*/ 173 w 494"/>
                <a:gd name="T11" fmla="*/ 75 h 448"/>
                <a:gd name="T12" fmla="*/ 193 w 494"/>
                <a:gd name="T13" fmla="*/ 126 h 448"/>
                <a:gd name="T14" fmla="*/ 91 w 494"/>
                <a:gd name="T15" fmla="*/ 301 h 448"/>
                <a:gd name="T16" fmla="*/ 75 w 494"/>
                <a:gd name="T17" fmla="*/ 299 h 448"/>
                <a:gd name="T18" fmla="*/ 0 w 494"/>
                <a:gd name="T19" fmla="*/ 373 h 448"/>
                <a:gd name="T20" fmla="*/ 75 w 494"/>
                <a:gd name="T21" fmla="*/ 448 h 448"/>
                <a:gd name="T22" fmla="*/ 146 w 494"/>
                <a:gd name="T23" fmla="*/ 395 h 448"/>
                <a:gd name="T24" fmla="*/ 349 w 494"/>
                <a:gd name="T25" fmla="*/ 395 h 448"/>
                <a:gd name="T26" fmla="*/ 419 w 494"/>
                <a:gd name="T27" fmla="*/ 448 h 448"/>
                <a:gd name="T28" fmla="*/ 494 w 494"/>
                <a:gd name="T29" fmla="*/ 373 h 448"/>
                <a:gd name="T30" fmla="*/ 419 w 494"/>
                <a:gd name="T31" fmla="*/ 299 h 448"/>
                <a:gd name="T32" fmla="*/ 349 w 494"/>
                <a:gd name="T33" fmla="*/ 351 h 448"/>
                <a:gd name="T34" fmla="*/ 146 w 494"/>
                <a:gd name="T35" fmla="*/ 351 h 448"/>
                <a:gd name="T36" fmla="*/ 130 w 494"/>
                <a:gd name="T37" fmla="*/ 323 h 448"/>
                <a:gd name="T38" fmla="*/ 231 w 494"/>
                <a:gd name="T39" fmla="*/ 148 h 448"/>
                <a:gd name="T40" fmla="*/ 247 w 494"/>
                <a:gd name="T41" fmla="*/ 150 h 448"/>
                <a:gd name="T42" fmla="*/ 264 w 494"/>
                <a:gd name="T43" fmla="*/ 148 h 448"/>
                <a:gd name="T44" fmla="*/ 365 w 494"/>
                <a:gd name="T45" fmla="*/ 323 h 448"/>
                <a:gd name="T46" fmla="*/ 349 w 494"/>
                <a:gd name="T47" fmla="*/ 351 h 4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494" h="448">
                  <a:moveTo>
                    <a:pt x="419" y="299"/>
                  </a:moveTo>
                  <a:cubicBezTo>
                    <a:pt x="414" y="299"/>
                    <a:pt x="408" y="300"/>
                    <a:pt x="403" y="301"/>
                  </a:cubicBezTo>
                  <a:cubicBezTo>
                    <a:pt x="302" y="126"/>
                    <a:pt x="302" y="126"/>
                    <a:pt x="302" y="126"/>
                  </a:cubicBezTo>
                  <a:cubicBezTo>
                    <a:pt x="314" y="112"/>
                    <a:pt x="322" y="95"/>
                    <a:pt x="322" y="75"/>
                  </a:cubicBezTo>
                  <a:cubicBezTo>
                    <a:pt x="322" y="34"/>
                    <a:pt x="288" y="0"/>
                    <a:pt x="247" y="0"/>
                  </a:cubicBezTo>
                  <a:cubicBezTo>
                    <a:pt x="206" y="0"/>
                    <a:pt x="173" y="34"/>
                    <a:pt x="173" y="75"/>
                  </a:cubicBezTo>
                  <a:cubicBezTo>
                    <a:pt x="173" y="95"/>
                    <a:pt x="180" y="112"/>
                    <a:pt x="193" y="126"/>
                  </a:cubicBezTo>
                  <a:cubicBezTo>
                    <a:pt x="91" y="301"/>
                    <a:pt x="91" y="301"/>
                    <a:pt x="91" y="301"/>
                  </a:cubicBezTo>
                  <a:cubicBezTo>
                    <a:pt x="86" y="300"/>
                    <a:pt x="81" y="299"/>
                    <a:pt x="75" y="299"/>
                  </a:cubicBezTo>
                  <a:cubicBezTo>
                    <a:pt x="34" y="299"/>
                    <a:pt x="0" y="332"/>
                    <a:pt x="0" y="373"/>
                  </a:cubicBezTo>
                  <a:cubicBezTo>
                    <a:pt x="0" y="415"/>
                    <a:pt x="34" y="448"/>
                    <a:pt x="75" y="448"/>
                  </a:cubicBezTo>
                  <a:cubicBezTo>
                    <a:pt x="108" y="448"/>
                    <a:pt x="136" y="426"/>
                    <a:pt x="146" y="395"/>
                  </a:cubicBezTo>
                  <a:cubicBezTo>
                    <a:pt x="349" y="395"/>
                    <a:pt x="349" y="395"/>
                    <a:pt x="349" y="395"/>
                  </a:cubicBezTo>
                  <a:cubicBezTo>
                    <a:pt x="358" y="426"/>
                    <a:pt x="386" y="448"/>
                    <a:pt x="419" y="448"/>
                  </a:cubicBezTo>
                  <a:cubicBezTo>
                    <a:pt x="461" y="448"/>
                    <a:pt x="494" y="415"/>
                    <a:pt x="494" y="373"/>
                  </a:cubicBezTo>
                  <a:cubicBezTo>
                    <a:pt x="494" y="332"/>
                    <a:pt x="461" y="299"/>
                    <a:pt x="419" y="299"/>
                  </a:cubicBezTo>
                  <a:close/>
                  <a:moveTo>
                    <a:pt x="349" y="351"/>
                  </a:moveTo>
                  <a:cubicBezTo>
                    <a:pt x="146" y="351"/>
                    <a:pt x="146" y="351"/>
                    <a:pt x="146" y="351"/>
                  </a:cubicBezTo>
                  <a:cubicBezTo>
                    <a:pt x="142" y="341"/>
                    <a:pt x="137" y="331"/>
                    <a:pt x="130" y="323"/>
                  </a:cubicBezTo>
                  <a:cubicBezTo>
                    <a:pt x="231" y="148"/>
                    <a:pt x="231" y="148"/>
                    <a:pt x="231" y="148"/>
                  </a:cubicBezTo>
                  <a:cubicBezTo>
                    <a:pt x="236" y="149"/>
                    <a:pt x="242" y="150"/>
                    <a:pt x="247" y="150"/>
                  </a:cubicBezTo>
                  <a:cubicBezTo>
                    <a:pt x="253" y="150"/>
                    <a:pt x="258" y="149"/>
                    <a:pt x="264" y="148"/>
                  </a:cubicBezTo>
                  <a:cubicBezTo>
                    <a:pt x="365" y="323"/>
                    <a:pt x="365" y="323"/>
                    <a:pt x="365" y="323"/>
                  </a:cubicBezTo>
                  <a:cubicBezTo>
                    <a:pt x="358" y="331"/>
                    <a:pt x="352" y="341"/>
                    <a:pt x="349" y="351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200" dirty="0"/>
            </a:p>
          </p:txBody>
        </p:sp>
      </p:grpSp>
      <p:grpSp>
        <p:nvGrpSpPr>
          <p:cNvPr id="84" name="Group 83"/>
          <p:cNvGrpSpPr/>
          <p:nvPr/>
        </p:nvGrpSpPr>
        <p:grpSpPr>
          <a:xfrm>
            <a:off x="3634695" y="4628272"/>
            <a:ext cx="239418" cy="233531"/>
            <a:chOff x="810381" y="2904842"/>
            <a:chExt cx="239418" cy="233531"/>
          </a:xfrm>
        </p:grpSpPr>
        <p:sp>
          <p:nvSpPr>
            <p:cNvPr id="85" name="Rounded Rectangle 84"/>
            <p:cNvSpPr/>
            <p:nvPr/>
          </p:nvSpPr>
          <p:spPr>
            <a:xfrm>
              <a:off x="810381" y="2904842"/>
              <a:ext cx="239418" cy="233531"/>
            </a:xfrm>
            <a:prstGeom prst="roundRect">
              <a:avLst/>
            </a:prstGeom>
            <a:solidFill>
              <a:srgbClr val="4F81BD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"/>
                <a:cs typeface=""/>
              </a:endParaRPr>
            </a:p>
          </p:txBody>
        </p:sp>
        <p:sp>
          <p:nvSpPr>
            <p:cNvPr id="86" name="Freeform 12"/>
            <p:cNvSpPr>
              <a:spLocks noEditPoints="1"/>
            </p:cNvSpPr>
            <p:nvPr/>
          </p:nvSpPr>
          <p:spPr bwMode="auto">
            <a:xfrm>
              <a:off x="837998" y="2941520"/>
              <a:ext cx="167023" cy="143584"/>
            </a:xfrm>
            <a:custGeom>
              <a:avLst/>
              <a:gdLst>
                <a:gd name="T0" fmla="*/ 419 w 494"/>
                <a:gd name="T1" fmla="*/ 299 h 448"/>
                <a:gd name="T2" fmla="*/ 403 w 494"/>
                <a:gd name="T3" fmla="*/ 301 h 448"/>
                <a:gd name="T4" fmla="*/ 302 w 494"/>
                <a:gd name="T5" fmla="*/ 126 h 448"/>
                <a:gd name="T6" fmla="*/ 322 w 494"/>
                <a:gd name="T7" fmla="*/ 75 h 448"/>
                <a:gd name="T8" fmla="*/ 247 w 494"/>
                <a:gd name="T9" fmla="*/ 0 h 448"/>
                <a:gd name="T10" fmla="*/ 173 w 494"/>
                <a:gd name="T11" fmla="*/ 75 h 448"/>
                <a:gd name="T12" fmla="*/ 193 w 494"/>
                <a:gd name="T13" fmla="*/ 126 h 448"/>
                <a:gd name="T14" fmla="*/ 91 w 494"/>
                <a:gd name="T15" fmla="*/ 301 h 448"/>
                <a:gd name="T16" fmla="*/ 75 w 494"/>
                <a:gd name="T17" fmla="*/ 299 h 448"/>
                <a:gd name="T18" fmla="*/ 0 w 494"/>
                <a:gd name="T19" fmla="*/ 373 h 448"/>
                <a:gd name="T20" fmla="*/ 75 w 494"/>
                <a:gd name="T21" fmla="*/ 448 h 448"/>
                <a:gd name="T22" fmla="*/ 146 w 494"/>
                <a:gd name="T23" fmla="*/ 395 h 448"/>
                <a:gd name="T24" fmla="*/ 349 w 494"/>
                <a:gd name="T25" fmla="*/ 395 h 448"/>
                <a:gd name="T26" fmla="*/ 419 w 494"/>
                <a:gd name="T27" fmla="*/ 448 h 448"/>
                <a:gd name="T28" fmla="*/ 494 w 494"/>
                <a:gd name="T29" fmla="*/ 373 h 448"/>
                <a:gd name="T30" fmla="*/ 419 w 494"/>
                <a:gd name="T31" fmla="*/ 299 h 448"/>
                <a:gd name="T32" fmla="*/ 349 w 494"/>
                <a:gd name="T33" fmla="*/ 351 h 448"/>
                <a:gd name="T34" fmla="*/ 146 w 494"/>
                <a:gd name="T35" fmla="*/ 351 h 448"/>
                <a:gd name="T36" fmla="*/ 130 w 494"/>
                <a:gd name="T37" fmla="*/ 323 h 448"/>
                <a:gd name="T38" fmla="*/ 231 w 494"/>
                <a:gd name="T39" fmla="*/ 148 h 448"/>
                <a:gd name="T40" fmla="*/ 247 w 494"/>
                <a:gd name="T41" fmla="*/ 150 h 448"/>
                <a:gd name="T42" fmla="*/ 264 w 494"/>
                <a:gd name="T43" fmla="*/ 148 h 448"/>
                <a:gd name="T44" fmla="*/ 365 w 494"/>
                <a:gd name="T45" fmla="*/ 323 h 448"/>
                <a:gd name="T46" fmla="*/ 349 w 494"/>
                <a:gd name="T47" fmla="*/ 351 h 4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494" h="448">
                  <a:moveTo>
                    <a:pt x="419" y="299"/>
                  </a:moveTo>
                  <a:cubicBezTo>
                    <a:pt x="414" y="299"/>
                    <a:pt x="408" y="300"/>
                    <a:pt x="403" y="301"/>
                  </a:cubicBezTo>
                  <a:cubicBezTo>
                    <a:pt x="302" y="126"/>
                    <a:pt x="302" y="126"/>
                    <a:pt x="302" y="126"/>
                  </a:cubicBezTo>
                  <a:cubicBezTo>
                    <a:pt x="314" y="112"/>
                    <a:pt x="322" y="95"/>
                    <a:pt x="322" y="75"/>
                  </a:cubicBezTo>
                  <a:cubicBezTo>
                    <a:pt x="322" y="34"/>
                    <a:pt x="288" y="0"/>
                    <a:pt x="247" y="0"/>
                  </a:cubicBezTo>
                  <a:cubicBezTo>
                    <a:pt x="206" y="0"/>
                    <a:pt x="173" y="34"/>
                    <a:pt x="173" y="75"/>
                  </a:cubicBezTo>
                  <a:cubicBezTo>
                    <a:pt x="173" y="95"/>
                    <a:pt x="180" y="112"/>
                    <a:pt x="193" y="126"/>
                  </a:cubicBezTo>
                  <a:cubicBezTo>
                    <a:pt x="91" y="301"/>
                    <a:pt x="91" y="301"/>
                    <a:pt x="91" y="301"/>
                  </a:cubicBezTo>
                  <a:cubicBezTo>
                    <a:pt x="86" y="300"/>
                    <a:pt x="81" y="299"/>
                    <a:pt x="75" y="299"/>
                  </a:cubicBezTo>
                  <a:cubicBezTo>
                    <a:pt x="34" y="299"/>
                    <a:pt x="0" y="332"/>
                    <a:pt x="0" y="373"/>
                  </a:cubicBezTo>
                  <a:cubicBezTo>
                    <a:pt x="0" y="415"/>
                    <a:pt x="34" y="448"/>
                    <a:pt x="75" y="448"/>
                  </a:cubicBezTo>
                  <a:cubicBezTo>
                    <a:pt x="108" y="448"/>
                    <a:pt x="136" y="426"/>
                    <a:pt x="146" y="395"/>
                  </a:cubicBezTo>
                  <a:cubicBezTo>
                    <a:pt x="349" y="395"/>
                    <a:pt x="349" y="395"/>
                    <a:pt x="349" y="395"/>
                  </a:cubicBezTo>
                  <a:cubicBezTo>
                    <a:pt x="358" y="426"/>
                    <a:pt x="386" y="448"/>
                    <a:pt x="419" y="448"/>
                  </a:cubicBezTo>
                  <a:cubicBezTo>
                    <a:pt x="461" y="448"/>
                    <a:pt x="494" y="415"/>
                    <a:pt x="494" y="373"/>
                  </a:cubicBezTo>
                  <a:cubicBezTo>
                    <a:pt x="494" y="332"/>
                    <a:pt x="461" y="299"/>
                    <a:pt x="419" y="299"/>
                  </a:cubicBezTo>
                  <a:close/>
                  <a:moveTo>
                    <a:pt x="349" y="351"/>
                  </a:moveTo>
                  <a:cubicBezTo>
                    <a:pt x="146" y="351"/>
                    <a:pt x="146" y="351"/>
                    <a:pt x="146" y="351"/>
                  </a:cubicBezTo>
                  <a:cubicBezTo>
                    <a:pt x="142" y="341"/>
                    <a:pt x="137" y="331"/>
                    <a:pt x="130" y="323"/>
                  </a:cubicBezTo>
                  <a:cubicBezTo>
                    <a:pt x="231" y="148"/>
                    <a:pt x="231" y="148"/>
                    <a:pt x="231" y="148"/>
                  </a:cubicBezTo>
                  <a:cubicBezTo>
                    <a:pt x="236" y="149"/>
                    <a:pt x="242" y="150"/>
                    <a:pt x="247" y="150"/>
                  </a:cubicBezTo>
                  <a:cubicBezTo>
                    <a:pt x="253" y="150"/>
                    <a:pt x="258" y="149"/>
                    <a:pt x="264" y="148"/>
                  </a:cubicBezTo>
                  <a:cubicBezTo>
                    <a:pt x="365" y="323"/>
                    <a:pt x="365" y="323"/>
                    <a:pt x="365" y="323"/>
                  </a:cubicBezTo>
                  <a:cubicBezTo>
                    <a:pt x="358" y="331"/>
                    <a:pt x="352" y="341"/>
                    <a:pt x="349" y="351"/>
                  </a:cubicBez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"/>
              </a:endParaRPr>
            </a:p>
          </p:txBody>
        </p:sp>
      </p:grpSp>
      <p:grpSp>
        <p:nvGrpSpPr>
          <p:cNvPr id="87" name="Group 86"/>
          <p:cNvGrpSpPr/>
          <p:nvPr/>
        </p:nvGrpSpPr>
        <p:grpSpPr>
          <a:xfrm>
            <a:off x="3908540" y="4621765"/>
            <a:ext cx="239418" cy="233531"/>
            <a:chOff x="810381" y="2904842"/>
            <a:chExt cx="239418" cy="233531"/>
          </a:xfrm>
        </p:grpSpPr>
        <p:sp>
          <p:nvSpPr>
            <p:cNvPr id="88" name="Rounded Rectangle 87"/>
            <p:cNvSpPr/>
            <p:nvPr/>
          </p:nvSpPr>
          <p:spPr>
            <a:xfrm>
              <a:off x="810381" y="2904842"/>
              <a:ext cx="239418" cy="233531"/>
            </a:xfrm>
            <a:prstGeom prst="roundRect">
              <a:avLst/>
            </a:prstGeom>
            <a:solidFill>
              <a:srgbClr val="4F81BD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"/>
                <a:cs typeface=""/>
              </a:endParaRPr>
            </a:p>
          </p:txBody>
        </p:sp>
        <p:sp>
          <p:nvSpPr>
            <p:cNvPr id="89" name="Freeform 12"/>
            <p:cNvSpPr>
              <a:spLocks noEditPoints="1"/>
            </p:cNvSpPr>
            <p:nvPr/>
          </p:nvSpPr>
          <p:spPr bwMode="auto">
            <a:xfrm>
              <a:off x="837998" y="2941520"/>
              <a:ext cx="167023" cy="143584"/>
            </a:xfrm>
            <a:custGeom>
              <a:avLst/>
              <a:gdLst>
                <a:gd name="T0" fmla="*/ 419 w 494"/>
                <a:gd name="T1" fmla="*/ 299 h 448"/>
                <a:gd name="T2" fmla="*/ 403 w 494"/>
                <a:gd name="T3" fmla="*/ 301 h 448"/>
                <a:gd name="T4" fmla="*/ 302 w 494"/>
                <a:gd name="T5" fmla="*/ 126 h 448"/>
                <a:gd name="T6" fmla="*/ 322 w 494"/>
                <a:gd name="T7" fmla="*/ 75 h 448"/>
                <a:gd name="T8" fmla="*/ 247 w 494"/>
                <a:gd name="T9" fmla="*/ 0 h 448"/>
                <a:gd name="T10" fmla="*/ 173 w 494"/>
                <a:gd name="T11" fmla="*/ 75 h 448"/>
                <a:gd name="T12" fmla="*/ 193 w 494"/>
                <a:gd name="T13" fmla="*/ 126 h 448"/>
                <a:gd name="T14" fmla="*/ 91 w 494"/>
                <a:gd name="T15" fmla="*/ 301 h 448"/>
                <a:gd name="T16" fmla="*/ 75 w 494"/>
                <a:gd name="T17" fmla="*/ 299 h 448"/>
                <a:gd name="T18" fmla="*/ 0 w 494"/>
                <a:gd name="T19" fmla="*/ 373 h 448"/>
                <a:gd name="T20" fmla="*/ 75 w 494"/>
                <a:gd name="T21" fmla="*/ 448 h 448"/>
                <a:gd name="T22" fmla="*/ 146 w 494"/>
                <a:gd name="T23" fmla="*/ 395 h 448"/>
                <a:gd name="T24" fmla="*/ 349 w 494"/>
                <a:gd name="T25" fmla="*/ 395 h 448"/>
                <a:gd name="T26" fmla="*/ 419 w 494"/>
                <a:gd name="T27" fmla="*/ 448 h 448"/>
                <a:gd name="T28" fmla="*/ 494 w 494"/>
                <a:gd name="T29" fmla="*/ 373 h 448"/>
                <a:gd name="T30" fmla="*/ 419 w 494"/>
                <a:gd name="T31" fmla="*/ 299 h 448"/>
                <a:gd name="T32" fmla="*/ 349 w 494"/>
                <a:gd name="T33" fmla="*/ 351 h 448"/>
                <a:gd name="T34" fmla="*/ 146 w 494"/>
                <a:gd name="T35" fmla="*/ 351 h 448"/>
                <a:gd name="T36" fmla="*/ 130 w 494"/>
                <a:gd name="T37" fmla="*/ 323 h 448"/>
                <a:gd name="T38" fmla="*/ 231 w 494"/>
                <a:gd name="T39" fmla="*/ 148 h 448"/>
                <a:gd name="T40" fmla="*/ 247 w 494"/>
                <a:gd name="T41" fmla="*/ 150 h 448"/>
                <a:gd name="T42" fmla="*/ 264 w 494"/>
                <a:gd name="T43" fmla="*/ 148 h 448"/>
                <a:gd name="T44" fmla="*/ 365 w 494"/>
                <a:gd name="T45" fmla="*/ 323 h 448"/>
                <a:gd name="T46" fmla="*/ 349 w 494"/>
                <a:gd name="T47" fmla="*/ 351 h 4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494" h="448">
                  <a:moveTo>
                    <a:pt x="419" y="299"/>
                  </a:moveTo>
                  <a:cubicBezTo>
                    <a:pt x="414" y="299"/>
                    <a:pt x="408" y="300"/>
                    <a:pt x="403" y="301"/>
                  </a:cubicBezTo>
                  <a:cubicBezTo>
                    <a:pt x="302" y="126"/>
                    <a:pt x="302" y="126"/>
                    <a:pt x="302" y="126"/>
                  </a:cubicBezTo>
                  <a:cubicBezTo>
                    <a:pt x="314" y="112"/>
                    <a:pt x="322" y="95"/>
                    <a:pt x="322" y="75"/>
                  </a:cubicBezTo>
                  <a:cubicBezTo>
                    <a:pt x="322" y="34"/>
                    <a:pt x="288" y="0"/>
                    <a:pt x="247" y="0"/>
                  </a:cubicBezTo>
                  <a:cubicBezTo>
                    <a:pt x="206" y="0"/>
                    <a:pt x="173" y="34"/>
                    <a:pt x="173" y="75"/>
                  </a:cubicBezTo>
                  <a:cubicBezTo>
                    <a:pt x="173" y="95"/>
                    <a:pt x="180" y="112"/>
                    <a:pt x="193" y="126"/>
                  </a:cubicBezTo>
                  <a:cubicBezTo>
                    <a:pt x="91" y="301"/>
                    <a:pt x="91" y="301"/>
                    <a:pt x="91" y="301"/>
                  </a:cubicBezTo>
                  <a:cubicBezTo>
                    <a:pt x="86" y="300"/>
                    <a:pt x="81" y="299"/>
                    <a:pt x="75" y="299"/>
                  </a:cubicBezTo>
                  <a:cubicBezTo>
                    <a:pt x="34" y="299"/>
                    <a:pt x="0" y="332"/>
                    <a:pt x="0" y="373"/>
                  </a:cubicBezTo>
                  <a:cubicBezTo>
                    <a:pt x="0" y="415"/>
                    <a:pt x="34" y="448"/>
                    <a:pt x="75" y="448"/>
                  </a:cubicBezTo>
                  <a:cubicBezTo>
                    <a:pt x="108" y="448"/>
                    <a:pt x="136" y="426"/>
                    <a:pt x="146" y="395"/>
                  </a:cubicBezTo>
                  <a:cubicBezTo>
                    <a:pt x="349" y="395"/>
                    <a:pt x="349" y="395"/>
                    <a:pt x="349" y="395"/>
                  </a:cubicBezTo>
                  <a:cubicBezTo>
                    <a:pt x="358" y="426"/>
                    <a:pt x="386" y="448"/>
                    <a:pt x="419" y="448"/>
                  </a:cubicBezTo>
                  <a:cubicBezTo>
                    <a:pt x="461" y="448"/>
                    <a:pt x="494" y="415"/>
                    <a:pt x="494" y="373"/>
                  </a:cubicBezTo>
                  <a:cubicBezTo>
                    <a:pt x="494" y="332"/>
                    <a:pt x="461" y="299"/>
                    <a:pt x="419" y="299"/>
                  </a:cubicBezTo>
                  <a:close/>
                  <a:moveTo>
                    <a:pt x="349" y="351"/>
                  </a:moveTo>
                  <a:cubicBezTo>
                    <a:pt x="146" y="351"/>
                    <a:pt x="146" y="351"/>
                    <a:pt x="146" y="351"/>
                  </a:cubicBezTo>
                  <a:cubicBezTo>
                    <a:pt x="142" y="341"/>
                    <a:pt x="137" y="331"/>
                    <a:pt x="130" y="323"/>
                  </a:cubicBezTo>
                  <a:cubicBezTo>
                    <a:pt x="231" y="148"/>
                    <a:pt x="231" y="148"/>
                    <a:pt x="231" y="148"/>
                  </a:cubicBezTo>
                  <a:cubicBezTo>
                    <a:pt x="236" y="149"/>
                    <a:pt x="242" y="150"/>
                    <a:pt x="247" y="150"/>
                  </a:cubicBezTo>
                  <a:cubicBezTo>
                    <a:pt x="253" y="150"/>
                    <a:pt x="258" y="149"/>
                    <a:pt x="264" y="148"/>
                  </a:cubicBezTo>
                  <a:cubicBezTo>
                    <a:pt x="365" y="323"/>
                    <a:pt x="365" y="323"/>
                    <a:pt x="365" y="323"/>
                  </a:cubicBezTo>
                  <a:cubicBezTo>
                    <a:pt x="358" y="331"/>
                    <a:pt x="352" y="341"/>
                    <a:pt x="349" y="351"/>
                  </a:cubicBez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"/>
              </a:endParaRPr>
            </a:p>
          </p:txBody>
        </p:sp>
      </p:grpSp>
      <p:grpSp>
        <p:nvGrpSpPr>
          <p:cNvPr id="90" name="Group 89"/>
          <p:cNvGrpSpPr/>
          <p:nvPr/>
        </p:nvGrpSpPr>
        <p:grpSpPr>
          <a:xfrm>
            <a:off x="5510933" y="4627367"/>
            <a:ext cx="239417" cy="222324"/>
            <a:chOff x="810381" y="3309181"/>
            <a:chExt cx="239417" cy="222324"/>
          </a:xfrm>
        </p:grpSpPr>
        <p:sp>
          <p:nvSpPr>
            <p:cNvPr id="91" name="Rounded Rectangle 90"/>
            <p:cNvSpPr/>
            <p:nvPr/>
          </p:nvSpPr>
          <p:spPr>
            <a:xfrm>
              <a:off x="810381" y="3309181"/>
              <a:ext cx="239417" cy="222324"/>
            </a:xfrm>
            <a:prstGeom prst="roundRect">
              <a:avLst/>
            </a:prstGeom>
            <a:solidFill>
              <a:srgbClr val="948A5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2" name="Freeform 12"/>
            <p:cNvSpPr>
              <a:spLocks noEditPoints="1"/>
            </p:cNvSpPr>
            <p:nvPr/>
          </p:nvSpPr>
          <p:spPr bwMode="auto">
            <a:xfrm>
              <a:off x="853059" y="3351995"/>
              <a:ext cx="167023" cy="136694"/>
            </a:xfrm>
            <a:custGeom>
              <a:avLst/>
              <a:gdLst>
                <a:gd name="T0" fmla="*/ 419 w 494"/>
                <a:gd name="T1" fmla="*/ 299 h 448"/>
                <a:gd name="T2" fmla="*/ 403 w 494"/>
                <a:gd name="T3" fmla="*/ 301 h 448"/>
                <a:gd name="T4" fmla="*/ 302 w 494"/>
                <a:gd name="T5" fmla="*/ 126 h 448"/>
                <a:gd name="T6" fmla="*/ 322 w 494"/>
                <a:gd name="T7" fmla="*/ 75 h 448"/>
                <a:gd name="T8" fmla="*/ 247 w 494"/>
                <a:gd name="T9" fmla="*/ 0 h 448"/>
                <a:gd name="T10" fmla="*/ 173 w 494"/>
                <a:gd name="T11" fmla="*/ 75 h 448"/>
                <a:gd name="T12" fmla="*/ 193 w 494"/>
                <a:gd name="T13" fmla="*/ 126 h 448"/>
                <a:gd name="T14" fmla="*/ 91 w 494"/>
                <a:gd name="T15" fmla="*/ 301 h 448"/>
                <a:gd name="T16" fmla="*/ 75 w 494"/>
                <a:gd name="T17" fmla="*/ 299 h 448"/>
                <a:gd name="T18" fmla="*/ 0 w 494"/>
                <a:gd name="T19" fmla="*/ 373 h 448"/>
                <a:gd name="T20" fmla="*/ 75 w 494"/>
                <a:gd name="T21" fmla="*/ 448 h 448"/>
                <a:gd name="T22" fmla="*/ 146 w 494"/>
                <a:gd name="T23" fmla="*/ 395 h 448"/>
                <a:gd name="T24" fmla="*/ 349 w 494"/>
                <a:gd name="T25" fmla="*/ 395 h 448"/>
                <a:gd name="T26" fmla="*/ 419 w 494"/>
                <a:gd name="T27" fmla="*/ 448 h 448"/>
                <a:gd name="T28" fmla="*/ 494 w 494"/>
                <a:gd name="T29" fmla="*/ 373 h 448"/>
                <a:gd name="T30" fmla="*/ 419 w 494"/>
                <a:gd name="T31" fmla="*/ 299 h 448"/>
                <a:gd name="T32" fmla="*/ 349 w 494"/>
                <a:gd name="T33" fmla="*/ 351 h 448"/>
                <a:gd name="T34" fmla="*/ 146 w 494"/>
                <a:gd name="T35" fmla="*/ 351 h 448"/>
                <a:gd name="T36" fmla="*/ 130 w 494"/>
                <a:gd name="T37" fmla="*/ 323 h 448"/>
                <a:gd name="T38" fmla="*/ 231 w 494"/>
                <a:gd name="T39" fmla="*/ 148 h 448"/>
                <a:gd name="T40" fmla="*/ 247 w 494"/>
                <a:gd name="T41" fmla="*/ 150 h 448"/>
                <a:gd name="T42" fmla="*/ 264 w 494"/>
                <a:gd name="T43" fmla="*/ 148 h 448"/>
                <a:gd name="T44" fmla="*/ 365 w 494"/>
                <a:gd name="T45" fmla="*/ 323 h 448"/>
                <a:gd name="T46" fmla="*/ 349 w 494"/>
                <a:gd name="T47" fmla="*/ 351 h 4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494" h="448">
                  <a:moveTo>
                    <a:pt x="419" y="299"/>
                  </a:moveTo>
                  <a:cubicBezTo>
                    <a:pt x="414" y="299"/>
                    <a:pt x="408" y="300"/>
                    <a:pt x="403" y="301"/>
                  </a:cubicBezTo>
                  <a:cubicBezTo>
                    <a:pt x="302" y="126"/>
                    <a:pt x="302" y="126"/>
                    <a:pt x="302" y="126"/>
                  </a:cubicBezTo>
                  <a:cubicBezTo>
                    <a:pt x="314" y="112"/>
                    <a:pt x="322" y="95"/>
                    <a:pt x="322" y="75"/>
                  </a:cubicBezTo>
                  <a:cubicBezTo>
                    <a:pt x="322" y="34"/>
                    <a:pt x="288" y="0"/>
                    <a:pt x="247" y="0"/>
                  </a:cubicBezTo>
                  <a:cubicBezTo>
                    <a:pt x="206" y="0"/>
                    <a:pt x="173" y="34"/>
                    <a:pt x="173" y="75"/>
                  </a:cubicBezTo>
                  <a:cubicBezTo>
                    <a:pt x="173" y="95"/>
                    <a:pt x="180" y="112"/>
                    <a:pt x="193" y="126"/>
                  </a:cubicBezTo>
                  <a:cubicBezTo>
                    <a:pt x="91" y="301"/>
                    <a:pt x="91" y="301"/>
                    <a:pt x="91" y="301"/>
                  </a:cubicBezTo>
                  <a:cubicBezTo>
                    <a:pt x="86" y="300"/>
                    <a:pt x="81" y="299"/>
                    <a:pt x="75" y="299"/>
                  </a:cubicBezTo>
                  <a:cubicBezTo>
                    <a:pt x="34" y="299"/>
                    <a:pt x="0" y="332"/>
                    <a:pt x="0" y="373"/>
                  </a:cubicBezTo>
                  <a:cubicBezTo>
                    <a:pt x="0" y="415"/>
                    <a:pt x="34" y="448"/>
                    <a:pt x="75" y="448"/>
                  </a:cubicBezTo>
                  <a:cubicBezTo>
                    <a:pt x="108" y="448"/>
                    <a:pt x="136" y="426"/>
                    <a:pt x="146" y="395"/>
                  </a:cubicBezTo>
                  <a:cubicBezTo>
                    <a:pt x="349" y="395"/>
                    <a:pt x="349" y="395"/>
                    <a:pt x="349" y="395"/>
                  </a:cubicBezTo>
                  <a:cubicBezTo>
                    <a:pt x="358" y="426"/>
                    <a:pt x="386" y="448"/>
                    <a:pt x="419" y="448"/>
                  </a:cubicBezTo>
                  <a:cubicBezTo>
                    <a:pt x="461" y="448"/>
                    <a:pt x="494" y="415"/>
                    <a:pt x="494" y="373"/>
                  </a:cubicBezTo>
                  <a:cubicBezTo>
                    <a:pt x="494" y="332"/>
                    <a:pt x="461" y="299"/>
                    <a:pt x="419" y="299"/>
                  </a:cubicBezTo>
                  <a:close/>
                  <a:moveTo>
                    <a:pt x="349" y="351"/>
                  </a:moveTo>
                  <a:cubicBezTo>
                    <a:pt x="146" y="351"/>
                    <a:pt x="146" y="351"/>
                    <a:pt x="146" y="351"/>
                  </a:cubicBezTo>
                  <a:cubicBezTo>
                    <a:pt x="142" y="341"/>
                    <a:pt x="137" y="331"/>
                    <a:pt x="130" y="323"/>
                  </a:cubicBezTo>
                  <a:cubicBezTo>
                    <a:pt x="231" y="148"/>
                    <a:pt x="231" y="148"/>
                    <a:pt x="231" y="148"/>
                  </a:cubicBezTo>
                  <a:cubicBezTo>
                    <a:pt x="236" y="149"/>
                    <a:pt x="242" y="150"/>
                    <a:pt x="247" y="150"/>
                  </a:cubicBezTo>
                  <a:cubicBezTo>
                    <a:pt x="253" y="150"/>
                    <a:pt x="258" y="149"/>
                    <a:pt x="264" y="148"/>
                  </a:cubicBezTo>
                  <a:cubicBezTo>
                    <a:pt x="365" y="323"/>
                    <a:pt x="365" y="323"/>
                    <a:pt x="365" y="323"/>
                  </a:cubicBezTo>
                  <a:cubicBezTo>
                    <a:pt x="358" y="331"/>
                    <a:pt x="352" y="341"/>
                    <a:pt x="349" y="351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200" dirty="0"/>
            </a:p>
          </p:txBody>
        </p:sp>
      </p:grpSp>
      <p:grpSp>
        <p:nvGrpSpPr>
          <p:cNvPr id="93" name="Group 92"/>
          <p:cNvGrpSpPr/>
          <p:nvPr/>
        </p:nvGrpSpPr>
        <p:grpSpPr>
          <a:xfrm>
            <a:off x="5776552" y="4627367"/>
            <a:ext cx="239417" cy="222324"/>
            <a:chOff x="810381" y="3309181"/>
            <a:chExt cx="239417" cy="222324"/>
          </a:xfrm>
        </p:grpSpPr>
        <p:sp>
          <p:nvSpPr>
            <p:cNvPr id="94" name="Rounded Rectangle 93"/>
            <p:cNvSpPr/>
            <p:nvPr/>
          </p:nvSpPr>
          <p:spPr>
            <a:xfrm>
              <a:off x="810381" y="3309181"/>
              <a:ext cx="239417" cy="222324"/>
            </a:xfrm>
            <a:prstGeom prst="roundRect">
              <a:avLst/>
            </a:prstGeom>
            <a:solidFill>
              <a:srgbClr val="948A5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5" name="Freeform 12"/>
            <p:cNvSpPr>
              <a:spLocks noEditPoints="1"/>
            </p:cNvSpPr>
            <p:nvPr/>
          </p:nvSpPr>
          <p:spPr bwMode="auto">
            <a:xfrm>
              <a:off x="853059" y="3351995"/>
              <a:ext cx="167023" cy="136694"/>
            </a:xfrm>
            <a:custGeom>
              <a:avLst/>
              <a:gdLst>
                <a:gd name="T0" fmla="*/ 419 w 494"/>
                <a:gd name="T1" fmla="*/ 299 h 448"/>
                <a:gd name="T2" fmla="*/ 403 w 494"/>
                <a:gd name="T3" fmla="*/ 301 h 448"/>
                <a:gd name="T4" fmla="*/ 302 w 494"/>
                <a:gd name="T5" fmla="*/ 126 h 448"/>
                <a:gd name="T6" fmla="*/ 322 w 494"/>
                <a:gd name="T7" fmla="*/ 75 h 448"/>
                <a:gd name="T8" fmla="*/ 247 w 494"/>
                <a:gd name="T9" fmla="*/ 0 h 448"/>
                <a:gd name="T10" fmla="*/ 173 w 494"/>
                <a:gd name="T11" fmla="*/ 75 h 448"/>
                <a:gd name="T12" fmla="*/ 193 w 494"/>
                <a:gd name="T13" fmla="*/ 126 h 448"/>
                <a:gd name="T14" fmla="*/ 91 w 494"/>
                <a:gd name="T15" fmla="*/ 301 h 448"/>
                <a:gd name="T16" fmla="*/ 75 w 494"/>
                <a:gd name="T17" fmla="*/ 299 h 448"/>
                <a:gd name="T18" fmla="*/ 0 w 494"/>
                <a:gd name="T19" fmla="*/ 373 h 448"/>
                <a:gd name="T20" fmla="*/ 75 w 494"/>
                <a:gd name="T21" fmla="*/ 448 h 448"/>
                <a:gd name="T22" fmla="*/ 146 w 494"/>
                <a:gd name="T23" fmla="*/ 395 h 448"/>
                <a:gd name="T24" fmla="*/ 349 w 494"/>
                <a:gd name="T25" fmla="*/ 395 h 448"/>
                <a:gd name="T26" fmla="*/ 419 w 494"/>
                <a:gd name="T27" fmla="*/ 448 h 448"/>
                <a:gd name="T28" fmla="*/ 494 w 494"/>
                <a:gd name="T29" fmla="*/ 373 h 448"/>
                <a:gd name="T30" fmla="*/ 419 w 494"/>
                <a:gd name="T31" fmla="*/ 299 h 448"/>
                <a:gd name="T32" fmla="*/ 349 w 494"/>
                <a:gd name="T33" fmla="*/ 351 h 448"/>
                <a:gd name="T34" fmla="*/ 146 w 494"/>
                <a:gd name="T35" fmla="*/ 351 h 448"/>
                <a:gd name="T36" fmla="*/ 130 w 494"/>
                <a:gd name="T37" fmla="*/ 323 h 448"/>
                <a:gd name="T38" fmla="*/ 231 w 494"/>
                <a:gd name="T39" fmla="*/ 148 h 448"/>
                <a:gd name="T40" fmla="*/ 247 w 494"/>
                <a:gd name="T41" fmla="*/ 150 h 448"/>
                <a:gd name="T42" fmla="*/ 264 w 494"/>
                <a:gd name="T43" fmla="*/ 148 h 448"/>
                <a:gd name="T44" fmla="*/ 365 w 494"/>
                <a:gd name="T45" fmla="*/ 323 h 448"/>
                <a:gd name="T46" fmla="*/ 349 w 494"/>
                <a:gd name="T47" fmla="*/ 351 h 4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494" h="448">
                  <a:moveTo>
                    <a:pt x="419" y="299"/>
                  </a:moveTo>
                  <a:cubicBezTo>
                    <a:pt x="414" y="299"/>
                    <a:pt x="408" y="300"/>
                    <a:pt x="403" y="301"/>
                  </a:cubicBezTo>
                  <a:cubicBezTo>
                    <a:pt x="302" y="126"/>
                    <a:pt x="302" y="126"/>
                    <a:pt x="302" y="126"/>
                  </a:cubicBezTo>
                  <a:cubicBezTo>
                    <a:pt x="314" y="112"/>
                    <a:pt x="322" y="95"/>
                    <a:pt x="322" y="75"/>
                  </a:cubicBezTo>
                  <a:cubicBezTo>
                    <a:pt x="322" y="34"/>
                    <a:pt x="288" y="0"/>
                    <a:pt x="247" y="0"/>
                  </a:cubicBezTo>
                  <a:cubicBezTo>
                    <a:pt x="206" y="0"/>
                    <a:pt x="173" y="34"/>
                    <a:pt x="173" y="75"/>
                  </a:cubicBezTo>
                  <a:cubicBezTo>
                    <a:pt x="173" y="95"/>
                    <a:pt x="180" y="112"/>
                    <a:pt x="193" y="126"/>
                  </a:cubicBezTo>
                  <a:cubicBezTo>
                    <a:pt x="91" y="301"/>
                    <a:pt x="91" y="301"/>
                    <a:pt x="91" y="301"/>
                  </a:cubicBezTo>
                  <a:cubicBezTo>
                    <a:pt x="86" y="300"/>
                    <a:pt x="81" y="299"/>
                    <a:pt x="75" y="299"/>
                  </a:cubicBezTo>
                  <a:cubicBezTo>
                    <a:pt x="34" y="299"/>
                    <a:pt x="0" y="332"/>
                    <a:pt x="0" y="373"/>
                  </a:cubicBezTo>
                  <a:cubicBezTo>
                    <a:pt x="0" y="415"/>
                    <a:pt x="34" y="448"/>
                    <a:pt x="75" y="448"/>
                  </a:cubicBezTo>
                  <a:cubicBezTo>
                    <a:pt x="108" y="448"/>
                    <a:pt x="136" y="426"/>
                    <a:pt x="146" y="395"/>
                  </a:cubicBezTo>
                  <a:cubicBezTo>
                    <a:pt x="349" y="395"/>
                    <a:pt x="349" y="395"/>
                    <a:pt x="349" y="395"/>
                  </a:cubicBezTo>
                  <a:cubicBezTo>
                    <a:pt x="358" y="426"/>
                    <a:pt x="386" y="448"/>
                    <a:pt x="419" y="448"/>
                  </a:cubicBezTo>
                  <a:cubicBezTo>
                    <a:pt x="461" y="448"/>
                    <a:pt x="494" y="415"/>
                    <a:pt x="494" y="373"/>
                  </a:cubicBezTo>
                  <a:cubicBezTo>
                    <a:pt x="494" y="332"/>
                    <a:pt x="461" y="299"/>
                    <a:pt x="419" y="299"/>
                  </a:cubicBezTo>
                  <a:close/>
                  <a:moveTo>
                    <a:pt x="349" y="351"/>
                  </a:moveTo>
                  <a:cubicBezTo>
                    <a:pt x="146" y="351"/>
                    <a:pt x="146" y="351"/>
                    <a:pt x="146" y="351"/>
                  </a:cubicBezTo>
                  <a:cubicBezTo>
                    <a:pt x="142" y="341"/>
                    <a:pt x="137" y="331"/>
                    <a:pt x="130" y="323"/>
                  </a:cubicBezTo>
                  <a:cubicBezTo>
                    <a:pt x="231" y="148"/>
                    <a:pt x="231" y="148"/>
                    <a:pt x="231" y="148"/>
                  </a:cubicBezTo>
                  <a:cubicBezTo>
                    <a:pt x="236" y="149"/>
                    <a:pt x="242" y="150"/>
                    <a:pt x="247" y="150"/>
                  </a:cubicBezTo>
                  <a:cubicBezTo>
                    <a:pt x="253" y="150"/>
                    <a:pt x="258" y="149"/>
                    <a:pt x="264" y="148"/>
                  </a:cubicBezTo>
                  <a:cubicBezTo>
                    <a:pt x="365" y="323"/>
                    <a:pt x="365" y="323"/>
                    <a:pt x="365" y="323"/>
                  </a:cubicBezTo>
                  <a:cubicBezTo>
                    <a:pt x="358" y="331"/>
                    <a:pt x="352" y="341"/>
                    <a:pt x="349" y="351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200" dirty="0"/>
            </a:p>
          </p:txBody>
        </p:sp>
      </p:grpSp>
      <p:sp>
        <p:nvSpPr>
          <p:cNvPr id="56" name="Rounded Rectangle 55"/>
          <p:cNvSpPr/>
          <p:nvPr/>
        </p:nvSpPr>
        <p:spPr bwMode="auto">
          <a:xfrm>
            <a:off x="7675419" y="2585570"/>
            <a:ext cx="251996" cy="210207"/>
          </a:xfrm>
          <a:prstGeom prst="roundRect">
            <a:avLst/>
          </a:prstGeom>
          <a:noFill/>
          <a:ln>
            <a:solidFill>
              <a:schemeClr val="tx2"/>
            </a:solidFill>
            <a:prstDash val="dash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700">
              <a:solidFill>
                <a:schemeClr val="tx2"/>
              </a:solidFill>
              <a:latin typeface="Franklin Gothic Book" charset="0"/>
              <a:ea typeface="Franklin Gothic Book" charset="0"/>
              <a:cs typeface="Franklin Gothic Book" charset="0"/>
            </a:endParaRPr>
          </a:p>
        </p:txBody>
      </p:sp>
      <p:sp>
        <p:nvSpPr>
          <p:cNvPr id="96" name="TextBox 95"/>
          <p:cNvSpPr txBox="1"/>
          <p:nvPr/>
        </p:nvSpPr>
        <p:spPr>
          <a:xfrm>
            <a:off x="7925701" y="2595722"/>
            <a:ext cx="808234" cy="2000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700" b="0" dirty="0" smtClean="0">
                <a:latin typeface="Lato" charset="0"/>
                <a:ea typeface="Lato" charset="0"/>
                <a:cs typeface="Lato" charset="0"/>
              </a:rPr>
              <a:t>Virtual Machine</a:t>
            </a:r>
            <a:endParaRPr lang="en-US" sz="700" b="0" dirty="0">
              <a:latin typeface="Lato" charset="0"/>
              <a:ea typeface="Lato" charset="0"/>
              <a:cs typeface="Lato" charset="0"/>
            </a:endParaRPr>
          </a:p>
        </p:txBody>
      </p:sp>
      <p:sp>
        <p:nvSpPr>
          <p:cNvPr id="98" name="TextBox 97"/>
          <p:cNvSpPr txBox="1"/>
          <p:nvPr/>
        </p:nvSpPr>
        <p:spPr>
          <a:xfrm>
            <a:off x="7942065" y="3191935"/>
            <a:ext cx="1257075" cy="2000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700" b="0" smtClean="0">
                <a:latin typeface="Lato" charset="0"/>
                <a:ea typeface="Lato" charset="0"/>
                <a:cs typeface="Lato" charset="0"/>
              </a:rPr>
              <a:t>Bounded Context Web API</a:t>
            </a:r>
            <a:endParaRPr lang="en-US" sz="700" b="0" dirty="0">
              <a:latin typeface="Lato" charset="0"/>
              <a:ea typeface="Lato" charset="0"/>
              <a:cs typeface="Lato" charset="0"/>
            </a:endParaRPr>
          </a:p>
        </p:txBody>
      </p:sp>
      <p:grpSp>
        <p:nvGrpSpPr>
          <p:cNvPr id="99" name="Group 98"/>
          <p:cNvGrpSpPr/>
          <p:nvPr/>
        </p:nvGrpSpPr>
        <p:grpSpPr>
          <a:xfrm>
            <a:off x="7677558" y="2903588"/>
            <a:ext cx="249857" cy="235347"/>
            <a:chOff x="796784" y="2455327"/>
            <a:chExt cx="249857" cy="235347"/>
          </a:xfrm>
        </p:grpSpPr>
        <p:sp>
          <p:nvSpPr>
            <p:cNvPr id="100" name="Rounded Rectangle 99"/>
            <p:cNvSpPr/>
            <p:nvPr/>
          </p:nvSpPr>
          <p:spPr>
            <a:xfrm>
              <a:off x="796784" y="2455327"/>
              <a:ext cx="249857" cy="235347"/>
            </a:xfrm>
            <a:prstGeom prst="roundRect">
              <a:avLst/>
            </a:prstGeom>
            <a:solidFill>
              <a:srgbClr val="F79646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"/>
                <a:cs typeface=""/>
              </a:endParaRPr>
            </a:p>
          </p:txBody>
        </p:sp>
        <p:sp>
          <p:nvSpPr>
            <p:cNvPr id="101" name="Freeform 12"/>
            <p:cNvSpPr>
              <a:spLocks noEditPoints="1"/>
            </p:cNvSpPr>
            <p:nvPr/>
          </p:nvSpPr>
          <p:spPr bwMode="auto">
            <a:xfrm>
              <a:off x="828964" y="2505098"/>
              <a:ext cx="167023" cy="136694"/>
            </a:xfrm>
            <a:custGeom>
              <a:avLst/>
              <a:gdLst>
                <a:gd name="T0" fmla="*/ 419 w 494"/>
                <a:gd name="T1" fmla="*/ 299 h 448"/>
                <a:gd name="T2" fmla="*/ 403 w 494"/>
                <a:gd name="T3" fmla="*/ 301 h 448"/>
                <a:gd name="T4" fmla="*/ 302 w 494"/>
                <a:gd name="T5" fmla="*/ 126 h 448"/>
                <a:gd name="T6" fmla="*/ 322 w 494"/>
                <a:gd name="T7" fmla="*/ 75 h 448"/>
                <a:gd name="T8" fmla="*/ 247 w 494"/>
                <a:gd name="T9" fmla="*/ 0 h 448"/>
                <a:gd name="T10" fmla="*/ 173 w 494"/>
                <a:gd name="T11" fmla="*/ 75 h 448"/>
                <a:gd name="T12" fmla="*/ 193 w 494"/>
                <a:gd name="T13" fmla="*/ 126 h 448"/>
                <a:gd name="T14" fmla="*/ 91 w 494"/>
                <a:gd name="T15" fmla="*/ 301 h 448"/>
                <a:gd name="T16" fmla="*/ 75 w 494"/>
                <a:gd name="T17" fmla="*/ 299 h 448"/>
                <a:gd name="T18" fmla="*/ 0 w 494"/>
                <a:gd name="T19" fmla="*/ 373 h 448"/>
                <a:gd name="T20" fmla="*/ 75 w 494"/>
                <a:gd name="T21" fmla="*/ 448 h 448"/>
                <a:gd name="T22" fmla="*/ 146 w 494"/>
                <a:gd name="T23" fmla="*/ 395 h 448"/>
                <a:gd name="T24" fmla="*/ 349 w 494"/>
                <a:gd name="T25" fmla="*/ 395 h 448"/>
                <a:gd name="T26" fmla="*/ 419 w 494"/>
                <a:gd name="T27" fmla="*/ 448 h 448"/>
                <a:gd name="T28" fmla="*/ 494 w 494"/>
                <a:gd name="T29" fmla="*/ 373 h 448"/>
                <a:gd name="T30" fmla="*/ 419 w 494"/>
                <a:gd name="T31" fmla="*/ 299 h 448"/>
                <a:gd name="T32" fmla="*/ 349 w 494"/>
                <a:gd name="T33" fmla="*/ 351 h 448"/>
                <a:gd name="T34" fmla="*/ 146 w 494"/>
                <a:gd name="T35" fmla="*/ 351 h 448"/>
                <a:gd name="T36" fmla="*/ 130 w 494"/>
                <a:gd name="T37" fmla="*/ 323 h 448"/>
                <a:gd name="T38" fmla="*/ 231 w 494"/>
                <a:gd name="T39" fmla="*/ 148 h 448"/>
                <a:gd name="T40" fmla="*/ 247 w 494"/>
                <a:gd name="T41" fmla="*/ 150 h 448"/>
                <a:gd name="T42" fmla="*/ 264 w 494"/>
                <a:gd name="T43" fmla="*/ 148 h 448"/>
                <a:gd name="T44" fmla="*/ 365 w 494"/>
                <a:gd name="T45" fmla="*/ 323 h 448"/>
                <a:gd name="T46" fmla="*/ 349 w 494"/>
                <a:gd name="T47" fmla="*/ 351 h 4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494" h="448">
                  <a:moveTo>
                    <a:pt x="419" y="299"/>
                  </a:moveTo>
                  <a:cubicBezTo>
                    <a:pt x="414" y="299"/>
                    <a:pt x="408" y="300"/>
                    <a:pt x="403" y="301"/>
                  </a:cubicBezTo>
                  <a:cubicBezTo>
                    <a:pt x="302" y="126"/>
                    <a:pt x="302" y="126"/>
                    <a:pt x="302" y="126"/>
                  </a:cubicBezTo>
                  <a:cubicBezTo>
                    <a:pt x="314" y="112"/>
                    <a:pt x="322" y="95"/>
                    <a:pt x="322" y="75"/>
                  </a:cubicBezTo>
                  <a:cubicBezTo>
                    <a:pt x="322" y="34"/>
                    <a:pt x="288" y="0"/>
                    <a:pt x="247" y="0"/>
                  </a:cubicBezTo>
                  <a:cubicBezTo>
                    <a:pt x="206" y="0"/>
                    <a:pt x="173" y="34"/>
                    <a:pt x="173" y="75"/>
                  </a:cubicBezTo>
                  <a:cubicBezTo>
                    <a:pt x="173" y="95"/>
                    <a:pt x="180" y="112"/>
                    <a:pt x="193" y="126"/>
                  </a:cubicBezTo>
                  <a:cubicBezTo>
                    <a:pt x="91" y="301"/>
                    <a:pt x="91" y="301"/>
                    <a:pt x="91" y="301"/>
                  </a:cubicBezTo>
                  <a:cubicBezTo>
                    <a:pt x="86" y="300"/>
                    <a:pt x="81" y="299"/>
                    <a:pt x="75" y="299"/>
                  </a:cubicBezTo>
                  <a:cubicBezTo>
                    <a:pt x="34" y="299"/>
                    <a:pt x="0" y="332"/>
                    <a:pt x="0" y="373"/>
                  </a:cubicBezTo>
                  <a:cubicBezTo>
                    <a:pt x="0" y="415"/>
                    <a:pt x="34" y="448"/>
                    <a:pt x="75" y="448"/>
                  </a:cubicBezTo>
                  <a:cubicBezTo>
                    <a:pt x="108" y="448"/>
                    <a:pt x="136" y="426"/>
                    <a:pt x="146" y="395"/>
                  </a:cubicBezTo>
                  <a:cubicBezTo>
                    <a:pt x="349" y="395"/>
                    <a:pt x="349" y="395"/>
                    <a:pt x="349" y="395"/>
                  </a:cubicBezTo>
                  <a:cubicBezTo>
                    <a:pt x="358" y="426"/>
                    <a:pt x="386" y="448"/>
                    <a:pt x="419" y="448"/>
                  </a:cubicBezTo>
                  <a:cubicBezTo>
                    <a:pt x="461" y="448"/>
                    <a:pt x="494" y="415"/>
                    <a:pt x="494" y="373"/>
                  </a:cubicBezTo>
                  <a:cubicBezTo>
                    <a:pt x="494" y="332"/>
                    <a:pt x="461" y="299"/>
                    <a:pt x="419" y="299"/>
                  </a:cubicBezTo>
                  <a:close/>
                  <a:moveTo>
                    <a:pt x="349" y="351"/>
                  </a:moveTo>
                  <a:cubicBezTo>
                    <a:pt x="146" y="351"/>
                    <a:pt x="146" y="351"/>
                    <a:pt x="146" y="351"/>
                  </a:cubicBezTo>
                  <a:cubicBezTo>
                    <a:pt x="142" y="341"/>
                    <a:pt x="137" y="331"/>
                    <a:pt x="130" y="323"/>
                  </a:cubicBezTo>
                  <a:cubicBezTo>
                    <a:pt x="231" y="148"/>
                    <a:pt x="231" y="148"/>
                    <a:pt x="231" y="148"/>
                  </a:cubicBezTo>
                  <a:cubicBezTo>
                    <a:pt x="236" y="149"/>
                    <a:pt x="242" y="150"/>
                    <a:pt x="247" y="150"/>
                  </a:cubicBezTo>
                  <a:cubicBezTo>
                    <a:pt x="253" y="150"/>
                    <a:pt x="258" y="149"/>
                    <a:pt x="264" y="148"/>
                  </a:cubicBezTo>
                  <a:cubicBezTo>
                    <a:pt x="365" y="323"/>
                    <a:pt x="365" y="323"/>
                    <a:pt x="365" y="323"/>
                  </a:cubicBezTo>
                  <a:cubicBezTo>
                    <a:pt x="358" y="331"/>
                    <a:pt x="352" y="341"/>
                    <a:pt x="349" y="351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200" dirty="0"/>
            </a:p>
          </p:txBody>
        </p:sp>
      </p:grpSp>
      <p:grpSp>
        <p:nvGrpSpPr>
          <p:cNvPr id="102" name="Group 101"/>
          <p:cNvGrpSpPr/>
          <p:nvPr/>
        </p:nvGrpSpPr>
        <p:grpSpPr>
          <a:xfrm>
            <a:off x="7688424" y="3183628"/>
            <a:ext cx="239417" cy="222324"/>
            <a:chOff x="810381" y="3309181"/>
            <a:chExt cx="239417" cy="222324"/>
          </a:xfrm>
        </p:grpSpPr>
        <p:sp>
          <p:nvSpPr>
            <p:cNvPr id="103" name="Rounded Rectangle 102"/>
            <p:cNvSpPr/>
            <p:nvPr/>
          </p:nvSpPr>
          <p:spPr>
            <a:xfrm>
              <a:off x="810381" y="3309181"/>
              <a:ext cx="239417" cy="222324"/>
            </a:xfrm>
            <a:prstGeom prst="roundRect">
              <a:avLst/>
            </a:prstGeom>
            <a:solidFill>
              <a:srgbClr val="948A5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4" name="Freeform 12"/>
            <p:cNvSpPr>
              <a:spLocks noEditPoints="1"/>
            </p:cNvSpPr>
            <p:nvPr/>
          </p:nvSpPr>
          <p:spPr bwMode="auto">
            <a:xfrm>
              <a:off x="853059" y="3351995"/>
              <a:ext cx="167023" cy="136694"/>
            </a:xfrm>
            <a:custGeom>
              <a:avLst/>
              <a:gdLst>
                <a:gd name="T0" fmla="*/ 419 w 494"/>
                <a:gd name="T1" fmla="*/ 299 h 448"/>
                <a:gd name="T2" fmla="*/ 403 w 494"/>
                <a:gd name="T3" fmla="*/ 301 h 448"/>
                <a:gd name="T4" fmla="*/ 302 w 494"/>
                <a:gd name="T5" fmla="*/ 126 h 448"/>
                <a:gd name="T6" fmla="*/ 322 w 494"/>
                <a:gd name="T7" fmla="*/ 75 h 448"/>
                <a:gd name="T8" fmla="*/ 247 w 494"/>
                <a:gd name="T9" fmla="*/ 0 h 448"/>
                <a:gd name="T10" fmla="*/ 173 w 494"/>
                <a:gd name="T11" fmla="*/ 75 h 448"/>
                <a:gd name="T12" fmla="*/ 193 w 494"/>
                <a:gd name="T13" fmla="*/ 126 h 448"/>
                <a:gd name="T14" fmla="*/ 91 w 494"/>
                <a:gd name="T15" fmla="*/ 301 h 448"/>
                <a:gd name="T16" fmla="*/ 75 w 494"/>
                <a:gd name="T17" fmla="*/ 299 h 448"/>
                <a:gd name="T18" fmla="*/ 0 w 494"/>
                <a:gd name="T19" fmla="*/ 373 h 448"/>
                <a:gd name="T20" fmla="*/ 75 w 494"/>
                <a:gd name="T21" fmla="*/ 448 h 448"/>
                <a:gd name="T22" fmla="*/ 146 w 494"/>
                <a:gd name="T23" fmla="*/ 395 h 448"/>
                <a:gd name="T24" fmla="*/ 349 w 494"/>
                <a:gd name="T25" fmla="*/ 395 h 448"/>
                <a:gd name="T26" fmla="*/ 419 w 494"/>
                <a:gd name="T27" fmla="*/ 448 h 448"/>
                <a:gd name="T28" fmla="*/ 494 w 494"/>
                <a:gd name="T29" fmla="*/ 373 h 448"/>
                <a:gd name="T30" fmla="*/ 419 w 494"/>
                <a:gd name="T31" fmla="*/ 299 h 448"/>
                <a:gd name="T32" fmla="*/ 349 w 494"/>
                <a:gd name="T33" fmla="*/ 351 h 448"/>
                <a:gd name="T34" fmla="*/ 146 w 494"/>
                <a:gd name="T35" fmla="*/ 351 h 448"/>
                <a:gd name="T36" fmla="*/ 130 w 494"/>
                <a:gd name="T37" fmla="*/ 323 h 448"/>
                <a:gd name="T38" fmla="*/ 231 w 494"/>
                <a:gd name="T39" fmla="*/ 148 h 448"/>
                <a:gd name="T40" fmla="*/ 247 w 494"/>
                <a:gd name="T41" fmla="*/ 150 h 448"/>
                <a:gd name="T42" fmla="*/ 264 w 494"/>
                <a:gd name="T43" fmla="*/ 148 h 448"/>
                <a:gd name="T44" fmla="*/ 365 w 494"/>
                <a:gd name="T45" fmla="*/ 323 h 448"/>
                <a:gd name="T46" fmla="*/ 349 w 494"/>
                <a:gd name="T47" fmla="*/ 351 h 4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494" h="448">
                  <a:moveTo>
                    <a:pt x="419" y="299"/>
                  </a:moveTo>
                  <a:cubicBezTo>
                    <a:pt x="414" y="299"/>
                    <a:pt x="408" y="300"/>
                    <a:pt x="403" y="301"/>
                  </a:cubicBezTo>
                  <a:cubicBezTo>
                    <a:pt x="302" y="126"/>
                    <a:pt x="302" y="126"/>
                    <a:pt x="302" y="126"/>
                  </a:cubicBezTo>
                  <a:cubicBezTo>
                    <a:pt x="314" y="112"/>
                    <a:pt x="322" y="95"/>
                    <a:pt x="322" y="75"/>
                  </a:cubicBezTo>
                  <a:cubicBezTo>
                    <a:pt x="322" y="34"/>
                    <a:pt x="288" y="0"/>
                    <a:pt x="247" y="0"/>
                  </a:cubicBezTo>
                  <a:cubicBezTo>
                    <a:pt x="206" y="0"/>
                    <a:pt x="173" y="34"/>
                    <a:pt x="173" y="75"/>
                  </a:cubicBezTo>
                  <a:cubicBezTo>
                    <a:pt x="173" y="95"/>
                    <a:pt x="180" y="112"/>
                    <a:pt x="193" y="126"/>
                  </a:cubicBezTo>
                  <a:cubicBezTo>
                    <a:pt x="91" y="301"/>
                    <a:pt x="91" y="301"/>
                    <a:pt x="91" y="301"/>
                  </a:cubicBezTo>
                  <a:cubicBezTo>
                    <a:pt x="86" y="300"/>
                    <a:pt x="81" y="299"/>
                    <a:pt x="75" y="299"/>
                  </a:cubicBezTo>
                  <a:cubicBezTo>
                    <a:pt x="34" y="299"/>
                    <a:pt x="0" y="332"/>
                    <a:pt x="0" y="373"/>
                  </a:cubicBezTo>
                  <a:cubicBezTo>
                    <a:pt x="0" y="415"/>
                    <a:pt x="34" y="448"/>
                    <a:pt x="75" y="448"/>
                  </a:cubicBezTo>
                  <a:cubicBezTo>
                    <a:pt x="108" y="448"/>
                    <a:pt x="136" y="426"/>
                    <a:pt x="146" y="395"/>
                  </a:cubicBezTo>
                  <a:cubicBezTo>
                    <a:pt x="349" y="395"/>
                    <a:pt x="349" y="395"/>
                    <a:pt x="349" y="395"/>
                  </a:cubicBezTo>
                  <a:cubicBezTo>
                    <a:pt x="358" y="426"/>
                    <a:pt x="386" y="448"/>
                    <a:pt x="419" y="448"/>
                  </a:cubicBezTo>
                  <a:cubicBezTo>
                    <a:pt x="461" y="448"/>
                    <a:pt x="494" y="415"/>
                    <a:pt x="494" y="373"/>
                  </a:cubicBezTo>
                  <a:cubicBezTo>
                    <a:pt x="494" y="332"/>
                    <a:pt x="461" y="299"/>
                    <a:pt x="419" y="299"/>
                  </a:cubicBezTo>
                  <a:close/>
                  <a:moveTo>
                    <a:pt x="349" y="351"/>
                  </a:moveTo>
                  <a:cubicBezTo>
                    <a:pt x="146" y="351"/>
                    <a:pt x="146" y="351"/>
                    <a:pt x="146" y="351"/>
                  </a:cubicBezTo>
                  <a:cubicBezTo>
                    <a:pt x="142" y="341"/>
                    <a:pt x="137" y="331"/>
                    <a:pt x="130" y="323"/>
                  </a:cubicBezTo>
                  <a:cubicBezTo>
                    <a:pt x="231" y="148"/>
                    <a:pt x="231" y="148"/>
                    <a:pt x="231" y="148"/>
                  </a:cubicBezTo>
                  <a:cubicBezTo>
                    <a:pt x="236" y="149"/>
                    <a:pt x="242" y="150"/>
                    <a:pt x="247" y="150"/>
                  </a:cubicBezTo>
                  <a:cubicBezTo>
                    <a:pt x="253" y="150"/>
                    <a:pt x="258" y="149"/>
                    <a:pt x="264" y="148"/>
                  </a:cubicBezTo>
                  <a:cubicBezTo>
                    <a:pt x="365" y="323"/>
                    <a:pt x="365" y="323"/>
                    <a:pt x="365" y="323"/>
                  </a:cubicBezTo>
                  <a:cubicBezTo>
                    <a:pt x="358" y="331"/>
                    <a:pt x="352" y="341"/>
                    <a:pt x="349" y="351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200" dirty="0"/>
            </a:p>
          </p:txBody>
        </p:sp>
      </p:grpSp>
      <p:grpSp>
        <p:nvGrpSpPr>
          <p:cNvPr id="105" name="Group 104"/>
          <p:cNvGrpSpPr/>
          <p:nvPr/>
        </p:nvGrpSpPr>
        <p:grpSpPr>
          <a:xfrm>
            <a:off x="7687997" y="3459282"/>
            <a:ext cx="239418" cy="233531"/>
            <a:chOff x="810381" y="2904842"/>
            <a:chExt cx="239418" cy="233531"/>
          </a:xfrm>
        </p:grpSpPr>
        <p:sp>
          <p:nvSpPr>
            <p:cNvPr id="106" name="Rounded Rectangle 105"/>
            <p:cNvSpPr/>
            <p:nvPr/>
          </p:nvSpPr>
          <p:spPr>
            <a:xfrm>
              <a:off x="810381" y="2904842"/>
              <a:ext cx="239418" cy="233531"/>
            </a:xfrm>
            <a:prstGeom prst="roundRect">
              <a:avLst/>
            </a:prstGeom>
            <a:solidFill>
              <a:srgbClr val="4F81BD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"/>
                <a:cs typeface=""/>
              </a:endParaRPr>
            </a:p>
          </p:txBody>
        </p:sp>
        <p:sp>
          <p:nvSpPr>
            <p:cNvPr id="107" name="Freeform 12"/>
            <p:cNvSpPr>
              <a:spLocks noEditPoints="1"/>
            </p:cNvSpPr>
            <p:nvPr/>
          </p:nvSpPr>
          <p:spPr bwMode="auto">
            <a:xfrm>
              <a:off x="837998" y="2941520"/>
              <a:ext cx="167023" cy="143584"/>
            </a:xfrm>
            <a:custGeom>
              <a:avLst/>
              <a:gdLst>
                <a:gd name="T0" fmla="*/ 419 w 494"/>
                <a:gd name="T1" fmla="*/ 299 h 448"/>
                <a:gd name="T2" fmla="*/ 403 w 494"/>
                <a:gd name="T3" fmla="*/ 301 h 448"/>
                <a:gd name="T4" fmla="*/ 302 w 494"/>
                <a:gd name="T5" fmla="*/ 126 h 448"/>
                <a:gd name="T6" fmla="*/ 322 w 494"/>
                <a:gd name="T7" fmla="*/ 75 h 448"/>
                <a:gd name="T8" fmla="*/ 247 w 494"/>
                <a:gd name="T9" fmla="*/ 0 h 448"/>
                <a:gd name="T10" fmla="*/ 173 w 494"/>
                <a:gd name="T11" fmla="*/ 75 h 448"/>
                <a:gd name="T12" fmla="*/ 193 w 494"/>
                <a:gd name="T13" fmla="*/ 126 h 448"/>
                <a:gd name="T14" fmla="*/ 91 w 494"/>
                <a:gd name="T15" fmla="*/ 301 h 448"/>
                <a:gd name="T16" fmla="*/ 75 w 494"/>
                <a:gd name="T17" fmla="*/ 299 h 448"/>
                <a:gd name="T18" fmla="*/ 0 w 494"/>
                <a:gd name="T19" fmla="*/ 373 h 448"/>
                <a:gd name="T20" fmla="*/ 75 w 494"/>
                <a:gd name="T21" fmla="*/ 448 h 448"/>
                <a:gd name="T22" fmla="*/ 146 w 494"/>
                <a:gd name="T23" fmla="*/ 395 h 448"/>
                <a:gd name="T24" fmla="*/ 349 w 494"/>
                <a:gd name="T25" fmla="*/ 395 h 448"/>
                <a:gd name="T26" fmla="*/ 419 w 494"/>
                <a:gd name="T27" fmla="*/ 448 h 448"/>
                <a:gd name="T28" fmla="*/ 494 w 494"/>
                <a:gd name="T29" fmla="*/ 373 h 448"/>
                <a:gd name="T30" fmla="*/ 419 w 494"/>
                <a:gd name="T31" fmla="*/ 299 h 448"/>
                <a:gd name="T32" fmla="*/ 349 w 494"/>
                <a:gd name="T33" fmla="*/ 351 h 448"/>
                <a:gd name="T34" fmla="*/ 146 w 494"/>
                <a:gd name="T35" fmla="*/ 351 h 448"/>
                <a:gd name="T36" fmla="*/ 130 w 494"/>
                <a:gd name="T37" fmla="*/ 323 h 448"/>
                <a:gd name="T38" fmla="*/ 231 w 494"/>
                <a:gd name="T39" fmla="*/ 148 h 448"/>
                <a:gd name="T40" fmla="*/ 247 w 494"/>
                <a:gd name="T41" fmla="*/ 150 h 448"/>
                <a:gd name="T42" fmla="*/ 264 w 494"/>
                <a:gd name="T43" fmla="*/ 148 h 448"/>
                <a:gd name="T44" fmla="*/ 365 w 494"/>
                <a:gd name="T45" fmla="*/ 323 h 448"/>
                <a:gd name="T46" fmla="*/ 349 w 494"/>
                <a:gd name="T47" fmla="*/ 351 h 4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494" h="448">
                  <a:moveTo>
                    <a:pt x="419" y="299"/>
                  </a:moveTo>
                  <a:cubicBezTo>
                    <a:pt x="414" y="299"/>
                    <a:pt x="408" y="300"/>
                    <a:pt x="403" y="301"/>
                  </a:cubicBezTo>
                  <a:cubicBezTo>
                    <a:pt x="302" y="126"/>
                    <a:pt x="302" y="126"/>
                    <a:pt x="302" y="126"/>
                  </a:cubicBezTo>
                  <a:cubicBezTo>
                    <a:pt x="314" y="112"/>
                    <a:pt x="322" y="95"/>
                    <a:pt x="322" y="75"/>
                  </a:cubicBezTo>
                  <a:cubicBezTo>
                    <a:pt x="322" y="34"/>
                    <a:pt x="288" y="0"/>
                    <a:pt x="247" y="0"/>
                  </a:cubicBezTo>
                  <a:cubicBezTo>
                    <a:pt x="206" y="0"/>
                    <a:pt x="173" y="34"/>
                    <a:pt x="173" y="75"/>
                  </a:cubicBezTo>
                  <a:cubicBezTo>
                    <a:pt x="173" y="95"/>
                    <a:pt x="180" y="112"/>
                    <a:pt x="193" y="126"/>
                  </a:cubicBezTo>
                  <a:cubicBezTo>
                    <a:pt x="91" y="301"/>
                    <a:pt x="91" y="301"/>
                    <a:pt x="91" y="301"/>
                  </a:cubicBezTo>
                  <a:cubicBezTo>
                    <a:pt x="86" y="300"/>
                    <a:pt x="81" y="299"/>
                    <a:pt x="75" y="299"/>
                  </a:cubicBezTo>
                  <a:cubicBezTo>
                    <a:pt x="34" y="299"/>
                    <a:pt x="0" y="332"/>
                    <a:pt x="0" y="373"/>
                  </a:cubicBezTo>
                  <a:cubicBezTo>
                    <a:pt x="0" y="415"/>
                    <a:pt x="34" y="448"/>
                    <a:pt x="75" y="448"/>
                  </a:cubicBezTo>
                  <a:cubicBezTo>
                    <a:pt x="108" y="448"/>
                    <a:pt x="136" y="426"/>
                    <a:pt x="146" y="395"/>
                  </a:cubicBezTo>
                  <a:cubicBezTo>
                    <a:pt x="349" y="395"/>
                    <a:pt x="349" y="395"/>
                    <a:pt x="349" y="395"/>
                  </a:cubicBezTo>
                  <a:cubicBezTo>
                    <a:pt x="358" y="426"/>
                    <a:pt x="386" y="448"/>
                    <a:pt x="419" y="448"/>
                  </a:cubicBezTo>
                  <a:cubicBezTo>
                    <a:pt x="461" y="448"/>
                    <a:pt x="494" y="415"/>
                    <a:pt x="494" y="373"/>
                  </a:cubicBezTo>
                  <a:cubicBezTo>
                    <a:pt x="494" y="332"/>
                    <a:pt x="461" y="299"/>
                    <a:pt x="419" y="299"/>
                  </a:cubicBezTo>
                  <a:close/>
                  <a:moveTo>
                    <a:pt x="349" y="351"/>
                  </a:moveTo>
                  <a:cubicBezTo>
                    <a:pt x="146" y="351"/>
                    <a:pt x="146" y="351"/>
                    <a:pt x="146" y="351"/>
                  </a:cubicBezTo>
                  <a:cubicBezTo>
                    <a:pt x="142" y="341"/>
                    <a:pt x="137" y="331"/>
                    <a:pt x="130" y="323"/>
                  </a:cubicBezTo>
                  <a:cubicBezTo>
                    <a:pt x="231" y="148"/>
                    <a:pt x="231" y="148"/>
                    <a:pt x="231" y="148"/>
                  </a:cubicBezTo>
                  <a:cubicBezTo>
                    <a:pt x="236" y="149"/>
                    <a:pt x="242" y="150"/>
                    <a:pt x="247" y="150"/>
                  </a:cubicBezTo>
                  <a:cubicBezTo>
                    <a:pt x="253" y="150"/>
                    <a:pt x="258" y="149"/>
                    <a:pt x="264" y="148"/>
                  </a:cubicBezTo>
                  <a:cubicBezTo>
                    <a:pt x="365" y="323"/>
                    <a:pt x="365" y="323"/>
                    <a:pt x="365" y="323"/>
                  </a:cubicBezTo>
                  <a:cubicBezTo>
                    <a:pt x="358" y="331"/>
                    <a:pt x="352" y="341"/>
                    <a:pt x="349" y="351"/>
                  </a:cubicBez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"/>
              </a:endParaRPr>
            </a:p>
          </p:txBody>
        </p:sp>
      </p:grpSp>
      <p:sp>
        <p:nvSpPr>
          <p:cNvPr id="108" name="TextBox 107"/>
          <p:cNvSpPr txBox="1"/>
          <p:nvPr/>
        </p:nvSpPr>
        <p:spPr>
          <a:xfrm>
            <a:off x="7942064" y="2920632"/>
            <a:ext cx="1257075" cy="2000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700" b="0" smtClean="0">
                <a:latin typeface="Lato" charset="0"/>
                <a:ea typeface="Lato" charset="0"/>
                <a:cs typeface="Lato" charset="0"/>
              </a:rPr>
              <a:t>Bounded Context Web API</a:t>
            </a:r>
            <a:endParaRPr lang="en-US" sz="700" b="0" dirty="0">
              <a:latin typeface="Lato" charset="0"/>
              <a:ea typeface="Lato" charset="0"/>
              <a:cs typeface="Lato" charset="0"/>
            </a:endParaRPr>
          </a:p>
        </p:txBody>
      </p:sp>
      <p:sp>
        <p:nvSpPr>
          <p:cNvPr id="109" name="TextBox 108"/>
          <p:cNvSpPr txBox="1"/>
          <p:nvPr/>
        </p:nvSpPr>
        <p:spPr>
          <a:xfrm>
            <a:off x="7942064" y="3467724"/>
            <a:ext cx="1257075" cy="2000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700" b="0" smtClean="0">
                <a:latin typeface="Lato" charset="0"/>
                <a:ea typeface="Lato" charset="0"/>
                <a:cs typeface="Lato" charset="0"/>
              </a:rPr>
              <a:t>Bounded Context Web API</a:t>
            </a:r>
            <a:endParaRPr lang="en-US" sz="700" b="0" dirty="0">
              <a:latin typeface="Lato" charset="0"/>
              <a:ea typeface="Lato" charset="0"/>
              <a:cs typeface="Lato" charset="0"/>
            </a:endParaRPr>
          </a:p>
        </p:txBody>
      </p:sp>
      <p:sp>
        <p:nvSpPr>
          <p:cNvPr id="110" name="Rounded Rectangle 109"/>
          <p:cNvSpPr/>
          <p:nvPr/>
        </p:nvSpPr>
        <p:spPr>
          <a:xfrm>
            <a:off x="7700671" y="3799172"/>
            <a:ext cx="214921" cy="184842"/>
          </a:xfrm>
          <a:prstGeom prst="roundRect">
            <a:avLst>
              <a:gd name="adj" fmla="val 6141"/>
            </a:avLst>
          </a:prstGeom>
          <a:noFill/>
          <a:ln>
            <a:solidFill>
              <a:schemeClr val="bg2">
                <a:lumMod val="8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Franklin Gothic Book" charset="0"/>
              <a:ea typeface="Franklin Gothic Book" charset="0"/>
              <a:cs typeface="Franklin Gothic Book" charset="0"/>
            </a:endParaRPr>
          </a:p>
        </p:txBody>
      </p:sp>
      <p:sp>
        <p:nvSpPr>
          <p:cNvPr id="111" name="TextBox 110"/>
          <p:cNvSpPr txBox="1"/>
          <p:nvPr/>
        </p:nvSpPr>
        <p:spPr>
          <a:xfrm>
            <a:off x="7942064" y="3783959"/>
            <a:ext cx="1406155" cy="2000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700" b="0" dirty="0" smtClean="0">
                <a:latin typeface="Lato" charset="0"/>
                <a:ea typeface="Lato" charset="0"/>
                <a:cs typeface="Lato" charset="0"/>
              </a:rPr>
              <a:t>Application Container - Docker</a:t>
            </a:r>
            <a:endParaRPr lang="en-US" sz="700" b="0" dirty="0">
              <a:latin typeface="Lato" charset="0"/>
              <a:ea typeface="Lato" charset="0"/>
              <a:cs typeface="Lato" charset="0"/>
            </a:endParaRPr>
          </a:p>
        </p:txBody>
      </p:sp>
      <p:cxnSp>
        <p:nvCxnSpPr>
          <p:cNvPr id="115" name="Straight Connector 114"/>
          <p:cNvCxnSpPr/>
          <p:nvPr/>
        </p:nvCxnSpPr>
        <p:spPr bwMode="auto">
          <a:xfrm>
            <a:off x="8057577" y="4061147"/>
            <a:ext cx="7791" cy="450349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bg2"/>
            </a:solidFill>
            <a:prstDash val="solid"/>
            <a:round/>
            <a:headEnd type="none" w="lg" len="lg"/>
            <a:tailEnd type="none" w="lg" len="lg"/>
          </a:ln>
          <a:effectLst/>
        </p:spPr>
      </p:cxnSp>
      <p:cxnSp>
        <p:nvCxnSpPr>
          <p:cNvPr id="118" name="Straight Connector 117"/>
          <p:cNvCxnSpPr/>
          <p:nvPr/>
        </p:nvCxnSpPr>
        <p:spPr bwMode="auto">
          <a:xfrm>
            <a:off x="8057671" y="4051760"/>
            <a:ext cx="163762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bg2"/>
            </a:solidFill>
            <a:prstDash val="solid"/>
            <a:round/>
            <a:headEnd type="none" w="lg" len="lg"/>
            <a:tailEnd type="none" w="lg" len="lg"/>
          </a:ln>
          <a:effectLst/>
        </p:spPr>
      </p:cxnSp>
      <p:sp>
        <p:nvSpPr>
          <p:cNvPr id="119" name="TextBox 118"/>
          <p:cNvSpPr txBox="1"/>
          <p:nvPr/>
        </p:nvSpPr>
        <p:spPr>
          <a:xfrm>
            <a:off x="8188765" y="3951732"/>
            <a:ext cx="381836" cy="2000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700" b="0" smtClean="0">
                <a:latin typeface="Lato" charset="0"/>
                <a:ea typeface="Lato" charset="0"/>
                <a:cs typeface="Lato" charset="0"/>
              </a:rPr>
              <a:t>Jetty</a:t>
            </a:r>
            <a:endParaRPr lang="en-US" sz="700" b="0" dirty="0">
              <a:latin typeface="Lato" charset="0"/>
              <a:ea typeface="Lato" charset="0"/>
              <a:cs typeface="Lato" charset="0"/>
            </a:endParaRPr>
          </a:p>
        </p:txBody>
      </p:sp>
      <p:cxnSp>
        <p:nvCxnSpPr>
          <p:cNvPr id="121" name="Straight Connector 120"/>
          <p:cNvCxnSpPr/>
          <p:nvPr/>
        </p:nvCxnSpPr>
        <p:spPr bwMode="auto">
          <a:xfrm>
            <a:off x="8053055" y="4204160"/>
            <a:ext cx="163762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bg2"/>
            </a:solidFill>
            <a:prstDash val="solid"/>
            <a:round/>
            <a:headEnd type="none" w="lg" len="lg"/>
            <a:tailEnd type="none" w="lg" len="lg"/>
          </a:ln>
          <a:effectLst/>
        </p:spPr>
      </p:cxnSp>
      <p:sp>
        <p:nvSpPr>
          <p:cNvPr id="122" name="TextBox 121"/>
          <p:cNvSpPr txBox="1"/>
          <p:nvPr/>
        </p:nvSpPr>
        <p:spPr>
          <a:xfrm>
            <a:off x="8188765" y="4104132"/>
            <a:ext cx="482825" cy="2000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700" b="0" smtClean="0">
                <a:latin typeface="Lato" charset="0"/>
                <a:ea typeface="Lato" charset="0"/>
                <a:cs typeface="Lato" charset="0"/>
              </a:rPr>
              <a:t>Tomcat</a:t>
            </a:r>
            <a:endParaRPr lang="en-US" sz="700" b="0" dirty="0">
              <a:latin typeface="Lato" charset="0"/>
              <a:ea typeface="Lato" charset="0"/>
              <a:cs typeface="Lato" charset="0"/>
            </a:endParaRPr>
          </a:p>
        </p:txBody>
      </p:sp>
      <p:cxnSp>
        <p:nvCxnSpPr>
          <p:cNvPr id="123" name="Straight Connector 122"/>
          <p:cNvCxnSpPr/>
          <p:nvPr/>
        </p:nvCxnSpPr>
        <p:spPr bwMode="auto">
          <a:xfrm>
            <a:off x="8053055" y="4367639"/>
            <a:ext cx="163762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bg2"/>
            </a:solidFill>
            <a:prstDash val="solid"/>
            <a:round/>
            <a:headEnd type="none" w="lg" len="lg"/>
            <a:tailEnd type="none" w="lg" len="lg"/>
          </a:ln>
          <a:effectLst/>
        </p:spPr>
      </p:cxnSp>
      <p:sp>
        <p:nvSpPr>
          <p:cNvPr id="124" name="TextBox 123"/>
          <p:cNvSpPr txBox="1"/>
          <p:nvPr/>
        </p:nvSpPr>
        <p:spPr>
          <a:xfrm>
            <a:off x="8205597" y="4267611"/>
            <a:ext cx="449162" cy="2000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700" b="0" dirty="0" smtClean="0">
                <a:latin typeface="Lato" charset="0"/>
                <a:ea typeface="Lato" charset="0"/>
                <a:cs typeface="Lato" charset="0"/>
              </a:rPr>
              <a:t>JBOSS</a:t>
            </a:r>
            <a:endParaRPr lang="en-US" sz="700" b="0" dirty="0">
              <a:latin typeface="Lato" charset="0"/>
              <a:ea typeface="Lato" charset="0"/>
              <a:cs typeface="Lato" charset="0"/>
            </a:endParaRPr>
          </a:p>
        </p:txBody>
      </p:sp>
      <p:cxnSp>
        <p:nvCxnSpPr>
          <p:cNvPr id="125" name="Straight Connector 124"/>
          <p:cNvCxnSpPr>
            <a:endCxn id="126" idx="1"/>
          </p:cNvCxnSpPr>
          <p:nvPr/>
        </p:nvCxnSpPr>
        <p:spPr bwMode="auto">
          <a:xfrm>
            <a:off x="8065368" y="4520882"/>
            <a:ext cx="165909" cy="856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bg2"/>
            </a:solidFill>
            <a:prstDash val="solid"/>
            <a:round/>
            <a:headEnd type="none" w="lg" len="lg"/>
            <a:tailEnd type="none" w="lg" len="lg"/>
          </a:ln>
          <a:effectLst/>
        </p:spPr>
      </p:cxnSp>
      <p:sp>
        <p:nvSpPr>
          <p:cNvPr id="126" name="TextBox 125"/>
          <p:cNvSpPr txBox="1"/>
          <p:nvPr/>
        </p:nvSpPr>
        <p:spPr>
          <a:xfrm>
            <a:off x="8231277" y="4421710"/>
            <a:ext cx="534121" cy="2000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700" b="0" smtClean="0">
                <a:latin typeface="Lato" charset="0"/>
                <a:ea typeface="Lato" charset="0"/>
                <a:cs typeface="Lato" charset="0"/>
              </a:rPr>
              <a:t>Glassfish</a:t>
            </a:r>
            <a:endParaRPr lang="en-US" sz="700" b="0" dirty="0">
              <a:latin typeface="Lato" charset="0"/>
              <a:ea typeface="Lato" charset="0"/>
              <a:cs typeface="Lato" charset="0"/>
            </a:endParaRPr>
          </a:p>
        </p:txBody>
      </p:sp>
      <p:pic>
        <p:nvPicPr>
          <p:cNvPr id="134" name="Picture 13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712531" y="4670181"/>
            <a:ext cx="214884" cy="214884"/>
          </a:xfrm>
          <a:prstGeom prst="rect">
            <a:avLst/>
          </a:prstGeom>
        </p:spPr>
      </p:pic>
      <p:sp>
        <p:nvSpPr>
          <p:cNvPr id="135" name="TextBox 134"/>
          <p:cNvSpPr txBox="1"/>
          <p:nvPr/>
        </p:nvSpPr>
        <p:spPr>
          <a:xfrm>
            <a:off x="7933680" y="4682771"/>
            <a:ext cx="1237839" cy="2000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700" b="0" dirty="0" smtClean="0">
                <a:latin typeface="Lato" charset="0"/>
                <a:ea typeface="Lato" charset="0"/>
                <a:cs typeface="Lato" charset="0"/>
              </a:rPr>
              <a:t>Service Discovery </a:t>
            </a:r>
            <a:r>
              <a:rPr lang="en-US" sz="700" b="0" smtClean="0">
                <a:latin typeface="Lato" charset="0"/>
                <a:ea typeface="Lato" charset="0"/>
                <a:cs typeface="Lato" charset="0"/>
              </a:rPr>
              <a:t>- Consul</a:t>
            </a:r>
            <a:endParaRPr lang="en-US" sz="700" b="0" dirty="0">
              <a:latin typeface="Lato" charset="0"/>
              <a:ea typeface="Lato" charset="0"/>
              <a:cs typeface="Lato" charset="0"/>
            </a:endParaRPr>
          </a:p>
        </p:txBody>
      </p:sp>
      <p:pic>
        <p:nvPicPr>
          <p:cNvPr id="136" name="Picture 13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759456" y="4972748"/>
            <a:ext cx="167959" cy="269494"/>
          </a:xfrm>
          <a:prstGeom prst="rect">
            <a:avLst/>
          </a:prstGeom>
        </p:spPr>
      </p:pic>
      <p:sp>
        <p:nvSpPr>
          <p:cNvPr id="137" name="TextBox 136"/>
          <p:cNvSpPr txBox="1"/>
          <p:nvPr/>
        </p:nvSpPr>
        <p:spPr>
          <a:xfrm>
            <a:off x="7942064" y="4973507"/>
            <a:ext cx="1361270" cy="2000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700" b="0" dirty="0" smtClean="0">
                <a:latin typeface="Lato" charset="0"/>
                <a:ea typeface="Lato" charset="0"/>
                <a:cs typeface="Lato" charset="0"/>
              </a:rPr>
              <a:t>Log Management </a:t>
            </a:r>
            <a:r>
              <a:rPr lang="mr-IN" sz="700" b="0" dirty="0" smtClean="0">
                <a:latin typeface="Lato" charset="0"/>
                <a:ea typeface="Lato" charset="0"/>
                <a:cs typeface="Lato" charset="0"/>
              </a:rPr>
              <a:t>–</a:t>
            </a:r>
            <a:r>
              <a:rPr lang="en-US" sz="700" b="0" dirty="0" smtClean="0">
                <a:latin typeface="Lato" charset="0"/>
                <a:ea typeface="Lato" charset="0"/>
                <a:cs typeface="Lato" charset="0"/>
              </a:rPr>
              <a:t> ELK Stack</a:t>
            </a:r>
            <a:endParaRPr lang="en-US" sz="700" b="0" dirty="0">
              <a:latin typeface="Lato" charset="0"/>
              <a:ea typeface="Lato" charset="0"/>
              <a:cs typeface="Lato" charset="0"/>
            </a:endParaRPr>
          </a:p>
        </p:txBody>
      </p:sp>
      <p:pic>
        <p:nvPicPr>
          <p:cNvPr id="138" name="Picture 137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712531" y="5267381"/>
            <a:ext cx="214884" cy="214884"/>
          </a:xfrm>
          <a:prstGeom prst="rect">
            <a:avLst/>
          </a:prstGeom>
        </p:spPr>
      </p:pic>
      <p:sp>
        <p:nvSpPr>
          <p:cNvPr id="139" name="TextBox 138"/>
          <p:cNvSpPr txBox="1"/>
          <p:nvPr/>
        </p:nvSpPr>
        <p:spPr>
          <a:xfrm>
            <a:off x="7902106" y="5274795"/>
            <a:ext cx="1454244" cy="2000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700" b="0" dirty="0" smtClean="0">
                <a:latin typeface="Lato" charset="0"/>
                <a:ea typeface="Lato" charset="0"/>
                <a:cs typeface="Lato" charset="0"/>
              </a:rPr>
              <a:t>Container Management - Mesos</a:t>
            </a:r>
            <a:endParaRPr lang="en-US" sz="700" b="0" dirty="0">
              <a:latin typeface="Lato" charset="0"/>
              <a:ea typeface="Lato" charset="0"/>
              <a:cs typeface="Lato" charset="0"/>
            </a:endParaRPr>
          </a:p>
        </p:txBody>
      </p:sp>
      <p:sp>
        <p:nvSpPr>
          <p:cNvPr id="141" name="TextBox 140"/>
          <p:cNvSpPr txBox="1"/>
          <p:nvPr/>
        </p:nvSpPr>
        <p:spPr>
          <a:xfrm>
            <a:off x="8228986" y="2285594"/>
            <a:ext cx="473206" cy="2000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700" b="0" dirty="0" smtClean="0">
                <a:latin typeface="Lato" charset="0"/>
                <a:ea typeface="Lato" charset="0"/>
                <a:cs typeface="Lato" charset="0"/>
              </a:rPr>
              <a:t>Legend</a:t>
            </a:r>
            <a:endParaRPr lang="en-US" sz="700" b="0" dirty="0">
              <a:latin typeface="Lato" charset="0"/>
              <a:ea typeface="Lato" charset="0"/>
              <a:cs typeface="Lato" charset="0"/>
            </a:endParaRPr>
          </a:p>
        </p:txBody>
      </p:sp>
      <p:pic>
        <p:nvPicPr>
          <p:cNvPr id="142" name="Picture 141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6548756" y="5653035"/>
            <a:ext cx="377541" cy="352390"/>
          </a:xfrm>
          <a:prstGeom prst="rect">
            <a:avLst/>
          </a:prstGeom>
        </p:spPr>
      </p:pic>
      <p:pic>
        <p:nvPicPr>
          <p:cNvPr id="143" name="Picture 142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7680838" y="5537840"/>
            <a:ext cx="246577" cy="230150"/>
          </a:xfrm>
          <a:prstGeom prst="rect">
            <a:avLst/>
          </a:prstGeom>
        </p:spPr>
      </p:pic>
      <p:sp>
        <p:nvSpPr>
          <p:cNvPr id="144" name="TextBox 143"/>
          <p:cNvSpPr txBox="1"/>
          <p:nvPr/>
        </p:nvSpPr>
        <p:spPr>
          <a:xfrm>
            <a:off x="7937810" y="5489882"/>
            <a:ext cx="121219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sz="700" b="0" dirty="0" smtClean="0">
                <a:latin typeface="Lato" charset="0"/>
                <a:ea typeface="Lato" charset="0"/>
                <a:cs typeface="Lato" charset="0"/>
              </a:rPr>
              <a:t>Container Management </a:t>
            </a:r>
            <a:r>
              <a:rPr lang="mr-IN" sz="700" b="0" dirty="0" smtClean="0">
                <a:latin typeface="Lato" charset="0"/>
                <a:ea typeface="Lato" charset="0"/>
                <a:cs typeface="Lato" charset="0"/>
              </a:rPr>
              <a:t>–</a:t>
            </a:r>
            <a:r>
              <a:rPr lang="en-US" sz="700" b="0" dirty="0" smtClean="0">
                <a:latin typeface="Lato" charset="0"/>
                <a:ea typeface="Lato" charset="0"/>
                <a:cs typeface="Lato" charset="0"/>
              </a:rPr>
              <a:t> </a:t>
            </a:r>
          </a:p>
          <a:p>
            <a:pPr algn="l"/>
            <a:r>
              <a:rPr lang="en-US" sz="700" b="0" dirty="0" smtClean="0">
                <a:latin typeface="Lato" charset="0"/>
                <a:ea typeface="Lato" charset="0"/>
                <a:cs typeface="Lato" charset="0"/>
              </a:rPr>
              <a:t>Marathon</a:t>
            </a:r>
            <a:endParaRPr lang="en-US" sz="700" b="0" dirty="0">
              <a:latin typeface="Lato" charset="0"/>
              <a:ea typeface="Lato" charset="0"/>
              <a:cs typeface="Lato" charset="0"/>
            </a:endParaRPr>
          </a:p>
        </p:txBody>
      </p:sp>
      <p:sp>
        <p:nvSpPr>
          <p:cNvPr id="146" name="TextBox 145"/>
          <p:cNvSpPr txBox="1"/>
          <p:nvPr/>
        </p:nvSpPr>
        <p:spPr>
          <a:xfrm>
            <a:off x="5432360" y="5249908"/>
            <a:ext cx="381836" cy="2000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700" b="0" dirty="0" smtClean="0">
                <a:latin typeface="Lato" charset="0"/>
                <a:ea typeface="Lato" charset="0"/>
                <a:cs typeface="Lato" charset="0"/>
              </a:rPr>
              <a:t>Jetty</a:t>
            </a:r>
            <a:endParaRPr lang="en-US" sz="700" b="0" dirty="0">
              <a:latin typeface="Lato" charset="0"/>
              <a:ea typeface="Lato" charset="0"/>
              <a:cs typeface="Lato" charset="0"/>
            </a:endParaRPr>
          </a:p>
        </p:txBody>
      </p:sp>
      <p:sp>
        <p:nvSpPr>
          <p:cNvPr id="148" name="TextBox 147"/>
          <p:cNvSpPr txBox="1"/>
          <p:nvPr/>
        </p:nvSpPr>
        <p:spPr>
          <a:xfrm>
            <a:off x="4421023" y="3838749"/>
            <a:ext cx="381836" cy="2000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700" b="0" smtClean="0">
                <a:latin typeface="Lato" charset="0"/>
                <a:ea typeface="Lato" charset="0"/>
                <a:cs typeface="Lato" charset="0"/>
              </a:rPr>
              <a:t>Jetty</a:t>
            </a:r>
            <a:endParaRPr lang="en-US" sz="700" b="0" dirty="0">
              <a:latin typeface="Lato" charset="0"/>
              <a:ea typeface="Lato" charset="0"/>
              <a:cs typeface="Lato" charset="0"/>
            </a:endParaRPr>
          </a:p>
        </p:txBody>
      </p:sp>
      <p:sp>
        <p:nvSpPr>
          <p:cNvPr id="149" name="TextBox 148"/>
          <p:cNvSpPr txBox="1"/>
          <p:nvPr/>
        </p:nvSpPr>
        <p:spPr>
          <a:xfrm>
            <a:off x="3574744" y="5249908"/>
            <a:ext cx="381836" cy="2000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700" b="0" smtClean="0">
                <a:latin typeface="Lato" charset="0"/>
                <a:ea typeface="Lato" charset="0"/>
                <a:cs typeface="Lato" charset="0"/>
              </a:rPr>
              <a:t>Jetty</a:t>
            </a:r>
            <a:endParaRPr lang="en-US" sz="700" b="0" dirty="0">
              <a:latin typeface="Lato" charset="0"/>
              <a:ea typeface="Lato" charset="0"/>
              <a:cs typeface="Lato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709474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Elements of Microservices </a:t>
            </a:r>
            <a:r>
              <a:rPr lang="en-US" dirty="0" smtClean="0"/>
              <a:t>Architectur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subTitle" idx="1"/>
          </p:nvPr>
        </p:nvSpPr>
        <p:spPr>
          <a:xfrm>
            <a:off x="1292225" y="2758587"/>
            <a:ext cx="7859713" cy="2681288"/>
          </a:xfrm>
        </p:spPr>
        <p:txBody>
          <a:bodyPr/>
          <a:lstStyle/>
          <a:p>
            <a:pPr marL="0" lvl="1" indent="0">
              <a:spcBef>
                <a:spcPct val="40000"/>
              </a:spcBef>
              <a:spcAft>
                <a:spcPct val="0"/>
              </a:spcAft>
              <a:buNone/>
            </a:pPr>
            <a:r>
              <a:rPr lang="en-US" sz="2400" b="1" dirty="0" smtClean="0">
                <a:solidFill>
                  <a:schemeClr val="bg2"/>
                </a:solidFill>
                <a:ea typeface="+mn-ea"/>
                <a:cs typeface="+mn-cs"/>
              </a:rPr>
              <a:t>API </a:t>
            </a:r>
            <a:r>
              <a:rPr lang="en-US" sz="2400" b="1" dirty="0">
                <a:solidFill>
                  <a:schemeClr val="bg2"/>
                </a:solidFill>
                <a:ea typeface="+mn-ea"/>
                <a:cs typeface="+mn-cs"/>
              </a:rPr>
              <a:t>Gateway </a:t>
            </a:r>
            <a:r>
              <a:rPr lang="en-US" sz="2400" b="1" dirty="0" smtClean="0">
                <a:solidFill>
                  <a:schemeClr val="bg2"/>
                </a:solidFill>
                <a:ea typeface="+mn-ea"/>
                <a:cs typeface="+mn-cs"/>
              </a:rPr>
              <a:t>Pattern</a:t>
            </a:r>
          </a:p>
          <a:p>
            <a:pPr marL="0" lvl="1" indent="0">
              <a:spcBef>
                <a:spcPct val="40000"/>
              </a:spcBef>
              <a:spcAft>
                <a:spcPct val="0"/>
              </a:spcAft>
              <a:buNone/>
            </a:pPr>
            <a:r>
              <a:rPr lang="en-US" sz="2400" b="1" dirty="0" smtClean="0">
                <a:solidFill>
                  <a:schemeClr val="bg2"/>
                </a:solidFill>
                <a:ea typeface="+mn-ea"/>
                <a:cs typeface="+mn-cs"/>
              </a:rPr>
              <a:t>Security</a:t>
            </a:r>
          </a:p>
          <a:p>
            <a:pPr marL="0" lvl="1" indent="0">
              <a:spcBef>
                <a:spcPct val="40000"/>
              </a:spcBef>
              <a:spcAft>
                <a:spcPct val="0"/>
              </a:spcAft>
              <a:buNone/>
            </a:pPr>
            <a:r>
              <a:rPr lang="en-US" sz="2400" b="1" dirty="0" smtClean="0">
                <a:solidFill>
                  <a:schemeClr val="bg2"/>
                </a:solidFill>
                <a:ea typeface="+mn-ea"/>
                <a:cs typeface="+mn-cs"/>
              </a:rPr>
              <a:t>Analytics</a:t>
            </a:r>
            <a:endParaRPr lang="en-US" sz="2400" b="1" dirty="0">
              <a:solidFill>
                <a:schemeClr val="bg2"/>
              </a:solidFill>
              <a:ea typeface="+mn-ea"/>
              <a:cs typeface="+mn-cs"/>
            </a:endParaRPr>
          </a:p>
          <a:p>
            <a:pPr marL="0" lvl="1" indent="0">
              <a:spcBef>
                <a:spcPct val="40000"/>
              </a:spcBef>
              <a:spcAft>
                <a:spcPct val="0"/>
              </a:spcAft>
              <a:buNone/>
            </a:pPr>
            <a:r>
              <a:rPr lang="en-US" sz="2400" b="1" dirty="0">
                <a:solidFill>
                  <a:schemeClr val="bg2"/>
                </a:solidFill>
                <a:ea typeface="+mn-ea"/>
                <a:cs typeface="+mn-cs"/>
              </a:rPr>
              <a:t>Service Discovery </a:t>
            </a:r>
            <a:r>
              <a:rPr lang="en-US" sz="2400" b="1" dirty="0" smtClean="0">
                <a:solidFill>
                  <a:schemeClr val="bg2"/>
                </a:solidFill>
                <a:ea typeface="+mn-ea"/>
                <a:cs typeface="+mn-cs"/>
              </a:rPr>
              <a:t>Pattern</a:t>
            </a:r>
          </a:p>
          <a:p>
            <a:pPr marL="0" lvl="1" indent="0">
              <a:spcBef>
                <a:spcPct val="40000"/>
              </a:spcBef>
              <a:spcAft>
                <a:spcPct val="0"/>
              </a:spcAft>
              <a:buNone/>
            </a:pPr>
            <a:r>
              <a:rPr lang="en-US" sz="2400" b="1" dirty="0" smtClean="0">
                <a:solidFill>
                  <a:schemeClr val="bg2"/>
                </a:solidFill>
                <a:ea typeface="+mn-ea"/>
                <a:cs typeface="+mn-cs"/>
              </a:rPr>
              <a:t>Circuit Breaker Pattern</a:t>
            </a:r>
          </a:p>
          <a:p>
            <a:pPr marL="0" lvl="1" indent="0">
              <a:spcBef>
                <a:spcPct val="40000"/>
              </a:spcBef>
              <a:spcAft>
                <a:spcPct val="0"/>
              </a:spcAft>
              <a:buNone/>
            </a:pPr>
            <a:r>
              <a:rPr lang="en-US" sz="2400" b="1" dirty="0" smtClean="0">
                <a:solidFill>
                  <a:schemeClr val="bg2"/>
                </a:solidFill>
                <a:ea typeface="+mn-ea"/>
                <a:cs typeface="+mn-cs"/>
              </a:rPr>
              <a:t>Monitoring &amp; Logging</a:t>
            </a:r>
            <a:endParaRPr lang="en-US" sz="2400" b="1" dirty="0">
              <a:solidFill>
                <a:schemeClr val="bg2"/>
              </a:solidFill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294967295"/>
          </p:nvPr>
        </p:nvSpPr>
        <p:spPr>
          <a:xfrm>
            <a:off x="0" y="6424613"/>
            <a:ext cx="584200" cy="304800"/>
          </a:xfrm>
        </p:spPr>
        <p:txBody>
          <a:bodyPr/>
          <a:lstStyle/>
          <a:p>
            <a:fld id="{C151D609-1948-4661-8BC6-AB1E16B109F4}" type="slidenum">
              <a:rPr lang="en-US" smtClean="0"/>
              <a:pPr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83852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PI Gateway Patter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1600" b="1" kern="1200" dirty="0">
                <a:latin typeface="Arial" charset="0"/>
                <a:cs typeface="Arial" charset="0"/>
              </a:rPr>
              <a:t>API Gateway </a:t>
            </a:r>
            <a:r>
              <a:rPr lang="en-US" sz="1600" kern="1200" dirty="0">
                <a:latin typeface="Arial" charset="0"/>
                <a:cs typeface="Arial" charset="0"/>
              </a:rPr>
              <a:t>- A single point of entry for all client applications to consume backend APIs and services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151D609-1948-4661-8BC6-AB1E16B109F4}" type="slidenum">
              <a:rPr lang="en-US" smtClean="0"/>
              <a:pPr/>
              <a:t>7</a:t>
            </a:fld>
            <a:endParaRPr lang="en-US" dirty="0"/>
          </a:p>
        </p:txBody>
      </p:sp>
      <p:sp>
        <p:nvSpPr>
          <p:cNvPr id="50" name="Right Arrow 49"/>
          <p:cNvSpPr/>
          <p:nvPr/>
        </p:nvSpPr>
        <p:spPr bwMode="auto">
          <a:xfrm>
            <a:off x="3098654" y="4417410"/>
            <a:ext cx="575193" cy="168813"/>
          </a:xfrm>
          <a:prstGeom prst="rightArrow">
            <a:avLst/>
          </a:prstGeom>
          <a:noFill/>
          <a:ln w="4445" cap="flat" cmpd="sng" algn="ctr">
            <a:solidFill>
              <a:schemeClr val="bg2"/>
            </a:solidFill>
            <a:prstDash val="solid"/>
            <a:round/>
            <a:headEnd type="none" w="lg" len="lg"/>
            <a:tailEnd type="none" w="lg" len="lg"/>
          </a:ln>
          <a:effectLst/>
        </p:spPr>
        <p:txBody>
          <a:bodyPr vert="horz" wrap="none" lIns="91440" tIns="91440" rIns="91440" bIns="9144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6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Lato" charset="0"/>
              <a:ea typeface="Lato" charset="0"/>
              <a:cs typeface="Lato" charset="0"/>
            </a:endParaRPr>
          </a:p>
        </p:txBody>
      </p:sp>
      <p:cxnSp>
        <p:nvCxnSpPr>
          <p:cNvPr id="70" name="Straight Connector 69"/>
          <p:cNvCxnSpPr/>
          <p:nvPr/>
        </p:nvCxnSpPr>
        <p:spPr bwMode="auto">
          <a:xfrm flipV="1">
            <a:off x="3934535" y="2713545"/>
            <a:ext cx="1" cy="1591326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chemeClr val="bg2"/>
            </a:solidFill>
            <a:prstDash val="solid"/>
            <a:round/>
            <a:headEnd type="none" w="lg" len="lg"/>
            <a:tailEnd type="none" w="lg" len="lg"/>
          </a:ln>
          <a:effectLst/>
        </p:spPr>
      </p:cxnSp>
      <p:sp>
        <p:nvSpPr>
          <p:cNvPr id="71" name="Rectangle 70"/>
          <p:cNvSpPr/>
          <p:nvPr/>
        </p:nvSpPr>
        <p:spPr bwMode="auto">
          <a:xfrm>
            <a:off x="1725104" y="4304871"/>
            <a:ext cx="1313682" cy="384641"/>
          </a:xfrm>
          <a:prstGeom prst="rect">
            <a:avLst/>
          </a:prstGeom>
          <a:solidFill>
            <a:srgbClr val="EECCCC"/>
          </a:solidFill>
          <a:ln w="9525" cap="flat" cmpd="sng" algn="ctr">
            <a:solidFill>
              <a:schemeClr val="bg2">
                <a:lumMod val="40000"/>
                <a:lumOff val="60000"/>
              </a:schemeClr>
            </a:solidFill>
            <a:prstDash val="solid"/>
            <a:round/>
            <a:headEnd type="none" w="lg" len="lg"/>
            <a:tailEnd type="none" w="lg" len="lg"/>
          </a:ln>
          <a:effectLst/>
        </p:spPr>
        <p:txBody>
          <a:bodyPr vert="horz" wrap="none" lIns="91440" tIns="91440" rIns="91440" bIns="91440" numCol="1" rtlCol="0" anchor="ctr" anchorCtr="0" compatLnSpc="1">
            <a:prstTxWarp prst="textNoShape">
              <a:avLst/>
            </a:prstTxWarp>
          </a:bodyPr>
          <a:lstStyle/>
          <a:p>
            <a:r>
              <a:rPr lang="en-US" b="0" dirty="0">
                <a:latin typeface="Lato" charset="0"/>
                <a:ea typeface="Lato" charset="0"/>
                <a:cs typeface="Lato" charset="0"/>
              </a:rPr>
              <a:t>Consumers</a:t>
            </a:r>
            <a:endParaRPr kumimoji="0" lang="en-US" sz="14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Lato" charset="0"/>
              <a:ea typeface="Lato" charset="0"/>
              <a:cs typeface="Lato" charset="0"/>
            </a:endParaRPr>
          </a:p>
        </p:txBody>
      </p:sp>
      <p:sp>
        <p:nvSpPr>
          <p:cNvPr id="72" name="Rectangle 71"/>
          <p:cNvSpPr/>
          <p:nvPr/>
        </p:nvSpPr>
        <p:spPr bwMode="auto">
          <a:xfrm>
            <a:off x="3730119" y="4318939"/>
            <a:ext cx="1125414" cy="351693"/>
          </a:xfrm>
          <a:prstGeom prst="rect">
            <a:avLst/>
          </a:prstGeom>
          <a:solidFill>
            <a:srgbClr val="EECCCC"/>
          </a:solidFill>
          <a:ln w="9525" cap="flat" cmpd="sng" algn="ctr">
            <a:solidFill>
              <a:srgbClr val="EECCCC"/>
            </a:solidFill>
            <a:prstDash val="solid"/>
            <a:round/>
            <a:headEnd type="none" w="lg" len="lg"/>
            <a:tailEnd type="none" w="lg" len="lg"/>
          </a:ln>
          <a:effectLst/>
        </p:spPr>
        <p:txBody>
          <a:bodyPr vert="horz" wrap="none" lIns="91440" tIns="91440" rIns="91440" bIns="91440" numCol="1" rtlCol="0" anchor="ctr" anchorCtr="0" compatLnSpc="1">
            <a:prstTxWarp prst="textNoShape">
              <a:avLst/>
            </a:prstTxWarp>
          </a:bodyPr>
          <a:lstStyle/>
          <a:p>
            <a:r>
              <a:rPr lang="en-US" b="0" dirty="0">
                <a:latin typeface="Lato" charset="0"/>
                <a:ea typeface="Lato" charset="0"/>
                <a:cs typeface="Lato" charset="0"/>
              </a:rPr>
              <a:t>Gateway</a:t>
            </a:r>
            <a:endParaRPr kumimoji="0" lang="en-US" sz="14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Lato" charset="0"/>
              <a:ea typeface="Lato" charset="0"/>
              <a:cs typeface="Lato" charset="0"/>
            </a:endParaRPr>
          </a:p>
        </p:txBody>
      </p:sp>
      <p:cxnSp>
        <p:nvCxnSpPr>
          <p:cNvPr id="75" name="Straight Connector 74"/>
          <p:cNvCxnSpPr>
            <a:endCxn id="88" idx="1"/>
          </p:cNvCxnSpPr>
          <p:nvPr/>
        </p:nvCxnSpPr>
        <p:spPr bwMode="auto">
          <a:xfrm>
            <a:off x="3934535" y="2713545"/>
            <a:ext cx="300485" cy="0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chemeClr val="bg2"/>
            </a:solidFill>
            <a:prstDash val="solid"/>
            <a:round/>
            <a:headEnd type="none" w="lg" len="lg"/>
            <a:tailEnd type="none" w="lg" len="lg"/>
          </a:ln>
          <a:effectLst/>
        </p:spPr>
      </p:cxnSp>
      <p:sp>
        <p:nvSpPr>
          <p:cNvPr id="88" name="TextBox 87"/>
          <p:cNvSpPr txBox="1"/>
          <p:nvPr/>
        </p:nvSpPr>
        <p:spPr>
          <a:xfrm>
            <a:off x="4235020" y="2582740"/>
            <a:ext cx="1775380" cy="261610"/>
          </a:xfrm>
          <a:prstGeom prst="rect">
            <a:avLst/>
          </a:prstGeom>
          <a:solidFill>
            <a:schemeClr val="bg2">
              <a:lumMod val="75000"/>
            </a:schemeClr>
          </a:solidFill>
          <a:ln>
            <a:solidFill>
              <a:schemeClr val="bg2"/>
            </a:solidFill>
          </a:ln>
        </p:spPr>
        <p:txBody>
          <a:bodyPr wrap="square" rtlCol="0">
            <a:spAutoFit/>
          </a:bodyPr>
          <a:lstStyle/>
          <a:p>
            <a:r>
              <a:rPr lang="en-US" sz="1100" b="0" dirty="0">
                <a:latin typeface="Lato" charset="0"/>
                <a:ea typeface="Lato" charset="0"/>
                <a:cs typeface="Lato" charset="0"/>
              </a:rPr>
              <a:t>API Management</a:t>
            </a:r>
          </a:p>
        </p:txBody>
      </p:sp>
      <p:cxnSp>
        <p:nvCxnSpPr>
          <p:cNvPr id="96" name="Straight Connector 95"/>
          <p:cNvCxnSpPr/>
          <p:nvPr/>
        </p:nvCxnSpPr>
        <p:spPr bwMode="auto">
          <a:xfrm>
            <a:off x="3934535" y="3126626"/>
            <a:ext cx="290167" cy="0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chemeClr val="bg2"/>
            </a:solidFill>
            <a:prstDash val="solid"/>
            <a:round/>
            <a:headEnd type="none" w="lg" len="lg"/>
            <a:tailEnd type="none" w="lg" len="lg"/>
          </a:ln>
          <a:effectLst/>
        </p:spPr>
      </p:cxnSp>
      <p:sp>
        <p:nvSpPr>
          <p:cNvPr id="97" name="TextBox 96"/>
          <p:cNvSpPr txBox="1"/>
          <p:nvPr/>
        </p:nvSpPr>
        <p:spPr>
          <a:xfrm>
            <a:off x="4224702" y="2973159"/>
            <a:ext cx="1775380" cy="261610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  <a:ln>
            <a:solidFill>
              <a:schemeClr val="bg2"/>
            </a:solidFill>
          </a:ln>
        </p:spPr>
        <p:txBody>
          <a:bodyPr wrap="square" rtlCol="0">
            <a:spAutoFit/>
          </a:bodyPr>
          <a:lstStyle/>
          <a:p>
            <a:r>
              <a:rPr lang="en-US" sz="1100" b="0" dirty="0" smtClean="0">
                <a:latin typeface="Lato" charset="0"/>
                <a:ea typeface="Lato" charset="0"/>
                <a:cs typeface="Lato" charset="0"/>
              </a:rPr>
              <a:t>Identity Management</a:t>
            </a:r>
            <a:endParaRPr lang="en-US" sz="1100" b="0" dirty="0">
              <a:latin typeface="Lato" charset="0"/>
              <a:ea typeface="Lato" charset="0"/>
              <a:cs typeface="Lato" charset="0"/>
            </a:endParaRPr>
          </a:p>
        </p:txBody>
      </p:sp>
      <p:cxnSp>
        <p:nvCxnSpPr>
          <p:cNvPr id="103" name="Straight Connector 102"/>
          <p:cNvCxnSpPr/>
          <p:nvPr/>
        </p:nvCxnSpPr>
        <p:spPr bwMode="auto">
          <a:xfrm>
            <a:off x="3934535" y="3479242"/>
            <a:ext cx="290167" cy="0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chemeClr val="bg2"/>
            </a:solidFill>
            <a:prstDash val="solid"/>
            <a:round/>
            <a:headEnd type="none" w="lg" len="lg"/>
            <a:tailEnd type="none" w="lg" len="lg"/>
          </a:ln>
          <a:effectLst/>
        </p:spPr>
      </p:cxnSp>
      <p:sp>
        <p:nvSpPr>
          <p:cNvPr id="104" name="TextBox 103"/>
          <p:cNvSpPr txBox="1"/>
          <p:nvPr/>
        </p:nvSpPr>
        <p:spPr>
          <a:xfrm>
            <a:off x="4224702" y="3342913"/>
            <a:ext cx="1775380" cy="261610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solidFill>
              <a:schemeClr val="bg2"/>
            </a:solidFill>
          </a:ln>
        </p:spPr>
        <p:txBody>
          <a:bodyPr wrap="square" rtlCol="0">
            <a:spAutoFit/>
          </a:bodyPr>
          <a:lstStyle/>
          <a:p>
            <a:r>
              <a:rPr lang="en-US" sz="1100" b="0" dirty="0" smtClean="0">
                <a:latin typeface="Lato" charset="0"/>
                <a:ea typeface="Lato" charset="0"/>
                <a:cs typeface="Lato" charset="0"/>
              </a:rPr>
              <a:t>Analytics</a:t>
            </a:r>
            <a:endParaRPr lang="en-US" sz="1100" b="0" dirty="0">
              <a:latin typeface="Lato" charset="0"/>
              <a:ea typeface="Lato" charset="0"/>
              <a:cs typeface="Lato" charset="0"/>
            </a:endParaRPr>
          </a:p>
        </p:txBody>
      </p:sp>
      <p:cxnSp>
        <p:nvCxnSpPr>
          <p:cNvPr id="105" name="Straight Connector 104"/>
          <p:cNvCxnSpPr/>
          <p:nvPr/>
        </p:nvCxnSpPr>
        <p:spPr bwMode="auto">
          <a:xfrm>
            <a:off x="3934535" y="3831859"/>
            <a:ext cx="290167" cy="0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chemeClr val="bg2"/>
            </a:solidFill>
            <a:prstDash val="solid"/>
            <a:round/>
            <a:headEnd type="none" w="lg" len="lg"/>
            <a:tailEnd type="none" w="lg" len="lg"/>
          </a:ln>
          <a:effectLst/>
        </p:spPr>
      </p:cxnSp>
      <p:sp>
        <p:nvSpPr>
          <p:cNvPr id="106" name="TextBox 105"/>
          <p:cNvSpPr txBox="1"/>
          <p:nvPr/>
        </p:nvSpPr>
        <p:spPr>
          <a:xfrm>
            <a:off x="4224702" y="3705380"/>
            <a:ext cx="1775380" cy="261610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solidFill>
              <a:schemeClr val="bg2"/>
            </a:solidFill>
          </a:ln>
        </p:spPr>
        <p:txBody>
          <a:bodyPr wrap="square" rtlCol="0">
            <a:spAutoFit/>
          </a:bodyPr>
          <a:lstStyle/>
          <a:p>
            <a:r>
              <a:rPr lang="en-US" sz="1100" b="0" dirty="0" smtClean="0">
                <a:latin typeface="Lato" charset="0"/>
                <a:ea typeface="Lato" charset="0"/>
                <a:cs typeface="Lato" charset="0"/>
              </a:rPr>
              <a:t>Service Registry</a:t>
            </a:r>
            <a:endParaRPr lang="en-US" sz="1100" b="0" dirty="0">
              <a:latin typeface="Lato" charset="0"/>
              <a:ea typeface="Lato" charset="0"/>
              <a:cs typeface="Lato" charset="0"/>
            </a:endParaRPr>
          </a:p>
        </p:txBody>
      </p:sp>
      <p:sp>
        <p:nvSpPr>
          <p:cNvPr id="108" name="Rounded Rectangle 107"/>
          <p:cNvSpPr/>
          <p:nvPr/>
        </p:nvSpPr>
        <p:spPr bwMode="auto">
          <a:xfrm>
            <a:off x="1594469" y="2344418"/>
            <a:ext cx="2269584" cy="393068"/>
          </a:xfrm>
          <a:prstGeom prst="roundRect">
            <a:avLst/>
          </a:prstGeom>
          <a:noFill/>
          <a:ln w="28575" cap="flat" cmpd="sng" algn="ctr">
            <a:solidFill>
              <a:schemeClr val="bg2"/>
            </a:solidFill>
            <a:prstDash val="solid"/>
            <a:round/>
            <a:headEnd type="none" w="lg" len="lg"/>
            <a:tailEnd type="none" w="lg" len="lg"/>
          </a:ln>
          <a:effectLst/>
        </p:spPr>
        <p:txBody>
          <a:bodyPr vert="horz" wrap="none" lIns="91440" tIns="91440" rIns="91440" bIns="9144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1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Lato" charset="0"/>
                <a:ea typeface="Lato" charset="0"/>
                <a:cs typeface="Lato" charset="0"/>
              </a:rPr>
              <a:t>Throttling,</a:t>
            </a:r>
            <a:r>
              <a:rPr kumimoji="0" lang="en-US" sz="1100" b="0" i="0" u="none" strike="noStrike" cap="none" normalizeH="0" dirty="0" smtClean="0">
                <a:ln>
                  <a:noFill/>
                </a:ln>
                <a:solidFill>
                  <a:schemeClr val="tx1"/>
                </a:solidFill>
                <a:effectLst/>
                <a:latin typeface="Lato" charset="0"/>
                <a:ea typeface="Lato" charset="0"/>
                <a:cs typeface="Lato" charset="0"/>
              </a:rPr>
              <a:t> Security, Caching, </a:t>
            </a:r>
          </a:p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100" b="0" i="0" u="none" strike="noStrike" cap="none" normalizeH="0" dirty="0" smtClean="0">
                <a:ln>
                  <a:noFill/>
                </a:ln>
                <a:solidFill>
                  <a:schemeClr val="tx1"/>
                </a:solidFill>
                <a:effectLst/>
                <a:latin typeface="Lato" charset="0"/>
                <a:ea typeface="Lato" charset="0"/>
                <a:cs typeface="Lato" charset="0"/>
              </a:rPr>
              <a:t>Analytics </a:t>
            </a:r>
            <a:r>
              <a:rPr kumimoji="0" lang="en-US" sz="1100" b="0" i="0" u="none" strike="noStrike" cap="none" normalizeH="0" dirty="0" err="1" smtClean="0">
                <a:ln>
                  <a:noFill/>
                </a:ln>
                <a:solidFill>
                  <a:schemeClr val="tx1"/>
                </a:solidFill>
                <a:effectLst/>
                <a:latin typeface="Lato" charset="0"/>
                <a:ea typeface="Lato" charset="0"/>
                <a:cs typeface="Lato" charset="0"/>
              </a:rPr>
              <a:t>etc</a:t>
            </a:r>
            <a:endParaRPr kumimoji="0" lang="en-US" sz="11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Lato" charset="0"/>
              <a:ea typeface="Lato" charset="0"/>
              <a:cs typeface="Lato" charset="0"/>
            </a:endParaRPr>
          </a:p>
        </p:txBody>
      </p:sp>
      <p:sp>
        <p:nvSpPr>
          <p:cNvPr id="109" name="Rounded Rectangle 108"/>
          <p:cNvSpPr/>
          <p:nvPr/>
        </p:nvSpPr>
        <p:spPr bwMode="auto">
          <a:xfrm>
            <a:off x="6290248" y="3080650"/>
            <a:ext cx="2269584" cy="393068"/>
          </a:xfrm>
          <a:prstGeom prst="roundRect">
            <a:avLst/>
          </a:prstGeom>
          <a:noFill/>
          <a:ln w="28575" cap="flat" cmpd="sng" algn="ctr">
            <a:solidFill>
              <a:schemeClr val="bg2"/>
            </a:solidFill>
            <a:prstDash val="solid"/>
            <a:round/>
            <a:headEnd type="none" w="lg" len="lg"/>
            <a:tailEnd type="none" w="lg" len="lg"/>
          </a:ln>
          <a:effectLst/>
        </p:spPr>
        <p:txBody>
          <a:bodyPr vert="horz" wrap="none" lIns="91440" tIns="91440" rIns="91440" bIns="9144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1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Lato" charset="0"/>
                <a:ea typeface="Lato" charset="0"/>
                <a:cs typeface="Lato" charset="0"/>
              </a:rPr>
              <a:t>Inter </a:t>
            </a:r>
            <a:r>
              <a:rPr lang="en-US" sz="1100" b="0" dirty="0" smtClean="0">
                <a:latin typeface="Lato" charset="0"/>
                <a:ea typeface="Lato" charset="0"/>
                <a:cs typeface="Lato" charset="0"/>
              </a:rPr>
              <a:t>Microservice</a:t>
            </a:r>
            <a:r>
              <a:rPr kumimoji="0" lang="en-US" sz="11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Lato" charset="0"/>
                <a:ea typeface="Lato" charset="0"/>
                <a:cs typeface="Lato" charset="0"/>
              </a:rPr>
              <a:t> </a:t>
            </a:r>
            <a:r>
              <a:rPr lang="en-US" sz="1100" b="0" dirty="0">
                <a:latin typeface="Lato" charset="0"/>
                <a:ea typeface="Lato" charset="0"/>
                <a:cs typeface="Lato" charset="0"/>
              </a:rPr>
              <a:t>c</a:t>
            </a:r>
            <a:r>
              <a:rPr kumimoji="0" lang="en-US" sz="11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Lato" charset="0"/>
                <a:ea typeface="Lato" charset="0"/>
                <a:cs typeface="Lato" charset="0"/>
              </a:rPr>
              <a:t>ommunication </a:t>
            </a:r>
          </a:p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1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Lato" charset="0"/>
                <a:ea typeface="Lato" charset="0"/>
                <a:cs typeface="Lato" charset="0"/>
              </a:rPr>
              <a:t>through GW</a:t>
            </a:r>
          </a:p>
        </p:txBody>
      </p:sp>
      <p:sp>
        <p:nvSpPr>
          <p:cNvPr id="110" name="Rectangle 109"/>
          <p:cNvSpPr/>
          <p:nvPr/>
        </p:nvSpPr>
        <p:spPr bwMode="auto">
          <a:xfrm>
            <a:off x="6532490" y="3665683"/>
            <a:ext cx="1509668" cy="351693"/>
          </a:xfrm>
          <a:prstGeom prst="rect">
            <a:avLst/>
          </a:prstGeom>
          <a:solidFill>
            <a:srgbClr val="EECCCC"/>
          </a:solidFill>
          <a:ln w="9525" cap="flat" cmpd="sng" algn="ctr">
            <a:solidFill>
              <a:schemeClr val="bg2">
                <a:lumMod val="40000"/>
                <a:lumOff val="60000"/>
              </a:schemeClr>
            </a:solidFill>
            <a:prstDash val="solid"/>
            <a:round/>
            <a:headEnd type="none" w="lg" len="lg"/>
            <a:tailEnd type="none" w="lg" len="lg"/>
          </a:ln>
          <a:effectLst/>
        </p:spPr>
        <p:txBody>
          <a:bodyPr vert="horz" wrap="none" lIns="91440" tIns="91440" rIns="91440" bIns="91440" numCol="1" rtlCol="0" anchor="ctr" anchorCtr="0" compatLnSpc="1">
            <a:prstTxWarp prst="textNoShape">
              <a:avLst/>
            </a:prstTxWarp>
          </a:bodyPr>
          <a:lstStyle/>
          <a:p>
            <a:r>
              <a:rPr lang="en-US" b="0" smtClean="0">
                <a:latin typeface="Lato" charset="0"/>
                <a:ea typeface="Lato" charset="0"/>
                <a:cs typeface="Lato" charset="0"/>
              </a:rPr>
              <a:t>Microservice A</a:t>
            </a:r>
            <a:endParaRPr kumimoji="0" lang="en-US" sz="14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Lato" charset="0"/>
              <a:ea typeface="Lato" charset="0"/>
              <a:cs typeface="Lato" charset="0"/>
            </a:endParaRPr>
          </a:p>
        </p:txBody>
      </p:sp>
      <p:sp>
        <p:nvSpPr>
          <p:cNvPr id="111" name="Rectangle 110"/>
          <p:cNvSpPr/>
          <p:nvPr/>
        </p:nvSpPr>
        <p:spPr bwMode="auto">
          <a:xfrm>
            <a:off x="6532490" y="4234530"/>
            <a:ext cx="1509668" cy="351693"/>
          </a:xfrm>
          <a:prstGeom prst="rect">
            <a:avLst/>
          </a:prstGeom>
          <a:solidFill>
            <a:srgbClr val="EECCCC"/>
          </a:solidFill>
          <a:ln w="9525" cap="flat" cmpd="sng" algn="ctr">
            <a:solidFill>
              <a:schemeClr val="bg2">
                <a:lumMod val="40000"/>
                <a:lumOff val="60000"/>
              </a:schemeClr>
            </a:solidFill>
            <a:prstDash val="solid"/>
            <a:round/>
            <a:headEnd type="none" w="lg" len="lg"/>
            <a:tailEnd type="none" w="lg" len="lg"/>
          </a:ln>
          <a:effectLst/>
        </p:spPr>
        <p:txBody>
          <a:bodyPr vert="horz" wrap="none" lIns="91440" tIns="91440" rIns="91440" bIns="91440" numCol="1" rtlCol="0" anchor="ctr" anchorCtr="0" compatLnSpc="1">
            <a:prstTxWarp prst="textNoShape">
              <a:avLst/>
            </a:prstTxWarp>
          </a:bodyPr>
          <a:lstStyle/>
          <a:p>
            <a:r>
              <a:rPr lang="en-US" b="0" dirty="0" smtClean="0">
                <a:latin typeface="Lato" charset="0"/>
                <a:ea typeface="Lato" charset="0"/>
                <a:cs typeface="Lato" charset="0"/>
              </a:rPr>
              <a:t>Microservice B</a:t>
            </a:r>
            <a:endParaRPr kumimoji="0" lang="en-US" sz="14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Lato" charset="0"/>
              <a:ea typeface="Lato" charset="0"/>
              <a:cs typeface="Lato" charset="0"/>
            </a:endParaRPr>
          </a:p>
        </p:txBody>
      </p:sp>
      <p:sp>
        <p:nvSpPr>
          <p:cNvPr id="112" name="Rectangle 111"/>
          <p:cNvSpPr/>
          <p:nvPr/>
        </p:nvSpPr>
        <p:spPr bwMode="auto">
          <a:xfrm>
            <a:off x="6532490" y="4803377"/>
            <a:ext cx="1509668" cy="351693"/>
          </a:xfrm>
          <a:prstGeom prst="rect">
            <a:avLst/>
          </a:prstGeom>
          <a:solidFill>
            <a:srgbClr val="EECCCC"/>
          </a:solidFill>
          <a:ln w="9525" cap="flat" cmpd="sng" algn="ctr">
            <a:solidFill>
              <a:schemeClr val="bg2">
                <a:lumMod val="40000"/>
                <a:lumOff val="60000"/>
              </a:schemeClr>
            </a:solidFill>
            <a:prstDash val="solid"/>
            <a:round/>
            <a:headEnd type="none" w="lg" len="lg"/>
            <a:tailEnd type="none" w="lg" len="lg"/>
          </a:ln>
          <a:effectLst/>
        </p:spPr>
        <p:txBody>
          <a:bodyPr vert="horz" wrap="none" lIns="91440" tIns="91440" rIns="91440" bIns="91440" numCol="1" rtlCol="0" anchor="ctr" anchorCtr="0" compatLnSpc="1">
            <a:prstTxWarp prst="textNoShape">
              <a:avLst/>
            </a:prstTxWarp>
          </a:bodyPr>
          <a:lstStyle/>
          <a:p>
            <a:r>
              <a:rPr lang="en-US" b="0" dirty="0" smtClean="0">
                <a:latin typeface="Lato" charset="0"/>
                <a:ea typeface="Lato" charset="0"/>
                <a:cs typeface="Lato" charset="0"/>
              </a:rPr>
              <a:t>Microservice C</a:t>
            </a:r>
            <a:endParaRPr kumimoji="0" lang="en-US" sz="14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Lato" charset="0"/>
              <a:ea typeface="Lato" charset="0"/>
              <a:cs typeface="Lato" charset="0"/>
            </a:endParaRPr>
          </a:p>
        </p:txBody>
      </p:sp>
      <p:sp>
        <p:nvSpPr>
          <p:cNvPr id="113" name="Rectangle 112"/>
          <p:cNvSpPr/>
          <p:nvPr/>
        </p:nvSpPr>
        <p:spPr bwMode="auto">
          <a:xfrm>
            <a:off x="6532490" y="5372224"/>
            <a:ext cx="1509668" cy="351693"/>
          </a:xfrm>
          <a:prstGeom prst="rect">
            <a:avLst/>
          </a:prstGeom>
          <a:solidFill>
            <a:srgbClr val="EECCCC"/>
          </a:solidFill>
          <a:ln w="9525" cap="flat" cmpd="sng" algn="ctr">
            <a:solidFill>
              <a:schemeClr val="bg2">
                <a:lumMod val="40000"/>
                <a:lumOff val="60000"/>
              </a:schemeClr>
            </a:solidFill>
            <a:prstDash val="solid"/>
            <a:round/>
            <a:headEnd type="none" w="lg" len="lg"/>
            <a:tailEnd type="none" w="lg" len="lg"/>
          </a:ln>
          <a:effectLst/>
        </p:spPr>
        <p:txBody>
          <a:bodyPr vert="horz" wrap="none" lIns="91440" tIns="91440" rIns="91440" bIns="91440" numCol="1" rtlCol="0" anchor="ctr" anchorCtr="0" compatLnSpc="1">
            <a:prstTxWarp prst="textNoShape">
              <a:avLst/>
            </a:prstTxWarp>
          </a:bodyPr>
          <a:lstStyle/>
          <a:p>
            <a:r>
              <a:rPr lang="en-US" b="0" dirty="0" smtClean="0">
                <a:latin typeface="Lato" charset="0"/>
                <a:ea typeface="Lato" charset="0"/>
                <a:cs typeface="Lato" charset="0"/>
              </a:rPr>
              <a:t>Microservice D</a:t>
            </a:r>
            <a:endParaRPr kumimoji="0" lang="en-US" sz="14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Lato" charset="0"/>
              <a:ea typeface="Lato" charset="0"/>
              <a:cs typeface="Lato" charset="0"/>
            </a:endParaRPr>
          </a:p>
        </p:txBody>
      </p:sp>
      <p:sp>
        <p:nvSpPr>
          <p:cNvPr id="114" name="Arc 113"/>
          <p:cNvSpPr/>
          <p:nvPr/>
        </p:nvSpPr>
        <p:spPr bwMode="auto">
          <a:xfrm rot="9964088" flipV="1">
            <a:off x="4898120" y="3993357"/>
            <a:ext cx="3263488" cy="224494"/>
          </a:xfrm>
          <a:prstGeom prst="arc">
            <a:avLst/>
          </a:prstGeom>
          <a:noFill/>
          <a:ln w="9525" cap="flat" cmpd="sng" algn="ctr">
            <a:solidFill>
              <a:schemeClr val="bg2"/>
            </a:solidFill>
            <a:prstDash val="solid"/>
            <a:round/>
            <a:headEnd type="none" w="lg" len="lg"/>
            <a:tailEnd type="none" w="lg" len="lg"/>
          </a:ln>
          <a:effectLst/>
        </p:spPr>
        <p:txBody>
          <a:bodyPr vert="horz" wrap="none" lIns="91440" tIns="91440" rIns="91440" bIns="9144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cs typeface="Arial" charset="0"/>
            </a:endParaRPr>
          </a:p>
        </p:txBody>
      </p:sp>
      <p:sp>
        <p:nvSpPr>
          <p:cNvPr id="115" name="Arc 114"/>
          <p:cNvSpPr/>
          <p:nvPr/>
        </p:nvSpPr>
        <p:spPr bwMode="auto">
          <a:xfrm rot="10536822" flipV="1">
            <a:off x="3827402" y="4357130"/>
            <a:ext cx="5755371" cy="702296"/>
          </a:xfrm>
          <a:prstGeom prst="arc">
            <a:avLst>
              <a:gd name="adj1" fmla="val 17800781"/>
              <a:gd name="adj2" fmla="val 21055022"/>
            </a:avLst>
          </a:prstGeom>
          <a:noFill/>
          <a:ln w="9525" cap="flat" cmpd="sng" algn="ctr">
            <a:solidFill>
              <a:schemeClr val="bg2"/>
            </a:solidFill>
            <a:prstDash val="solid"/>
            <a:round/>
            <a:headEnd type="none" w="lg" len="lg"/>
            <a:tailEnd type="none" w="lg" len="lg"/>
          </a:ln>
          <a:effectLst/>
        </p:spPr>
        <p:txBody>
          <a:bodyPr vert="horz" wrap="none" lIns="91440" tIns="91440" rIns="91440" bIns="9144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cs typeface="Arial" charset="0"/>
            </a:endParaRPr>
          </a:p>
        </p:txBody>
      </p:sp>
      <p:sp>
        <p:nvSpPr>
          <p:cNvPr id="116" name="Arc 115"/>
          <p:cNvSpPr/>
          <p:nvPr/>
        </p:nvSpPr>
        <p:spPr bwMode="auto">
          <a:xfrm rot="807740" flipV="1">
            <a:off x="1859948" y="3986842"/>
            <a:ext cx="6001910" cy="650441"/>
          </a:xfrm>
          <a:prstGeom prst="arc">
            <a:avLst>
              <a:gd name="adj1" fmla="val 17800781"/>
              <a:gd name="adj2" fmla="val 21055022"/>
            </a:avLst>
          </a:prstGeom>
          <a:noFill/>
          <a:ln w="9525" cap="flat" cmpd="sng" algn="ctr">
            <a:solidFill>
              <a:schemeClr val="bg2"/>
            </a:solidFill>
            <a:prstDash val="solid"/>
            <a:round/>
            <a:headEnd type="none" w="lg" len="lg"/>
            <a:tailEnd type="none" w="lg" len="lg"/>
          </a:ln>
          <a:effectLst/>
        </p:spPr>
        <p:txBody>
          <a:bodyPr vert="horz" wrap="none" lIns="91440" tIns="91440" rIns="91440" bIns="9144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cs typeface="Arial" charset="0"/>
            </a:endParaRPr>
          </a:p>
        </p:txBody>
      </p:sp>
      <p:sp>
        <p:nvSpPr>
          <p:cNvPr id="117" name="Arc 116"/>
          <p:cNvSpPr/>
          <p:nvPr/>
        </p:nvSpPr>
        <p:spPr bwMode="auto">
          <a:xfrm rot="1727593" flipV="1">
            <a:off x="1949990" y="3887716"/>
            <a:ext cx="6001910" cy="818822"/>
          </a:xfrm>
          <a:prstGeom prst="arc">
            <a:avLst>
              <a:gd name="adj1" fmla="val 17800781"/>
              <a:gd name="adj2" fmla="val 21055022"/>
            </a:avLst>
          </a:prstGeom>
          <a:noFill/>
          <a:ln w="9525" cap="flat" cmpd="sng" algn="ctr">
            <a:solidFill>
              <a:schemeClr val="bg2"/>
            </a:solidFill>
            <a:prstDash val="solid"/>
            <a:round/>
            <a:headEnd type="none" w="lg" len="lg"/>
            <a:tailEnd type="none" w="lg" len="lg"/>
          </a:ln>
          <a:effectLst/>
        </p:spPr>
        <p:txBody>
          <a:bodyPr vert="horz" wrap="none" lIns="91440" tIns="91440" rIns="91440" bIns="9144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cs typeface="Arial" charset="0"/>
            </a:endParaRPr>
          </a:p>
        </p:txBody>
      </p:sp>
      <p:sp>
        <p:nvSpPr>
          <p:cNvPr id="119" name="Rounded Rectangle 118"/>
          <p:cNvSpPr/>
          <p:nvPr/>
        </p:nvSpPr>
        <p:spPr bwMode="auto">
          <a:xfrm>
            <a:off x="2946022" y="5329678"/>
            <a:ext cx="2557359" cy="393068"/>
          </a:xfrm>
          <a:prstGeom prst="roundRect">
            <a:avLst/>
          </a:prstGeom>
          <a:noFill/>
          <a:ln w="28575" cap="flat" cmpd="sng" algn="ctr">
            <a:solidFill>
              <a:schemeClr val="bg2"/>
            </a:solidFill>
            <a:prstDash val="solid"/>
            <a:round/>
            <a:headEnd type="none" w="lg" len="lg"/>
            <a:tailEnd type="none" w="lg" len="lg"/>
          </a:ln>
          <a:effectLst/>
        </p:spPr>
        <p:txBody>
          <a:bodyPr vert="horz" wrap="none" lIns="91440" tIns="91440" rIns="91440" bIns="9144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1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Lato" charset="0"/>
                <a:ea typeface="Lato" charset="0"/>
                <a:cs typeface="Lato" charset="0"/>
              </a:rPr>
              <a:t>All service consumers access services</a:t>
            </a:r>
          </a:p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1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Lato" charset="0"/>
                <a:ea typeface="Lato" charset="0"/>
                <a:cs typeface="Lato" charset="0"/>
              </a:rPr>
              <a:t> through Gateway</a:t>
            </a:r>
          </a:p>
        </p:txBody>
      </p:sp>
      <p:sp>
        <p:nvSpPr>
          <p:cNvPr id="120" name="Arc 119"/>
          <p:cNvSpPr/>
          <p:nvPr/>
        </p:nvSpPr>
        <p:spPr bwMode="auto">
          <a:xfrm rot="9952782" flipV="1">
            <a:off x="5278802" y="4030831"/>
            <a:ext cx="2672164" cy="191610"/>
          </a:xfrm>
          <a:prstGeom prst="arc">
            <a:avLst>
              <a:gd name="adj1" fmla="val 16200000"/>
              <a:gd name="adj2" fmla="val 2259039"/>
            </a:avLst>
          </a:prstGeom>
          <a:noFill/>
          <a:ln w="9525" cap="flat" cmpd="sng" algn="ctr">
            <a:solidFill>
              <a:schemeClr val="bg2"/>
            </a:solidFill>
            <a:prstDash val="dashDot"/>
            <a:round/>
            <a:headEnd type="none" w="lg" len="lg"/>
            <a:tailEnd type="none" w="lg" len="lg"/>
          </a:ln>
          <a:effectLst/>
        </p:spPr>
        <p:txBody>
          <a:bodyPr vert="horz" wrap="none" lIns="91440" tIns="91440" rIns="91440" bIns="9144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cs typeface="Arial" charset="0"/>
            </a:endParaRPr>
          </a:p>
        </p:txBody>
      </p:sp>
      <p:cxnSp>
        <p:nvCxnSpPr>
          <p:cNvPr id="122" name="Straight Arrow Connector 121"/>
          <p:cNvCxnSpPr/>
          <p:nvPr/>
        </p:nvCxnSpPr>
        <p:spPr bwMode="auto">
          <a:xfrm>
            <a:off x="8042158" y="3757122"/>
            <a:ext cx="12700" cy="211094"/>
          </a:xfrm>
          <a:prstGeom prst="bentConnector4">
            <a:avLst>
              <a:gd name="adj1" fmla="val 2187693"/>
              <a:gd name="adj2" fmla="val 91651"/>
            </a:avLst>
          </a:prstGeom>
          <a:solidFill>
            <a:schemeClr val="accent1"/>
          </a:solidFill>
          <a:ln w="9525" cap="flat" cmpd="sng" algn="ctr">
            <a:solidFill>
              <a:schemeClr val="bg2"/>
            </a:solidFill>
            <a:prstDash val="sysDot"/>
            <a:round/>
            <a:headEnd type="triangle"/>
            <a:tailEnd type="triangle"/>
          </a:ln>
          <a:effectLst/>
        </p:spPr>
      </p:cxnSp>
    </p:spTree>
    <p:extLst>
      <p:ext uri="{BB962C8B-B14F-4D97-AF65-F5344CB8AC3E}">
        <p14:creationId xmlns:p14="http://schemas.microsoft.com/office/powerpoint/2010/main" val="3099803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PI Management Logical View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151D609-1948-4661-8BC6-AB1E16B109F4}" type="slidenum">
              <a:rPr lang="en-US" smtClean="0"/>
              <a:pPr/>
              <a:t>8</a:t>
            </a:fld>
            <a:endParaRPr lang="en-US" dirty="0"/>
          </a:p>
        </p:txBody>
      </p:sp>
      <p:sp>
        <p:nvSpPr>
          <p:cNvPr id="16" name="TextBox 15"/>
          <p:cNvSpPr txBox="1"/>
          <p:nvPr/>
        </p:nvSpPr>
        <p:spPr bwMode="auto">
          <a:xfrm>
            <a:off x="3919366" y="3145633"/>
            <a:ext cx="5499321" cy="2301784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60917" tIns="0" rIns="60917" bIns="60917" rtlCol="0">
            <a:prstTxWarp prst="textNoShape">
              <a:avLst/>
            </a:prstTxWarp>
            <a:noAutofit/>
          </a:bodyPr>
          <a:lstStyle/>
          <a:p>
            <a:pPr algn="ctr" defTabSz="1219170" eaLnBrk="0" hangingPunct="0">
              <a:defRPr/>
            </a:pPr>
            <a:r>
              <a:rPr lang="en-US" sz="1467" b="1" kern="0" dirty="0">
                <a:solidFill>
                  <a:schemeClr val="bg1"/>
                </a:solidFill>
                <a:latin typeface="Lato" charset="0"/>
                <a:ea typeface="Lato" charset="0"/>
                <a:cs typeface="Lato" charset="0"/>
              </a:rPr>
              <a:t>API Management</a:t>
            </a:r>
          </a:p>
        </p:txBody>
      </p:sp>
      <p:sp>
        <p:nvSpPr>
          <p:cNvPr id="17" name="Rectangle 16"/>
          <p:cNvSpPr/>
          <p:nvPr/>
        </p:nvSpPr>
        <p:spPr>
          <a:xfrm>
            <a:off x="4091644" y="3910162"/>
            <a:ext cx="1894729" cy="1007167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67" b="1" dirty="0">
                <a:solidFill>
                  <a:schemeClr val="tx2"/>
                </a:solidFill>
                <a:latin typeface="Lato" charset="0"/>
                <a:ea typeface="Lato" charset="0"/>
                <a:cs typeface="Lato" charset="0"/>
              </a:rPr>
              <a:t>Mediate</a:t>
            </a:r>
          </a:p>
          <a:p>
            <a:pPr algn="ctr"/>
            <a:r>
              <a:rPr lang="en-US" sz="1067" dirty="0">
                <a:solidFill>
                  <a:schemeClr val="tx2"/>
                </a:solidFill>
                <a:latin typeface="Lato" charset="0"/>
                <a:ea typeface="Lato" charset="0"/>
                <a:cs typeface="Lato" charset="0"/>
              </a:rPr>
              <a:t>(</a:t>
            </a:r>
            <a:r>
              <a:rPr lang="en-US" sz="1067" dirty="0" err="1">
                <a:solidFill>
                  <a:schemeClr val="tx2"/>
                </a:solidFill>
                <a:latin typeface="Lato" charset="0"/>
                <a:ea typeface="Lato" charset="0"/>
                <a:cs typeface="Lato" charset="0"/>
              </a:rPr>
              <a:t>e.g</a:t>
            </a:r>
            <a:r>
              <a:rPr lang="en-US" sz="1067" dirty="0">
                <a:solidFill>
                  <a:schemeClr val="tx2"/>
                </a:solidFill>
                <a:latin typeface="Lato" charset="0"/>
                <a:ea typeface="Lato" charset="0"/>
                <a:cs typeface="Lato" charset="0"/>
              </a:rPr>
              <a:t> XML to JSON)</a:t>
            </a:r>
          </a:p>
          <a:p>
            <a:pPr algn="ctr"/>
            <a:r>
              <a:rPr lang="en-US" sz="1067" b="1" dirty="0">
                <a:solidFill>
                  <a:schemeClr val="tx2"/>
                </a:solidFill>
                <a:latin typeface="Lato" charset="0"/>
                <a:ea typeface="Lato" charset="0"/>
                <a:cs typeface="Lato" charset="0"/>
              </a:rPr>
              <a:t>Mashup Responses</a:t>
            </a:r>
          </a:p>
          <a:p>
            <a:pPr algn="ctr"/>
            <a:r>
              <a:rPr lang="en-US" sz="1067" b="1" dirty="0">
                <a:solidFill>
                  <a:schemeClr val="tx2"/>
                </a:solidFill>
                <a:latin typeface="Lato" charset="0"/>
                <a:ea typeface="Lato" charset="0"/>
                <a:cs typeface="Lato" charset="0"/>
              </a:rPr>
              <a:t>Cache Responses</a:t>
            </a:r>
          </a:p>
        </p:txBody>
      </p:sp>
      <p:cxnSp>
        <p:nvCxnSpPr>
          <p:cNvPr id="18" name="Straight Arrow Connector 17"/>
          <p:cNvCxnSpPr/>
          <p:nvPr/>
        </p:nvCxnSpPr>
        <p:spPr>
          <a:xfrm flipV="1">
            <a:off x="5827346" y="4029431"/>
            <a:ext cx="0" cy="675861"/>
          </a:xfrm>
          <a:prstGeom prst="straightConnector1">
            <a:avLst/>
          </a:prstGeom>
          <a:ln>
            <a:solidFill>
              <a:schemeClr val="tx2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9" name="Rectangle 18"/>
          <p:cNvSpPr/>
          <p:nvPr/>
        </p:nvSpPr>
        <p:spPr>
          <a:xfrm>
            <a:off x="6026460" y="3910162"/>
            <a:ext cx="1894729" cy="1007167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67" b="1" dirty="0">
                <a:solidFill>
                  <a:schemeClr val="tx2"/>
                </a:solidFill>
                <a:latin typeface="Lato" charset="0"/>
                <a:ea typeface="Lato" charset="0"/>
                <a:cs typeface="Lato" charset="0"/>
              </a:rPr>
              <a:t>Detect Threats</a:t>
            </a:r>
          </a:p>
          <a:p>
            <a:pPr algn="ctr"/>
            <a:r>
              <a:rPr lang="en-US" sz="1067" b="1" dirty="0">
                <a:solidFill>
                  <a:schemeClr val="tx2"/>
                </a:solidFill>
                <a:latin typeface="Lato" charset="0"/>
                <a:ea typeface="Lato" charset="0"/>
                <a:cs typeface="Lato" charset="0"/>
              </a:rPr>
              <a:t>Authenticate Consumer</a:t>
            </a:r>
          </a:p>
          <a:p>
            <a:pPr algn="ctr"/>
            <a:r>
              <a:rPr lang="en-US" sz="1067" b="1" dirty="0">
                <a:solidFill>
                  <a:schemeClr val="tx2"/>
                </a:solidFill>
                <a:latin typeface="Lato" charset="0"/>
                <a:ea typeface="Lato" charset="0"/>
                <a:cs typeface="Lato" charset="0"/>
              </a:rPr>
              <a:t>Control Traffic</a:t>
            </a:r>
          </a:p>
          <a:p>
            <a:pPr algn="ctr"/>
            <a:r>
              <a:rPr lang="en-US" sz="1067" b="1" dirty="0">
                <a:solidFill>
                  <a:schemeClr val="tx2"/>
                </a:solidFill>
                <a:latin typeface="Lato" charset="0"/>
                <a:ea typeface="Lato" charset="0"/>
                <a:cs typeface="Lato" charset="0"/>
              </a:rPr>
              <a:t>Transform</a:t>
            </a:r>
          </a:p>
          <a:p>
            <a:pPr algn="ctr"/>
            <a:r>
              <a:rPr lang="en-US" sz="1067" dirty="0">
                <a:solidFill>
                  <a:schemeClr val="tx2"/>
                </a:solidFill>
                <a:latin typeface="Lato" charset="0"/>
                <a:ea typeface="Lato" charset="0"/>
                <a:cs typeface="Lato" charset="0"/>
              </a:rPr>
              <a:t>(e.g. REST to SOAP)</a:t>
            </a:r>
          </a:p>
          <a:p>
            <a:pPr algn="ctr"/>
            <a:r>
              <a:rPr lang="en-US" sz="1067" b="1" dirty="0">
                <a:solidFill>
                  <a:schemeClr val="tx2"/>
                </a:solidFill>
                <a:latin typeface="Lato" charset="0"/>
                <a:ea typeface="Lato" charset="0"/>
                <a:cs typeface="Lato" charset="0"/>
              </a:rPr>
              <a:t>Route</a:t>
            </a:r>
          </a:p>
        </p:txBody>
      </p:sp>
      <p:cxnSp>
        <p:nvCxnSpPr>
          <p:cNvPr id="20" name="Straight Arrow Connector 19"/>
          <p:cNvCxnSpPr/>
          <p:nvPr/>
        </p:nvCxnSpPr>
        <p:spPr>
          <a:xfrm>
            <a:off x="6132147" y="3976423"/>
            <a:ext cx="0" cy="887897"/>
          </a:xfrm>
          <a:prstGeom prst="straightConnector1">
            <a:avLst/>
          </a:prstGeom>
          <a:ln>
            <a:solidFill>
              <a:schemeClr val="tx2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1" name="Rectangle 20"/>
          <p:cNvSpPr/>
          <p:nvPr/>
        </p:nvSpPr>
        <p:spPr>
          <a:xfrm rot="16200000">
            <a:off x="7262796" y="4256890"/>
            <a:ext cx="1802772" cy="32696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67" dirty="0">
                <a:solidFill>
                  <a:schemeClr val="tx2"/>
                </a:solidFill>
              </a:rPr>
              <a:t>Logging, Analytics</a:t>
            </a:r>
          </a:p>
        </p:txBody>
      </p:sp>
      <p:sp>
        <p:nvSpPr>
          <p:cNvPr id="22" name="Rectangle 21"/>
          <p:cNvSpPr/>
          <p:nvPr/>
        </p:nvSpPr>
        <p:spPr>
          <a:xfrm rot="16200000">
            <a:off x="7682819" y="4256890"/>
            <a:ext cx="1802772" cy="32696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67">
                <a:solidFill>
                  <a:schemeClr val="tx2"/>
                </a:solidFill>
              </a:rPr>
              <a:t>Developer Portal</a:t>
            </a:r>
            <a:endParaRPr lang="en-US" sz="1067" dirty="0">
              <a:solidFill>
                <a:schemeClr val="tx2"/>
              </a:solidFill>
            </a:endParaRPr>
          </a:p>
        </p:txBody>
      </p:sp>
      <p:sp>
        <p:nvSpPr>
          <p:cNvPr id="23" name="Rectangle 22"/>
          <p:cNvSpPr/>
          <p:nvPr/>
        </p:nvSpPr>
        <p:spPr>
          <a:xfrm rot="16200000">
            <a:off x="8128941" y="4230790"/>
            <a:ext cx="1802772" cy="379156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67" dirty="0">
                <a:solidFill>
                  <a:schemeClr val="tx2"/>
                </a:solidFill>
              </a:rPr>
              <a:t>Management Dashboard</a:t>
            </a:r>
          </a:p>
        </p:txBody>
      </p:sp>
      <p:sp>
        <p:nvSpPr>
          <p:cNvPr id="24" name="Rectangle 23"/>
          <p:cNvSpPr/>
          <p:nvPr/>
        </p:nvSpPr>
        <p:spPr>
          <a:xfrm>
            <a:off x="4091644" y="3518983"/>
            <a:ext cx="3829545" cy="338167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solidFill>
                <a:schemeClr val="tx2"/>
              </a:solidFill>
            </a:endParaRPr>
          </a:p>
          <a:p>
            <a:pPr algn="ctr"/>
            <a:r>
              <a:rPr lang="en-US" sz="1200" dirty="0">
                <a:solidFill>
                  <a:schemeClr val="tx2"/>
                </a:solidFill>
              </a:rPr>
              <a:t>Data / Process APIs</a:t>
            </a:r>
            <a:endParaRPr lang="en-US" sz="933" dirty="0">
              <a:solidFill>
                <a:schemeClr val="tx2"/>
              </a:solidFill>
            </a:endParaRPr>
          </a:p>
          <a:p>
            <a:pPr algn="ctr"/>
            <a:endParaRPr lang="en-US" sz="1200" dirty="0">
              <a:solidFill>
                <a:schemeClr val="tx2"/>
              </a:solidFill>
            </a:endParaRPr>
          </a:p>
        </p:txBody>
      </p:sp>
      <p:sp>
        <p:nvSpPr>
          <p:cNvPr id="25" name="Rectangle 24"/>
          <p:cNvSpPr/>
          <p:nvPr/>
        </p:nvSpPr>
        <p:spPr>
          <a:xfrm>
            <a:off x="4620614" y="2156956"/>
            <a:ext cx="4096821" cy="353581"/>
          </a:xfrm>
          <a:prstGeom prst="rect">
            <a:avLst/>
          </a:prstGeom>
          <a:noFill/>
          <a:ln>
            <a:solidFill>
              <a:schemeClr val="tx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0" dirty="0">
                <a:solidFill>
                  <a:schemeClr val="tx2"/>
                </a:solidFill>
                <a:latin typeface="Lato" charset="0"/>
                <a:ea typeface="Lato" charset="0"/>
                <a:cs typeface="Lato" charset="0"/>
              </a:rPr>
              <a:t>Consumer Applications / Portals / Mobil Apps</a:t>
            </a:r>
          </a:p>
        </p:txBody>
      </p:sp>
      <p:cxnSp>
        <p:nvCxnSpPr>
          <p:cNvPr id="26" name="Straight Arrow Connector 25"/>
          <p:cNvCxnSpPr/>
          <p:nvPr/>
        </p:nvCxnSpPr>
        <p:spPr>
          <a:xfrm>
            <a:off x="6669026" y="2510537"/>
            <a:ext cx="1" cy="635096"/>
          </a:xfrm>
          <a:prstGeom prst="straightConnector1">
            <a:avLst/>
          </a:prstGeom>
          <a:ln>
            <a:solidFill>
              <a:schemeClr val="tx2"/>
            </a:solidFill>
            <a:headEnd type="triangle"/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9" name="TextBox 28"/>
          <p:cNvSpPr txBox="1"/>
          <p:nvPr/>
        </p:nvSpPr>
        <p:spPr>
          <a:xfrm>
            <a:off x="665880" y="1388547"/>
            <a:ext cx="8752807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1600" dirty="0" smtClean="0">
                <a:latin typeface="Lato" charset="0"/>
                <a:ea typeface="Lato" charset="0"/>
                <a:cs typeface="Lato" charset="0"/>
              </a:rPr>
              <a:t>API Management Products </a:t>
            </a:r>
            <a:r>
              <a:rPr lang="en-US" sz="1600" b="0" dirty="0" smtClean="0">
                <a:latin typeface="Lato" charset="0"/>
                <a:ea typeface="Lato" charset="0"/>
                <a:cs typeface="Lato" charset="0"/>
              </a:rPr>
              <a:t>- Establish </a:t>
            </a:r>
            <a:r>
              <a:rPr lang="en-US" sz="1600" b="0" dirty="0">
                <a:latin typeface="Lato" charset="0"/>
                <a:ea typeface="Lato" charset="0"/>
                <a:cs typeface="Lato" charset="0"/>
              </a:rPr>
              <a:t>a practice for publishing, promoting and overseeing </a:t>
            </a:r>
            <a:r>
              <a:rPr lang="en-US" sz="1600" b="0" dirty="0" smtClean="0">
                <a:latin typeface="Lato" charset="0"/>
                <a:ea typeface="Lato" charset="0"/>
                <a:cs typeface="Lato" charset="0"/>
              </a:rPr>
              <a:t>application </a:t>
            </a:r>
            <a:r>
              <a:rPr lang="en-US" sz="1600" b="0" dirty="0">
                <a:latin typeface="Lato" charset="0"/>
                <a:ea typeface="Lato" charset="0"/>
                <a:cs typeface="Lato" charset="0"/>
              </a:rPr>
              <a:t>programming interfaces (APIs) in a secure, scalable </a:t>
            </a:r>
            <a:r>
              <a:rPr lang="en-US" sz="1600" b="0" dirty="0" smtClean="0">
                <a:latin typeface="Lato" charset="0"/>
                <a:ea typeface="Lato" charset="0"/>
                <a:cs typeface="Lato" charset="0"/>
              </a:rPr>
              <a:t>environment</a:t>
            </a:r>
            <a:r>
              <a:rPr lang="en-US" sz="1600" b="0" dirty="0">
                <a:latin typeface="Lato" charset="0"/>
                <a:ea typeface="Lato" charset="0"/>
                <a:cs typeface="Lato" charset="0"/>
              </a:rPr>
              <a:t>.</a:t>
            </a:r>
          </a:p>
        </p:txBody>
      </p:sp>
      <p:sp>
        <p:nvSpPr>
          <p:cNvPr id="30" name="TextBox 29"/>
          <p:cNvSpPr txBox="1"/>
          <p:nvPr/>
        </p:nvSpPr>
        <p:spPr>
          <a:xfrm>
            <a:off x="665880" y="2564681"/>
            <a:ext cx="3191044" cy="27828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dirty="0">
                <a:latin typeface="Lato" charset="0"/>
                <a:ea typeface="Lato" charset="0"/>
                <a:cs typeface="Lato" charset="0"/>
              </a:rPr>
              <a:t>Capabilities include</a:t>
            </a:r>
            <a:r>
              <a:rPr lang="en-US" dirty="0" smtClean="0">
                <a:latin typeface="Lato" charset="0"/>
                <a:ea typeface="Lato" charset="0"/>
                <a:cs typeface="Lato" charset="0"/>
              </a:rPr>
              <a:t>:</a:t>
            </a:r>
          </a:p>
          <a:p>
            <a:pPr algn="l"/>
            <a:endParaRPr lang="en-US" dirty="0">
              <a:latin typeface="Lato" charset="0"/>
              <a:ea typeface="Lato" charset="0"/>
              <a:cs typeface="Lato" charset="0"/>
            </a:endParaRPr>
          </a:p>
          <a:p>
            <a:pPr marL="742950" lvl="1" indent="-285750" algn="l">
              <a:spcAft>
                <a:spcPts val="500"/>
              </a:spcAft>
              <a:buFont typeface="Arial" charset="0"/>
              <a:buChar char="•"/>
            </a:pPr>
            <a:r>
              <a:rPr lang="en-US" b="0" dirty="0">
                <a:latin typeface="Lato" charset="0"/>
                <a:ea typeface="Lato" charset="0"/>
                <a:cs typeface="Lato" charset="0"/>
              </a:rPr>
              <a:t>Creation of end user support resources that define and document the API</a:t>
            </a:r>
          </a:p>
          <a:p>
            <a:pPr marL="742950" lvl="1" indent="-285750" algn="l">
              <a:spcAft>
                <a:spcPts val="500"/>
              </a:spcAft>
              <a:buFont typeface="Arial" charset="0"/>
              <a:buChar char="•"/>
            </a:pPr>
            <a:r>
              <a:rPr lang="en-US" b="0" dirty="0">
                <a:latin typeface="Lato" charset="0"/>
                <a:ea typeface="Lato" charset="0"/>
                <a:cs typeface="Lato" charset="0"/>
              </a:rPr>
              <a:t>Access controls</a:t>
            </a:r>
          </a:p>
          <a:p>
            <a:pPr marL="742950" lvl="1" indent="-285750" algn="l">
              <a:spcAft>
                <a:spcPts val="500"/>
              </a:spcAft>
              <a:buFont typeface="Arial" charset="0"/>
              <a:buChar char="•"/>
            </a:pPr>
            <a:r>
              <a:rPr lang="en-US" b="0" dirty="0">
                <a:latin typeface="Lato" charset="0"/>
                <a:ea typeface="Lato" charset="0"/>
                <a:cs typeface="Lato" charset="0"/>
              </a:rPr>
              <a:t>Plans</a:t>
            </a:r>
          </a:p>
          <a:p>
            <a:pPr marL="742950" lvl="1" indent="-285750" algn="l">
              <a:spcAft>
                <a:spcPts val="500"/>
              </a:spcAft>
              <a:buFont typeface="Arial" charset="0"/>
              <a:buChar char="•"/>
            </a:pPr>
            <a:r>
              <a:rPr lang="en-US" b="0" dirty="0">
                <a:latin typeface="Lato" charset="0"/>
                <a:ea typeface="Lato" charset="0"/>
                <a:cs typeface="Lato" charset="0"/>
              </a:rPr>
              <a:t>Threshold limits</a:t>
            </a:r>
          </a:p>
          <a:p>
            <a:pPr marL="742950" lvl="1" indent="-285750" algn="l">
              <a:spcAft>
                <a:spcPts val="500"/>
              </a:spcAft>
              <a:buFont typeface="Arial" charset="0"/>
              <a:buChar char="•"/>
            </a:pPr>
            <a:r>
              <a:rPr lang="en-US" b="0" dirty="0">
                <a:latin typeface="Lato" charset="0"/>
                <a:ea typeface="Lato" charset="0"/>
                <a:cs typeface="Lato" charset="0"/>
              </a:rPr>
              <a:t>Design guidance</a:t>
            </a:r>
          </a:p>
          <a:p>
            <a:pPr marL="742950" lvl="1" indent="-285750" algn="l">
              <a:spcAft>
                <a:spcPts val="500"/>
              </a:spcAft>
              <a:buFont typeface="Arial" charset="0"/>
              <a:buChar char="•"/>
            </a:pPr>
            <a:r>
              <a:rPr lang="en-US" b="0" dirty="0">
                <a:latin typeface="Lato" charset="0"/>
                <a:ea typeface="Lato" charset="0"/>
                <a:cs typeface="Lato" charset="0"/>
              </a:rPr>
              <a:t>Analytics of usage and </a:t>
            </a:r>
            <a:r>
              <a:rPr lang="en-US" b="0" dirty="0" smtClean="0">
                <a:latin typeface="Lato" charset="0"/>
                <a:ea typeface="Lato" charset="0"/>
                <a:cs typeface="Lato" charset="0"/>
              </a:rPr>
              <a:t>availability.</a:t>
            </a:r>
            <a:endParaRPr lang="en-US" b="0" dirty="0">
              <a:latin typeface="Lato" charset="0"/>
              <a:ea typeface="Lato" charset="0"/>
              <a:cs typeface="Lato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643225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PI Gateway - Security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151D609-1948-4661-8BC6-AB1E16B109F4}" type="slidenum">
              <a:rPr lang="en-US" smtClean="0"/>
              <a:pPr/>
              <a:t>9</a:t>
            </a:fld>
            <a:endParaRPr lang="en-US" dirty="0"/>
          </a:p>
        </p:txBody>
      </p:sp>
      <p:sp>
        <p:nvSpPr>
          <p:cNvPr id="5" name="Right Arrow 4"/>
          <p:cNvSpPr/>
          <p:nvPr/>
        </p:nvSpPr>
        <p:spPr bwMode="auto">
          <a:xfrm>
            <a:off x="3081070" y="4927365"/>
            <a:ext cx="575193" cy="168813"/>
          </a:xfrm>
          <a:prstGeom prst="rightArrow">
            <a:avLst/>
          </a:prstGeom>
          <a:noFill/>
          <a:ln w="4445" cap="flat" cmpd="sng" algn="ctr">
            <a:solidFill>
              <a:schemeClr val="bg2"/>
            </a:solidFill>
            <a:prstDash val="solid"/>
            <a:round/>
            <a:headEnd type="none" w="lg" len="lg"/>
            <a:tailEnd type="none" w="lg" len="lg"/>
          </a:ln>
          <a:effectLst/>
        </p:spPr>
        <p:txBody>
          <a:bodyPr vert="horz" wrap="none" lIns="91440" tIns="91440" rIns="91440" bIns="9144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6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Lato" charset="0"/>
              <a:ea typeface="Lato" charset="0"/>
              <a:cs typeface="Lato" charset="0"/>
            </a:endParaRPr>
          </a:p>
        </p:txBody>
      </p:sp>
      <p:sp>
        <p:nvSpPr>
          <p:cNvPr id="6" name="Rectangle 5"/>
          <p:cNvSpPr/>
          <p:nvPr/>
        </p:nvSpPr>
        <p:spPr bwMode="auto">
          <a:xfrm>
            <a:off x="1707520" y="4814826"/>
            <a:ext cx="1313682" cy="384641"/>
          </a:xfrm>
          <a:prstGeom prst="rect">
            <a:avLst/>
          </a:prstGeom>
          <a:solidFill>
            <a:srgbClr val="EECCCC"/>
          </a:solidFill>
          <a:ln w="9525" cap="flat" cmpd="sng" algn="ctr">
            <a:solidFill>
              <a:schemeClr val="bg2">
                <a:lumMod val="40000"/>
                <a:lumOff val="60000"/>
              </a:schemeClr>
            </a:solidFill>
            <a:prstDash val="solid"/>
            <a:round/>
            <a:headEnd type="none" w="lg" len="lg"/>
            <a:tailEnd type="none" w="lg" len="lg"/>
          </a:ln>
          <a:effectLst/>
        </p:spPr>
        <p:txBody>
          <a:bodyPr vert="horz" wrap="none" lIns="91440" tIns="91440" rIns="91440" bIns="91440" numCol="1" rtlCol="0" anchor="ctr" anchorCtr="0" compatLnSpc="1">
            <a:prstTxWarp prst="textNoShape">
              <a:avLst/>
            </a:prstTxWarp>
          </a:bodyPr>
          <a:lstStyle/>
          <a:p>
            <a:r>
              <a:rPr lang="en-US" b="0" dirty="0">
                <a:latin typeface="Lato" charset="0"/>
                <a:ea typeface="Lato" charset="0"/>
                <a:cs typeface="Lato" charset="0"/>
              </a:rPr>
              <a:t>Consumers</a:t>
            </a:r>
            <a:endParaRPr kumimoji="0" lang="en-US" sz="14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Lato" charset="0"/>
              <a:ea typeface="Lato" charset="0"/>
              <a:cs typeface="Lato" charset="0"/>
            </a:endParaRPr>
          </a:p>
        </p:txBody>
      </p:sp>
      <p:sp>
        <p:nvSpPr>
          <p:cNvPr id="7" name="Rectangle 6"/>
          <p:cNvSpPr/>
          <p:nvPr/>
        </p:nvSpPr>
        <p:spPr bwMode="auto">
          <a:xfrm>
            <a:off x="3712535" y="4828894"/>
            <a:ext cx="1125414" cy="351693"/>
          </a:xfrm>
          <a:prstGeom prst="rect">
            <a:avLst/>
          </a:prstGeom>
          <a:solidFill>
            <a:srgbClr val="EECCCC"/>
          </a:solidFill>
          <a:ln w="9525" cap="flat" cmpd="sng" algn="ctr">
            <a:solidFill>
              <a:srgbClr val="EECCCC"/>
            </a:solidFill>
            <a:prstDash val="solid"/>
            <a:round/>
            <a:headEnd type="none" w="lg" len="lg"/>
            <a:tailEnd type="none" w="lg" len="lg"/>
          </a:ln>
          <a:effectLst/>
        </p:spPr>
        <p:txBody>
          <a:bodyPr vert="horz" wrap="none" lIns="91440" tIns="91440" rIns="91440" bIns="91440" numCol="1" rtlCol="0" anchor="ctr" anchorCtr="0" compatLnSpc="1">
            <a:prstTxWarp prst="textNoShape">
              <a:avLst/>
            </a:prstTxWarp>
          </a:bodyPr>
          <a:lstStyle/>
          <a:p>
            <a:r>
              <a:rPr lang="en-US" b="0" dirty="0">
                <a:latin typeface="Lato" charset="0"/>
                <a:ea typeface="Lato" charset="0"/>
                <a:cs typeface="Lato" charset="0"/>
              </a:rPr>
              <a:t>Gateway</a:t>
            </a:r>
            <a:endParaRPr kumimoji="0" lang="en-US" sz="14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Lato" charset="0"/>
              <a:ea typeface="Lato" charset="0"/>
              <a:cs typeface="Lato" charset="0"/>
            </a:endParaRPr>
          </a:p>
        </p:txBody>
      </p:sp>
      <p:sp>
        <p:nvSpPr>
          <p:cNvPr id="12" name="Rectangle 11"/>
          <p:cNvSpPr/>
          <p:nvPr/>
        </p:nvSpPr>
        <p:spPr bwMode="auto">
          <a:xfrm>
            <a:off x="6514906" y="4175638"/>
            <a:ext cx="1509668" cy="351693"/>
          </a:xfrm>
          <a:prstGeom prst="rect">
            <a:avLst/>
          </a:prstGeom>
          <a:solidFill>
            <a:srgbClr val="EECCCC"/>
          </a:solidFill>
          <a:ln w="9525" cap="flat" cmpd="sng" algn="ctr">
            <a:solidFill>
              <a:schemeClr val="bg2">
                <a:lumMod val="40000"/>
                <a:lumOff val="60000"/>
              </a:schemeClr>
            </a:solidFill>
            <a:prstDash val="solid"/>
            <a:round/>
            <a:headEnd type="none" w="lg" len="lg"/>
            <a:tailEnd type="none" w="lg" len="lg"/>
          </a:ln>
          <a:effectLst/>
        </p:spPr>
        <p:txBody>
          <a:bodyPr vert="horz" wrap="none" lIns="91440" tIns="91440" rIns="91440" bIns="91440" numCol="1" rtlCol="0" anchor="ctr" anchorCtr="0" compatLnSpc="1">
            <a:prstTxWarp prst="textNoShape">
              <a:avLst/>
            </a:prstTxWarp>
          </a:bodyPr>
          <a:lstStyle/>
          <a:p>
            <a:r>
              <a:rPr lang="en-US" b="0" smtClean="0">
                <a:latin typeface="Lato" charset="0"/>
                <a:ea typeface="Lato" charset="0"/>
                <a:cs typeface="Lato" charset="0"/>
              </a:rPr>
              <a:t>Microservice A</a:t>
            </a:r>
            <a:endParaRPr kumimoji="0" lang="en-US" sz="14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Lato" charset="0"/>
              <a:ea typeface="Lato" charset="0"/>
              <a:cs typeface="Lato" charset="0"/>
            </a:endParaRPr>
          </a:p>
        </p:txBody>
      </p:sp>
      <p:sp>
        <p:nvSpPr>
          <p:cNvPr id="13" name="Rectangle 12"/>
          <p:cNvSpPr/>
          <p:nvPr/>
        </p:nvSpPr>
        <p:spPr bwMode="auto">
          <a:xfrm>
            <a:off x="6514906" y="4744485"/>
            <a:ext cx="1509668" cy="351693"/>
          </a:xfrm>
          <a:prstGeom prst="rect">
            <a:avLst/>
          </a:prstGeom>
          <a:solidFill>
            <a:srgbClr val="EECCCC"/>
          </a:solidFill>
          <a:ln w="9525" cap="flat" cmpd="sng" algn="ctr">
            <a:solidFill>
              <a:schemeClr val="bg2">
                <a:lumMod val="40000"/>
                <a:lumOff val="60000"/>
              </a:schemeClr>
            </a:solidFill>
            <a:prstDash val="solid"/>
            <a:round/>
            <a:headEnd type="none" w="lg" len="lg"/>
            <a:tailEnd type="none" w="lg" len="lg"/>
          </a:ln>
          <a:effectLst/>
        </p:spPr>
        <p:txBody>
          <a:bodyPr vert="horz" wrap="none" lIns="91440" tIns="91440" rIns="91440" bIns="91440" numCol="1" rtlCol="0" anchor="ctr" anchorCtr="0" compatLnSpc="1">
            <a:prstTxWarp prst="textNoShape">
              <a:avLst/>
            </a:prstTxWarp>
          </a:bodyPr>
          <a:lstStyle/>
          <a:p>
            <a:r>
              <a:rPr lang="en-US" b="0" dirty="0" smtClean="0">
                <a:latin typeface="Lato" charset="0"/>
                <a:ea typeface="Lato" charset="0"/>
                <a:cs typeface="Lato" charset="0"/>
              </a:rPr>
              <a:t>Microservice B</a:t>
            </a:r>
            <a:endParaRPr kumimoji="0" lang="en-US" sz="14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Lato" charset="0"/>
              <a:ea typeface="Lato" charset="0"/>
              <a:cs typeface="Lato" charset="0"/>
            </a:endParaRPr>
          </a:p>
        </p:txBody>
      </p:sp>
      <p:sp>
        <p:nvSpPr>
          <p:cNvPr id="14" name="Rectangle 13"/>
          <p:cNvSpPr/>
          <p:nvPr/>
        </p:nvSpPr>
        <p:spPr bwMode="auto">
          <a:xfrm>
            <a:off x="6514906" y="5313332"/>
            <a:ext cx="1509668" cy="351693"/>
          </a:xfrm>
          <a:prstGeom prst="rect">
            <a:avLst/>
          </a:prstGeom>
          <a:solidFill>
            <a:srgbClr val="EECCCC"/>
          </a:solidFill>
          <a:ln w="9525" cap="flat" cmpd="sng" algn="ctr">
            <a:solidFill>
              <a:schemeClr val="bg2">
                <a:lumMod val="40000"/>
                <a:lumOff val="60000"/>
              </a:schemeClr>
            </a:solidFill>
            <a:prstDash val="solid"/>
            <a:round/>
            <a:headEnd type="none" w="lg" len="lg"/>
            <a:tailEnd type="none" w="lg" len="lg"/>
          </a:ln>
          <a:effectLst/>
        </p:spPr>
        <p:txBody>
          <a:bodyPr vert="horz" wrap="none" lIns="91440" tIns="91440" rIns="91440" bIns="91440" numCol="1" rtlCol="0" anchor="ctr" anchorCtr="0" compatLnSpc="1">
            <a:prstTxWarp prst="textNoShape">
              <a:avLst/>
            </a:prstTxWarp>
          </a:bodyPr>
          <a:lstStyle/>
          <a:p>
            <a:r>
              <a:rPr lang="en-US" b="0" dirty="0" smtClean="0">
                <a:latin typeface="Lato" charset="0"/>
                <a:ea typeface="Lato" charset="0"/>
                <a:cs typeface="Lato" charset="0"/>
              </a:rPr>
              <a:t>Microservice C</a:t>
            </a:r>
            <a:endParaRPr kumimoji="0" lang="en-US" sz="14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Lato" charset="0"/>
              <a:ea typeface="Lato" charset="0"/>
              <a:cs typeface="Lato" charset="0"/>
            </a:endParaRPr>
          </a:p>
        </p:txBody>
      </p:sp>
      <p:sp>
        <p:nvSpPr>
          <p:cNvPr id="15" name="Rectangle 14"/>
          <p:cNvSpPr/>
          <p:nvPr/>
        </p:nvSpPr>
        <p:spPr bwMode="auto">
          <a:xfrm>
            <a:off x="6514906" y="5882179"/>
            <a:ext cx="1509668" cy="351693"/>
          </a:xfrm>
          <a:prstGeom prst="rect">
            <a:avLst/>
          </a:prstGeom>
          <a:solidFill>
            <a:srgbClr val="EECCCC"/>
          </a:solidFill>
          <a:ln w="9525" cap="flat" cmpd="sng" algn="ctr">
            <a:solidFill>
              <a:schemeClr val="bg2">
                <a:lumMod val="40000"/>
                <a:lumOff val="60000"/>
              </a:schemeClr>
            </a:solidFill>
            <a:prstDash val="solid"/>
            <a:round/>
            <a:headEnd type="none" w="lg" len="lg"/>
            <a:tailEnd type="none" w="lg" len="lg"/>
          </a:ln>
          <a:effectLst/>
        </p:spPr>
        <p:txBody>
          <a:bodyPr vert="horz" wrap="none" lIns="91440" tIns="91440" rIns="91440" bIns="91440" numCol="1" rtlCol="0" anchor="ctr" anchorCtr="0" compatLnSpc="1">
            <a:prstTxWarp prst="textNoShape">
              <a:avLst/>
            </a:prstTxWarp>
          </a:bodyPr>
          <a:lstStyle/>
          <a:p>
            <a:r>
              <a:rPr lang="en-US" b="0" dirty="0" smtClean="0">
                <a:latin typeface="Lato" charset="0"/>
                <a:ea typeface="Lato" charset="0"/>
                <a:cs typeface="Lato" charset="0"/>
              </a:rPr>
              <a:t>Microservice D</a:t>
            </a:r>
            <a:endParaRPr kumimoji="0" lang="en-US" sz="14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Lato" charset="0"/>
              <a:ea typeface="Lato" charset="0"/>
              <a:cs typeface="Lato" charset="0"/>
            </a:endParaRPr>
          </a:p>
        </p:txBody>
      </p:sp>
      <p:sp>
        <p:nvSpPr>
          <p:cNvPr id="16" name="Arc 15"/>
          <p:cNvSpPr/>
          <p:nvPr/>
        </p:nvSpPr>
        <p:spPr bwMode="auto">
          <a:xfrm rot="9964088" flipV="1">
            <a:off x="4880536" y="4503312"/>
            <a:ext cx="3263488" cy="224494"/>
          </a:xfrm>
          <a:prstGeom prst="arc">
            <a:avLst/>
          </a:prstGeom>
          <a:noFill/>
          <a:ln w="9525" cap="flat" cmpd="sng" algn="ctr">
            <a:solidFill>
              <a:schemeClr val="bg2"/>
            </a:solidFill>
            <a:prstDash val="solid"/>
            <a:round/>
            <a:headEnd type="none" w="lg" len="lg"/>
            <a:tailEnd type="none" w="lg" len="lg"/>
          </a:ln>
          <a:effectLst/>
        </p:spPr>
        <p:txBody>
          <a:bodyPr vert="horz" wrap="none" lIns="91440" tIns="91440" rIns="91440" bIns="9144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cs typeface="Arial" charset="0"/>
            </a:endParaRPr>
          </a:p>
        </p:txBody>
      </p:sp>
      <p:sp>
        <p:nvSpPr>
          <p:cNvPr id="17" name="Arc 16"/>
          <p:cNvSpPr/>
          <p:nvPr/>
        </p:nvSpPr>
        <p:spPr bwMode="auto">
          <a:xfrm rot="10536822" flipV="1">
            <a:off x="3827402" y="4357130"/>
            <a:ext cx="5755371" cy="702296"/>
          </a:xfrm>
          <a:prstGeom prst="arc">
            <a:avLst>
              <a:gd name="adj1" fmla="val 17800781"/>
              <a:gd name="adj2" fmla="val 21055022"/>
            </a:avLst>
          </a:prstGeom>
          <a:noFill/>
          <a:ln w="9525" cap="flat" cmpd="sng" algn="ctr">
            <a:solidFill>
              <a:schemeClr val="bg2"/>
            </a:solidFill>
            <a:prstDash val="solid"/>
            <a:round/>
            <a:headEnd type="none" w="lg" len="lg"/>
            <a:tailEnd type="none" w="lg" len="lg"/>
          </a:ln>
          <a:effectLst/>
        </p:spPr>
        <p:txBody>
          <a:bodyPr vert="horz" wrap="none" lIns="91440" tIns="91440" rIns="91440" bIns="9144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cs typeface="Arial" charset="0"/>
            </a:endParaRPr>
          </a:p>
        </p:txBody>
      </p:sp>
      <p:sp>
        <p:nvSpPr>
          <p:cNvPr id="18" name="Rounded Rectangle 17"/>
          <p:cNvSpPr/>
          <p:nvPr/>
        </p:nvSpPr>
        <p:spPr bwMode="auto">
          <a:xfrm>
            <a:off x="3791390" y="6100201"/>
            <a:ext cx="2557359" cy="237067"/>
          </a:xfrm>
          <a:prstGeom prst="roundRect">
            <a:avLst/>
          </a:prstGeom>
          <a:noFill/>
          <a:ln w="28575" cap="flat" cmpd="sng" algn="ctr">
            <a:solidFill>
              <a:schemeClr val="bg2"/>
            </a:solidFill>
            <a:prstDash val="solid"/>
            <a:round/>
            <a:headEnd type="none" w="lg" len="lg"/>
            <a:tailEnd type="none" w="lg" len="lg"/>
          </a:ln>
          <a:effectLst/>
        </p:spPr>
        <p:txBody>
          <a:bodyPr vert="horz" wrap="none" lIns="91440" tIns="91440" rIns="91440" bIns="9144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1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Lato" charset="0"/>
                <a:ea typeface="Lato" charset="0"/>
                <a:cs typeface="Lato" charset="0"/>
              </a:rPr>
              <a:t>JWT processing at each Microservice</a:t>
            </a:r>
          </a:p>
        </p:txBody>
      </p:sp>
      <p:sp>
        <p:nvSpPr>
          <p:cNvPr id="19" name="Arc 18"/>
          <p:cNvSpPr/>
          <p:nvPr/>
        </p:nvSpPr>
        <p:spPr bwMode="auto">
          <a:xfrm rot="9952782" flipV="1">
            <a:off x="5261218" y="4540786"/>
            <a:ext cx="2672164" cy="191610"/>
          </a:xfrm>
          <a:prstGeom prst="arc">
            <a:avLst>
              <a:gd name="adj1" fmla="val 16200000"/>
              <a:gd name="adj2" fmla="val 2259039"/>
            </a:avLst>
          </a:prstGeom>
          <a:noFill/>
          <a:ln w="9525" cap="flat" cmpd="sng" algn="ctr">
            <a:solidFill>
              <a:schemeClr val="bg2"/>
            </a:solidFill>
            <a:prstDash val="dashDot"/>
            <a:round/>
            <a:headEnd type="none" w="lg" len="lg"/>
            <a:tailEnd type="none" w="lg" len="lg"/>
          </a:ln>
          <a:effectLst/>
        </p:spPr>
        <p:txBody>
          <a:bodyPr vert="horz" wrap="none" lIns="91440" tIns="91440" rIns="91440" bIns="9144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cs typeface="Arial" charset="0"/>
            </a:endParaRPr>
          </a:p>
        </p:txBody>
      </p:sp>
      <p:cxnSp>
        <p:nvCxnSpPr>
          <p:cNvPr id="20" name="Straight Arrow Connector 121"/>
          <p:cNvCxnSpPr/>
          <p:nvPr/>
        </p:nvCxnSpPr>
        <p:spPr bwMode="auto">
          <a:xfrm>
            <a:off x="8024574" y="4267077"/>
            <a:ext cx="12700" cy="211094"/>
          </a:xfrm>
          <a:prstGeom prst="bentConnector4">
            <a:avLst>
              <a:gd name="adj1" fmla="val 2187693"/>
              <a:gd name="adj2" fmla="val 91651"/>
            </a:avLst>
          </a:prstGeom>
          <a:solidFill>
            <a:schemeClr val="accent1"/>
          </a:solidFill>
          <a:ln w="9525" cap="flat" cmpd="sng" algn="ctr">
            <a:solidFill>
              <a:schemeClr val="bg2"/>
            </a:solidFill>
            <a:prstDash val="sysDot"/>
            <a:round/>
            <a:headEnd type="triangle"/>
            <a:tailEnd type="triangle"/>
          </a:ln>
          <a:effectLst/>
        </p:spPr>
      </p:cxnSp>
      <p:sp>
        <p:nvSpPr>
          <p:cNvPr id="21" name="Rectangle 20"/>
          <p:cNvSpPr/>
          <p:nvPr/>
        </p:nvSpPr>
        <p:spPr bwMode="auto">
          <a:xfrm>
            <a:off x="3368665" y="3425558"/>
            <a:ext cx="1730873" cy="293590"/>
          </a:xfrm>
          <a:prstGeom prst="rect">
            <a:avLst/>
          </a:prstGeom>
          <a:solidFill>
            <a:srgbClr val="EECCCC"/>
          </a:solidFill>
          <a:ln w="9525" cap="flat" cmpd="sng" algn="ctr">
            <a:solidFill>
              <a:srgbClr val="EECCCC"/>
            </a:solidFill>
            <a:prstDash val="solid"/>
            <a:round/>
            <a:headEnd type="none" w="lg" len="lg"/>
            <a:tailEnd type="none" w="lg" len="lg"/>
          </a:ln>
          <a:effectLst/>
        </p:spPr>
        <p:txBody>
          <a:bodyPr vert="horz" wrap="none" lIns="91440" tIns="91440" rIns="91440" bIns="91440" numCol="1" rtlCol="0" anchor="ctr" anchorCtr="0" compatLnSpc="1">
            <a:prstTxWarp prst="textNoShape">
              <a:avLst/>
            </a:prstTxWarp>
          </a:bodyPr>
          <a:lstStyle/>
          <a:p>
            <a:r>
              <a:rPr lang="en-US" sz="1200" b="0" dirty="0" smtClean="0">
                <a:latin typeface="Lato" charset="0"/>
                <a:ea typeface="Lato" charset="0"/>
                <a:cs typeface="Lato" charset="0"/>
              </a:rPr>
              <a:t>Authorization Server</a:t>
            </a:r>
            <a:endParaRPr kumimoji="0" lang="en-US" sz="12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Lato" charset="0"/>
              <a:ea typeface="Lato" charset="0"/>
              <a:cs typeface="Lato" charset="0"/>
            </a:endParaRPr>
          </a:p>
        </p:txBody>
      </p:sp>
      <p:sp>
        <p:nvSpPr>
          <p:cNvPr id="22" name="Right Arrow 21"/>
          <p:cNvSpPr/>
          <p:nvPr/>
        </p:nvSpPr>
        <p:spPr bwMode="auto">
          <a:xfrm rot="5400000">
            <a:off x="3775451" y="4225742"/>
            <a:ext cx="993580" cy="140208"/>
          </a:xfrm>
          <a:prstGeom prst="rightArrow">
            <a:avLst/>
          </a:prstGeom>
          <a:noFill/>
          <a:ln w="4445" cap="flat" cmpd="sng" algn="ctr">
            <a:solidFill>
              <a:schemeClr val="bg2"/>
            </a:solidFill>
            <a:prstDash val="solid"/>
            <a:round/>
            <a:headEnd type="none" w="lg" len="lg"/>
            <a:tailEnd type="none" w="lg" len="lg"/>
          </a:ln>
          <a:effectLst/>
        </p:spPr>
        <p:txBody>
          <a:bodyPr vert="horz" wrap="none" lIns="91440" tIns="91440" rIns="91440" bIns="9144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6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Lato" charset="0"/>
              <a:ea typeface="Lato" charset="0"/>
              <a:cs typeface="Lato" charset="0"/>
            </a:endParaRPr>
          </a:p>
        </p:txBody>
      </p:sp>
      <p:sp>
        <p:nvSpPr>
          <p:cNvPr id="23" name="Right Arrow 22"/>
          <p:cNvSpPr/>
          <p:nvPr/>
        </p:nvSpPr>
        <p:spPr bwMode="auto">
          <a:xfrm rot="16200000">
            <a:off x="3405785" y="4209569"/>
            <a:ext cx="993580" cy="140208"/>
          </a:xfrm>
          <a:prstGeom prst="rightArrow">
            <a:avLst/>
          </a:prstGeom>
          <a:noFill/>
          <a:ln w="4445" cap="flat" cmpd="sng" algn="ctr">
            <a:solidFill>
              <a:schemeClr val="bg2"/>
            </a:solidFill>
            <a:prstDash val="solid"/>
            <a:round/>
            <a:headEnd type="none" w="lg" len="lg"/>
            <a:tailEnd type="none" w="lg" len="lg"/>
          </a:ln>
          <a:effectLst/>
        </p:spPr>
        <p:txBody>
          <a:bodyPr vert="horz" wrap="none" lIns="91440" tIns="91440" rIns="91440" bIns="9144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6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Lato" charset="0"/>
              <a:ea typeface="Lato" charset="0"/>
              <a:cs typeface="Lato" charset="0"/>
            </a:endParaRPr>
          </a:p>
        </p:txBody>
      </p:sp>
      <p:sp>
        <p:nvSpPr>
          <p:cNvPr id="24" name="Can 23"/>
          <p:cNvSpPr/>
          <p:nvPr/>
        </p:nvSpPr>
        <p:spPr bwMode="auto">
          <a:xfrm>
            <a:off x="5485797" y="3293628"/>
            <a:ext cx="439615" cy="506511"/>
          </a:xfrm>
          <a:prstGeom prst="can">
            <a:avLst/>
          </a:prstGeom>
          <a:solidFill>
            <a:schemeClr val="bg1">
              <a:lumMod val="65000"/>
            </a:schemeClr>
          </a:solidFill>
          <a:ln w="9525" cap="flat" cmpd="sng" algn="ctr">
            <a:noFill/>
            <a:prstDash val="solid"/>
            <a:round/>
            <a:headEnd type="none" w="lg" len="lg"/>
            <a:tailEnd type="none" w="lg" len="lg"/>
          </a:ln>
          <a:effectLst/>
        </p:spPr>
        <p:txBody>
          <a:bodyPr vert="horz" wrap="none" lIns="91440" tIns="91440" rIns="91440" bIns="9144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cs typeface="Arial" charset="0"/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5337554" y="3780368"/>
            <a:ext cx="736099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b="0" smtClean="0">
                <a:latin typeface="Lato" charset="0"/>
                <a:ea typeface="Lato" charset="0"/>
                <a:cs typeface="Lato" charset="0"/>
              </a:rPr>
              <a:t>User Store</a:t>
            </a:r>
            <a:endParaRPr lang="en-US" sz="900" b="0">
              <a:latin typeface="Lato" charset="0"/>
              <a:ea typeface="Lato" charset="0"/>
              <a:cs typeface="Lato" charset="0"/>
            </a:endParaRPr>
          </a:p>
        </p:txBody>
      </p:sp>
      <p:sp>
        <p:nvSpPr>
          <p:cNvPr id="26" name="Right Arrow 25"/>
          <p:cNvSpPr/>
          <p:nvPr/>
        </p:nvSpPr>
        <p:spPr bwMode="auto">
          <a:xfrm>
            <a:off x="5155524" y="3511425"/>
            <a:ext cx="274286" cy="122677"/>
          </a:xfrm>
          <a:prstGeom prst="rightArrow">
            <a:avLst/>
          </a:prstGeom>
          <a:noFill/>
          <a:ln w="4445" cap="flat" cmpd="sng" algn="ctr">
            <a:solidFill>
              <a:schemeClr val="bg2"/>
            </a:solidFill>
            <a:prstDash val="solid"/>
            <a:round/>
            <a:headEnd type="none" w="lg" len="lg"/>
            <a:tailEnd type="none" w="lg" len="lg"/>
          </a:ln>
          <a:effectLst/>
        </p:spPr>
        <p:txBody>
          <a:bodyPr vert="horz" wrap="none" lIns="91440" tIns="91440" rIns="91440" bIns="9144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6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Lato" charset="0"/>
              <a:ea typeface="Lato" charset="0"/>
              <a:cs typeface="Lato" charset="0"/>
            </a:endParaRPr>
          </a:p>
        </p:txBody>
      </p:sp>
      <p:sp>
        <p:nvSpPr>
          <p:cNvPr id="27" name="TextBox 26"/>
          <p:cNvSpPr txBox="1"/>
          <p:nvPr/>
        </p:nvSpPr>
        <p:spPr>
          <a:xfrm>
            <a:off x="3140714" y="4201919"/>
            <a:ext cx="726482" cy="2000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700" b="0" dirty="0" smtClean="0">
                <a:latin typeface="Lato" charset="0"/>
                <a:ea typeface="Lato" charset="0"/>
                <a:cs typeface="Lato" charset="0"/>
              </a:rPr>
              <a:t>Access Token</a:t>
            </a:r>
            <a:endParaRPr lang="en-US" sz="700" b="0" dirty="0">
              <a:latin typeface="Lato" charset="0"/>
              <a:ea typeface="Lato" charset="0"/>
              <a:cs typeface="Lato" charset="0"/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4303162" y="4096712"/>
            <a:ext cx="898003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700" b="0" dirty="0" smtClean="0">
                <a:latin typeface="Lato" charset="0"/>
                <a:ea typeface="Lato" charset="0"/>
                <a:cs typeface="Lato" charset="0"/>
              </a:rPr>
              <a:t>JWT </a:t>
            </a:r>
          </a:p>
          <a:p>
            <a:r>
              <a:rPr lang="en-US" sz="700" b="0" dirty="0" smtClean="0">
                <a:latin typeface="Lato" charset="0"/>
                <a:ea typeface="Lato" charset="0"/>
                <a:cs typeface="Lato" charset="0"/>
              </a:rPr>
              <a:t>(Claims &amp; Policies)</a:t>
            </a:r>
            <a:endParaRPr lang="en-US" sz="700" b="0" dirty="0">
              <a:latin typeface="Lato" charset="0"/>
              <a:ea typeface="Lato" charset="0"/>
              <a:cs typeface="Lato" charset="0"/>
            </a:endParaRPr>
          </a:p>
        </p:txBody>
      </p:sp>
      <p:sp>
        <p:nvSpPr>
          <p:cNvPr id="29" name="Rounded Rectangle 28"/>
          <p:cNvSpPr/>
          <p:nvPr/>
        </p:nvSpPr>
        <p:spPr bwMode="auto">
          <a:xfrm>
            <a:off x="6418350" y="4061121"/>
            <a:ext cx="339966" cy="126344"/>
          </a:xfrm>
          <a:prstGeom prst="roundRect">
            <a:avLst/>
          </a:prstGeom>
          <a:noFill/>
          <a:ln w="9525" cap="flat" cmpd="sng" algn="ctr">
            <a:solidFill>
              <a:schemeClr val="bg2"/>
            </a:solidFill>
            <a:prstDash val="solid"/>
            <a:round/>
            <a:headEnd type="none" w="lg" len="lg"/>
            <a:tailEnd type="none" w="lg" len="lg"/>
          </a:ln>
          <a:effectLst/>
        </p:spPr>
        <p:txBody>
          <a:bodyPr vert="horz" wrap="none" lIns="91440" tIns="91440" rIns="91440" bIns="9144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5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Lato" charset="0"/>
                <a:ea typeface="Lato" charset="0"/>
                <a:cs typeface="Lato" charset="0"/>
              </a:rPr>
              <a:t>Rest API</a:t>
            </a:r>
          </a:p>
        </p:txBody>
      </p:sp>
      <p:sp>
        <p:nvSpPr>
          <p:cNvPr id="30" name="Rounded Rectangle 29"/>
          <p:cNvSpPr/>
          <p:nvPr/>
        </p:nvSpPr>
        <p:spPr bwMode="auto">
          <a:xfrm>
            <a:off x="6416431" y="5207458"/>
            <a:ext cx="339966" cy="126344"/>
          </a:xfrm>
          <a:prstGeom prst="roundRect">
            <a:avLst/>
          </a:prstGeom>
          <a:noFill/>
          <a:ln w="9525" cap="flat" cmpd="sng" algn="ctr">
            <a:solidFill>
              <a:schemeClr val="bg2"/>
            </a:solidFill>
            <a:prstDash val="solid"/>
            <a:round/>
            <a:headEnd type="none" w="lg" len="lg"/>
            <a:tailEnd type="none" w="lg" len="lg"/>
          </a:ln>
          <a:effectLst/>
        </p:spPr>
        <p:txBody>
          <a:bodyPr vert="horz" wrap="none" lIns="91440" tIns="91440" rIns="91440" bIns="9144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5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Lato" charset="0"/>
                <a:ea typeface="Lato" charset="0"/>
                <a:cs typeface="Lato" charset="0"/>
              </a:rPr>
              <a:t>Rest API</a:t>
            </a:r>
          </a:p>
        </p:txBody>
      </p:sp>
      <p:sp>
        <p:nvSpPr>
          <p:cNvPr id="31" name="Rounded Rectangle 30"/>
          <p:cNvSpPr/>
          <p:nvPr/>
        </p:nvSpPr>
        <p:spPr bwMode="auto">
          <a:xfrm>
            <a:off x="6393794" y="4639344"/>
            <a:ext cx="339966" cy="126344"/>
          </a:xfrm>
          <a:prstGeom prst="roundRect">
            <a:avLst/>
          </a:prstGeom>
          <a:noFill/>
          <a:ln w="9525" cap="flat" cmpd="sng" algn="ctr">
            <a:solidFill>
              <a:schemeClr val="bg2"/>
            </a:solidFill>
            <a:prstDash val="solid"/>
            <a:round/>
            <a:headEnd type="none" w="lg" len="lg"/>
            <a:tailEnd type="none" w="lg" len="lg"/>
          </a:ln>
          <a:effectLst/>
        </p:spPr>
        <p:txBody>
          <a:bodyPr vert="horz" wrap="none" lIns="91440" tIns="91440" rIns="91440" bIns="9144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5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Lato" charset="0"/>
                <a:ea typeface="Lato" charset="0"/>
                <a:cs typeface="Lato" charset="0"/>
              </a:rPr>
              <a:t>Rest API</a:t>
            </a:r>
          </a:p>
        </p:txBody>
      </p:sp>
      <p:sp>
        <p:nvSpPr>
          <p:cNvPr id="32" name="Rounded Rectangle 31"/>
          <p:cNvSpPr/>
          <p:nvPr/>
        </p:nvSpPr>
        <p:spPr bwMode="auto">
          <a:xfrm>
            <a:off x="6379030" y="5769614"/>
            <a:ext cx="339966" cy="126344"/>
          </a:xfrm>
          <a:prstGeom prst="roundRect">
            <a:avLst/>
          </a:prstGeom>
          <a:noFill/>
          <a:ln w="9525" cap="flat" cmpd="sng" algn="ctr">
            <a:solidFill>
              <a:schemeClr val="bg2"/>
            </a:solidFill>
            <a:prstDash val="solid"/>
            <a:round/>
            <a:headEnd type="none" w="lg" len="lg"/>
            <a:tailEnd type="none" w="lg" len="lg"/>
          </a:ln>
          <a:effectLst/>
        </p:spPr>
        <p:txBody>
          <a:bodyPr vert="horz" wrap="none" lIns="91440" tIns="91440" rIns="91440" bIns="9144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5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Lato" charset="0"/>
                <a:ea typeface="Lato" charset="0"/>
                <a:cs typeface="Lato" charset="0"/>
              </a:rPr>
              <a:t>Rest API</a:t>
            </a:r>
          </a:p>
        </p:txBody>
      </p:sp>
      <p:sp>
        <p:nvSpPr>
          <p:cNvPr id="33" name="Arc 32"/>
          <p:cNvSpPr/>
          <p:nvPr/>
        </p:nvSpPr>
        <p:spPr bwMode="auto">
          <a:xfrm rot="807740" flipV="1">
            <a:off x="1831775" y="4467416"/>
            <a:ext cx="6001910" cy="650441"/>
          </a:xfrm>
          <a:prstGeom prst="arc">
            <a:avLst>
              <a:gd name="adj1" fmla="val 17800781"/>
              <a:gd name="adj2" fmla="val 21055022"/>
            </a:avLst>
          </a:prstGeom>
          <a:noFill/>
          <a:ln w="9525" cap="flat" cmpd="sng" algn="ctr">
            <a:solidFill>
              <a:schemeClr val="bg2"/>
            </a:solidFill>
            <a:prstDash val="solid"/>
            <a:round/>
            <a:headEnd type="none" w="lg" len="lg"/>
            <a:tailEnd type="none" w="lg" len="lg"/>
          </a:ln>
          <a:effectLst/>
        </p:spPr>
        <p:txBody>
          <a:bodyPr vert="horz" wrap="none" lIns="91440" tIns="91440" rIns="91440" bIns="9144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cs typeface="Arial" charset="0"/>
            </a:endParaRPr>
          </a:p>
        </p:txBody>
      </p:sp>
      <p:sp>
        <p:nvSpPr>
          <p:cNvPr id="34" name="Arc 33"/>
          <p:cNvSpPr/>
          <p:nvPr/>
        </p:nvSpPr>
        <p:spPr bwMode="auto">
          <a:xfrm rot="1727593" flipV="1">
            <a:off x="1921817" y="4368290"/>
            <a:ext cx="6001910" cy="818822"/>
          </a:xfrm>
          <a:prstGeom prst="arc">
            <a:avLst>
              <a:gd name="adj1" fmla="val 17800781"/>
              <a:gd name="adj2" fmla="val 21055022"/>
            </a:avLst>
          </a:prstGeom>
          <a:noFill/>
          <a:ln w="9525" cap="flat" cmpd="sng" algn="ctr">
            <a:solidFill>
              <a:schemeClr val="bg2"/>
            </a:solidFill>
            <a:prstDash val="solid"/>
            <a:round/>
            <a:headEnd type="none" w="lg" len="lg"/>
            <a:tailEnd type="none" w="lg" len="lg"/>
          </a:ln>
          <a:effectLst/>
        </p:spPr>
        <p:txBody>
          <a:bodyPr vert="horz" wrap="none" lIns="91440" tIns="91440" rIns="91440" bIns="9144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cs typeface="Arial" charset="0"/>
            </a:endParaRPr>
          </a:p>
        </p:txBody>
      </p:sp>
      <p:sp>
        <p:nvSpPr>
          <p:cNvPr id="35" name="TextBox 34"/>
          <p:cNvSpPr txBox="1"/>
          <p:nvPr/>
        </p:nvSpPr>
        <p:spPr>
          <a:xfrm>
            <a:off x="645333" y="1263476"/>
            <a:ext cx="8554878" cy="21929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 algn="l">
              <a:buFont typeface="Arial" charset="0"/>
              <a:buChar char="•"/>
            </a:pPr>
            <a:r>
              <a:rPr lang="en-US" sz="1050" b="0" dirty="0">
                <a:latin typeface="Lato" charset="0"/>
                <a:ea typeface="Lato" charset="0"/>
                <a:cs typeface="Lato" charset="0"/>
              </a:rPr>
              <a:t>Use the API-gateway style in which there is a single entry point for all client requests</a:t>
            </a:r>
            <a:r>
              <a:rPr lang="en-US" sz="1050" b="0" dirty="0" smtClean="0">
                <a:latin typeface="Lato" charset="0"/>
                <a:ea typeface="Lato" charset="0"/>
                <a:cs typeface="Lato" charset="0"/>
              </a:rPr>
              <a:t>.</a:t>
            </a:r>
          </a:p>
          <a:p>
            <a:pPr marL="171450" indent="-171450" algn="l">
              <a:buFont typeface="Arial" charset="0"/>
              <a:buChar char="•"/>
            </a:pPr>
            <a:endParaRPr lang="en-US" sz="1050" b="0" dirty="0" smtClean="0">
              <a:latin typeface="Lato" charset="0"/>
              <a:ea typeface="Lato" charset="0"/>
              <a:cs typeface="Lato" charset="0"/>
            </a:endParaRPr>
          </a:p>
          <a:p>
            <a:pPr marL="171450" indent="-171450" algn="l">
              <a:buFont typeface="Arial" charset="0"/>
              <a:buChar char="•"/>
            </a:pPr>
            <a:r>
              <a:rPr lang="en-US" sz="1050" b="0" dirty="0" smtClean="0">
                <a:latin typeface="Lato" charset="0"/>
                <a:ea typeface="Lato" charset="0"/>
                <a:cs typeface="Lato" charset="0"/>
              </a:rPr>
              <a:t>Client </a:t>
            </a:r>
            <a:r>
              <a:rPr lang="en-US" sz="1050" b="0" dirty="0">
                <a:latin typeface="Lato" charset="0"/>
                <a:ea typeface="Lato" charset="0"/>
                <a:cs typeface="Lato" charset="0"/>
              </a:rPr>
              <a:t>connects to the authorization server and obtains the access token </a:t>
            </a:r>
            <a:r>
              <a:rPr lang="en-US" sz="1050" b="0" dirty="0" smtClean="0">
                <a:latin typeface="Lato" charset="0"/>
                <a:ea typeface="Lato" charset="0"/>
                <a:cs typeface="Lato" charset="0"/>
              </a:rPr>
              <a:t>(by reference </a:t>
            </a:r>
            <a:r>
              <a:rPr lang="en-US" sz="1050" b="0" dirty="0">
                <a:latin typeface="Lato" charset="0"/>
                <a:ea typeface="Lato" charset="0"/>
                <a:cs typeface="Lato" charset="0"/>
              </a:rPr>
              <a:t>token). Then send the access token to the API-gateway along with the request. </a:t>
            </a:r>
          </a:p>
          <a:p>
            <a:pPr marL="171450" indent="-171450" algn="l">
              <a:buFont typeface="Arial" charset="0"/>
              <a:buChar char="•"/>
            </a:pPr>
            <a:endParaRPr lang="en-US" sz="1050" b="0" dirty="0">
              <a:latin typeface="Lato" charset="0"/>
              <a:ea typeface="Lato" charset="0"/>
              <a:cs typeface="Lato" charset="0"/>
            </a:endParaRPr>
          </a:p>
          <a:p>
            <a:pPr marL="171450" indent="-171450" algn="l">
              <a:buFont typeface="Arial" charset="0"/>
              <a:buChar char="•"/>
            </a:pPr>
            <a:r>
              <a:rPr lang="en-US" sz="1050" b="0" dirty="0" smtClean="0">
                <a:latin typeface="Lato" charset="0"/>
                <a:ea typeface="Lato" charset="0"/>
                <a:cs typeface="Lato" charset="0"/>
              </a:rPr>
              <a:t>Token </a:t>
            </a:r>
            <a:r>
              <a:rPr lang="en-US" sz="1050" b="0" dirty="0">
                <a:latin typeface="Lato" charset="0"/>
                <a:ea typeface="Lato" charset="0"/>
                <a:cs typeface="Lato" charset="0"/>
              </a:rPr>
              <a:t>translation at the gateway - API-gateway extracts the access token and sends it to the authorization server to retrieve the JWT (by value-token). </a:t>
            </a:r>
          </a:p>
          <a:p>
            <a:pPr marL="171450" indent="-171450" algn="l">
              <a:buFont typeface="Arial" charset="0"/>
              <a:buChar char="•"/>
            </a:pPr>
            <a:endParaRPr lang="en-US" sz="1050" b="0" dirty="0" smtClean="0">
              <a:latin typeface="Lato" charset="0"/>
              <a:ea typeface="Lato" charset="0"/>
              <a:cs typeface="Lato" charset="0"/>
            </a:endParaRPr>
          </a:p>
          <a:p>
            <a:pPr marL="171450" indent="-171450" algn="l">
              <a:buFont typeface="Arial" charset="0"/>
              <a:buChar char="•"/>
            </a:pPr>
            <a:r>
              <a:rPr lang="en-US" sz="1050" b="0" dirty="0" smtClean="0">
                <a:latin typeface="Lato" charset="0"/>
                <a:ea typeface="Lato" charset="0"/>
                <a:cs typeface="Lato" charset="0"/>
              </a:rPr>
              <a:t>The </a:t>
            </a:r>
            <a:r>
              <a:rPr lang="en-US" sz="1050" b="0" dirty="0">
                <a:latin typeface="Lato" charset="0"/>
                <a:ea typeface="Lato" charset="0"/>
                <a:cs typeface="Lato" charset="0"/>
              </a:rPr>
              <a:t>gateway passes this JWT along with the request to the </a:t>
            </a:r>
            <a:r>
              <a:rPr lang="en-US" sz="1050" b="0" dirty="0" smtClean="0">
                <a:latin typeface="Lato" charset="0"/>
                <a:ea typeface="Lato" charset="0"/>
                <a:cs typeface="Lato" charset="0"/>
              </a:rPr>
              <a:t>Microservices </a:t>
            </a:r>
            <a:r>
              <a:rPr lang="en-US" sz="1050" b="0" dirty="0">
                <a:latin typeface="Lato" charset="0"/>
                <a:ea typeface="Lato" charset="0"/>
                <a:cs typeface="Lato" charset="0"/>
              </a:rPr>
              <a:t>layer. </a:t>
            </a:r>
          </a:p>
          <a:p>
            <a:pPr marL="171450" indent="-171450" algn="l">
              <a:buFont typeface="Arial" charset="0"/>
              <a:buChar char="•"/>
            </a:pPr>
            <a:endParaRPr lang="en-US" sz="1050" b="0" dirty="0" smtClean="0">
              <a:latin typeface="Lato" charset="0"/>
              <a:ea typeface="Lato" charset="0"/>
              <a:cs typeface="Lato" charset="0"/>
            </a:endParaRPr>
          </a:p>
          <a:p>
            <a:pPr marL="171450" indent="-171450" algn="l">
              <a:buFont typeface="Arial" charset="0"/>
              <a:buChar char="•"/>
            </a:pPr>
            <a:r>
              <a:rPr lang="en-US" sz="1050" b="0" dirty="0" smtClean="0">
                <a:latin typeface="Lato" charset="0"/>
                <a:ea typeface="Lato" charset="0"/>
                <a:cs typeface="Lato" charset="0"/>
              </a:rPr>
              <a:t>JWTs </a:t>
            </a:r>
            <a:r>
              <a:rPr lang="en-US" sz="1050" b="0" dirty="0">
                <a:latin typeface="Lato" charset="0"/>
                <a:ea typeface="Lato" charset="0"/>
                <a:cs typeface="Lato" charset="0"/>
              </a:rPr>
              <a:t>contains the necessary information to help in storing user sessions, etc. If each service can understand a JSON web token, then you have distributed your identity mechanism that’s allowing you to transport identity throughout your system</a:t>
            </a:r>
            <a:r>
              <a:rPr lang="en-US" sz="1050" b="0" dirty="0" smtClean="0">
                <a:latin typeface="Lato" charset="0"/>
                <a:ea typeface="Lato" charset="0"/>
                <a:cs typeface="Lato" charset="0"/>
              </a:rPr>
              <a:t>.</a:t>
            </a:r>
            <a:endParaRPr lang="en-US" sz="1050" b="0" dirty="0">
              <a:latin typeface="Lato" charset="0"/>
              <a:ea typeface="Lato" charset="0"/>
              <a:cs typeface="Lato" charset="0"/>
            </a:endParaRPr>
          </a:p>
          <a:p>
            <a:pPr marL="171450" indent="-171450" algn="l">
              <a:buFont typeface="Arial" charset="0"/>
              <a:buChar char="•"/>
            </a:pPr>
            <a:endParaRPr lang="en-US" sz="1050" dirty="0">
              <a:latin typeface="Lato" charset="0"/>
              <a:ea typeface="Lato" charset="0"/>
              <a:cs typeface="Lato" charset="0"/>
            </a:endParaRPr>
          </a:p>
        </p:txBody>
      </p:sp>
      <p:sp>
        <p:nvSpPr>
          <p:cNvPr id="36" name="TextBox 35"/>
          <p:cNvSpPr txBox="1"/>
          <p:nvPr/>
        </p:nvSpPr>
        <p:spPr>
          <a:xfrm>
            <a:off x="1967581" y="4569829"/>
            <a:ext cx="726482" cy="2000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700" b="0" smtClean="0">
                <a:latin typeface="Lato" charset="0"/>
                <a:ea typeface="Lato" charset="0"/>
                <a:cs typeface="Lato" charset="0"/>
              </a:rPr>
              <a:t>Access Token</a:t>
            </a:r>
            <a:endParaRPr lang="en-US" sz="700" b="0">
              <a:latin typeface="Lato" charset="0"/>
              <a:ea typeface="Lato" charset="0"/>
              <a:cs typeface="Lato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456984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1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wgzuJ5ogk.5VIOJjuFZC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wgzuJ5ogk.5VIOJjuFZC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wgzuJ5ogk.5VIOJjuFZC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wgzuJ5ogk.5VIOJjuFZC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wgzuJ5ogk.5VIOJjuFZC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wgzuJ5ogk.5VIOJjuFZC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wgzuJ5ogk.5VIOJjuFZC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wgzuJ5ogk.5VIOJjuFZC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wgzuJ5ogk.5VIOJjuFZC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wgzuJ5ogk.5VIOJjuFZC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wgzuJ5ogk.5VIOJjuFZC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wgzuJ5ogk.5VIOJjuFZCg"/>
</p:tagLst>
</file>

<file path=ppt/theme/theme1.xml><?xml version="1.0" encoding="utf-8"?>
<a:theme xmlns:a="http://schemas.openxmlformats.org/drawingml/2006/main" name="Blank">
  <a:themeElements>
    <a:clrScheme name="Blank 13">
      <a:dk1>
        <a:srgbClr val="000000"/>
      </a:dk1>
      <a:lt1>
        <a:srgbClr val="FFFFFF"/>
      </a:lt1>
      <a:dk2>
        <a:srgbClr val="000000"/>
      </a:dk2>
      <a:lt2>
        <a:srgbClr val="E62D3F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Blank">
      <a:majorFont>
        <a:latin typeface="Arial Narrow"/>
        <a:ea typeface=""/>
        <a:cs typeface=""/>
      </a:majorFont>
      <a:minorFont>
        <a:latin typeface="Arial Narrow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bg2"/>
          </a:solidFill>
          <a:prstDash val="solid"/>
          <a:round/>
          <a:headEnd type="none" w="lg" len="lg"/>
          <a:tailEnd type="none" w="lg" len="lg"/>
        </a:ln>
        <a:effectLst/>
      </a:spPr>
      <a:bodyPr vert="horz" wrap="none" lIns="91440" tIns="91440" rIns="91440" bIns="9144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4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bg2"/>
          </a:solidFill>
          <a:prstDash val="solid"/>
          <a:round/>
          <a:headEnd type="none" w="lg" len="lg"/>
          <a:tailEnd type="none" w="lg" len="lg"/>
        </a:ln>
        <a:effectLst/>
      </a:spPr>
      <a:bodyPr vert="horz" wrap="none" lIns="91440" tIns="91440" rIns="91440" bIns="9144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4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lnDef>
  </a:objectDefaults>
  <a:extraClrSchemeLst>
    <a:extraClrScheme>
      <a:clrScheme name="Blank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13">
        <a:dk1>
          <a:srgbClr val="000000"/>
        </a:dk1>
        <a:lt1>
          <a:srgbClr val="FFFFFF"/>
        </a:lt1>
        <a:dk2>
          <a:srgbClr val="000000"/>
        </a:dk2>
        <a:lt2>
          <a:srgbClr val="E62D3F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14">
        <a:dk1>
          <a:srgbClr val="000000"/>
        </a:dk1>
        <a:lt1>
          <a:srgbClr val="FFFFFF"/>
        </a:lt1>
        <a:dk2>
          <a:srgbClr val="919195"/>
        </a:dk2>
        <a:lt2>
          <a:srgbClr val="E62D3F"/>
        </a:lt2>
        <a:accent1>
          <a:srgbClr val="0078C1"/>
        </a:accent1>
        <a:accent2>
          <a:srgbClr val="731372"/>
        </a:accent2>
        <a:accent3>
          <a:srgbClr val="FFFFFF"/>
        </a:accent3>
        <a:accent4>
          <a:srgbClr val="000000"/>
        </a:accent4>
        <a:accent5>
          <a:srgbClr val="AABEDD"/>
        </a:accent5>
        <a:accent6>
          <a:srgbClr val="681067"/>
        </a:accent6>
        <a:hlink>
          <a:srgbClr val="F78E1D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15">
        <a:dk1>
          <a:srgbClr val="000000"/>
        </a:dk1>
        <a:lt1>
          <a:srgbClr val="FFFFFF"/>
        </a:lt1>
        <a:dk2>
          <a:srgbClr val="919195"/>
        </a:dk2>
        <a:lt2>
          <a:srgbClr val="E62D3F"/>
        </a:lt2>
        <a:accent1>
          <a:srgbClr val="0078C1"/>
        </a:accent1>
        <a:accent2>
          <a:srgbClr val="731372"/>
        </a:accent2>
        <a:accent3>
          <a:srgbClr val="FFFFFF"/>
        </a:accent3>
        <a:accent4>
          <a:srgbClr val="000000"/>
        </a:accent4>
        <a:accent5>
          <a:srgbClr val="AABEDD"/>
        </a:accent5>
        <a:accent6>
          <a:srgbClr val="681067"/>
        </a:accent6>
        <a:hlink>
          <a:srgbClr val="F78E1D"/>
        </a:hlink>
        <a:folHlink>
          <a:srgbClr val="35BD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16">
        <a:dk1>
          <a:srgbClr val="000000"/>
        </a:dk1>
        <a:lt1>
          <a:srgbClr val="FFFFFF"/>
        </a:lt1>
        <a:dk2>
          <a:srgbClr val="848589"/>
        </a:dk2>
        <a:lt2>
          <a:srgbClr val="E62D3F"/>
        </a:lt2>
        <a:accent1>
          <a:srgbClr val="0078C1"/>
        </a:accent1>
        <a:accent2>
          <a:srgbClr val="731372"/>
        </a:accent2>
        <a:accent3>
          <a:srgbClr val="FFFFFF"/>
        </a:accent3>
        <a:accent4>
          <a:srgbClr val="000000"/>
        </a:accent4>
        <a:accent5>
          <a:srgbClr val="AABEDD"/>
        </a:accent5>
        <a:accent6>
          <a:srgbClr val="681067"/>
        </a:accent6>
        <a:hlink>
          <a:srgbClr val="F78E1D"/>
        </a:hlink>
        <a:folHlink>
          <a:srgbClr val="35BD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53EF8EDFDD6A4644B6FDC1F0772FE099" ma:contentTypeVersion="0" ma:contentTypeDescription="Create a new document." ma:contentTypeScope="" ma:versionID="fb0d4095d63127b7d04667dafecd5d8e">
  <xsd:schema xmlns:xsd="http://www.w3.org/2001/XMLSchema" xmlns:p="http://schemas.microsoft.com/office/2006/metadata/properties" targetNamespace="http://schemas.microsoft.com/office/2006/metadata/properties" ma:root="true" ma:fieldsID="4aeb20c0e3442673af7ee10786458764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office/internal/2005/internalDocumentation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 ma:readOnly="tru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lastPrinted" minOccurs="0" maxOccurs="1" type="xsd:dateTime"/>
        <xsd:element name="contentStatus" minOccurs="0" maxOccurs="1" type="xsd:string"/>
      </xsd:all>
    </xsd:complexType>
  </xsd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>
  <documentManagement/>
</p:properties>
</file>

<file path=customXml/itemProps1.xml><?xml version="1.0" encoding="utf-8"?>
<ds:datastoreItem xmlns:ds="http://schemas.openxmlformats.org/officeDocument/2006/customXml" ds:itemID="{61E8FD32-200D-4A31-A800-5FFCA58E4A34}"/>
</file>

<file path=customXml/itemProps2.xml><?xml version="1.0" encoding="utf-8"?>
<ds:datastoreItem xmlns:ds="http://schemas.openxmlformats.org/officeDocument/2006/customXml" ds:itemID="{D90948D4-B5A5-4B4F-855A-A6064D78620D}"/>
</file>

<file path=customXml/itemProps3.xml><?xml version="1.0" encoding="utf-8"?>
<ds:datastoreItem xmlns:ds="http://schemas.openxmlformats.org/officeDocument/2006/customXml" ds:itemID="{29E48225-769B-40AA-9DCD-EE7F6E36DC48}"/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2089</Words>
  <Application>Microsoft Office PowerPoint</Application>
  <PresentationFormat>Custom</PresentationFormat>
  <Paragraphs>492</Paragraphs>
  <Slides>22</Slides>
  <Notes>8</Notes>
  <HiddenSlides>0</HiddenSlides>
  <MMClips>0</MMClips>
  <ScaleCrop>false</ScaleCrop>
  <HeadingPairs>
    <vt:vector size="6" baseType="variant">
      <vt:variant>
        <vt:lpstr>Fonts Used</vt:lpstr>
      </vt:variant>
      <vt:variant>
        <vt:i4>12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22</vt:i4>
      </vt:variant>
    </vt:vector>
  </HeadingPairs>
  <TitlesOfParts>
    <vt:vector size="35" baseType="lpstr">
      <vt:lpstr>ＭＳ Ｐゴシック</vt:lpstr>
      <vt:lpstr>ＭＳ Ｐゴシック</vt:lpstr>
      <vt:lpstr>Arial</vt:lpstr>
      <vt:lpstr>Arial Hebrew</vt:lpstr>
      <vt:lpstr>Arial Narrow</vt:lpstr>
      <vt:lpstr>Calibri</vt:lpstr>
      <vt:lpstr>Century Gothic</vt:lpstr>
      <vt:lpstr>Franklin Gothic Book</vt:lpstr>
      <vt:lpstr>Lato</vt:lpstr>
      <vt:lpstr>Linux Libertine</vt:lpstr>
      <vt:lpstr>Times New Roman</vt:lpstr>
      <vt:lpstr>Wingdings</vt:lpstr>
      <vt:lpstr>Blank</vt:lpstr>
      <vt:lpstr>Microservices Architecture API Gateway, Service Registry and Discovery</vt:lpstr>
      <vt:lpstr>Agenda</vt:lpstr>
      <vt:lpstr>Specialty Reference Architecture – Phase 1</vt:lpstr>
      <vt:lpstr>Specialty Reference Architecture</vt:lpstr>
      <vt:lpstr>Representative Microservices Ecosystem</vt:lpstr>
      <vt:lpstr>Elements of Microservices Architecture</vt:lpstr>
      <vt:lpstr>API Gateway Pattern</vt:lpstr>
      <vt:lpstr>API Management Logical View</vt:lpstr>
      <vt:lpstr>API Gateway - Security</vt:lpstr>
      <vt:lpstr>Analytics</vt:lpstr>
      <vt:lpstr>API Management Products</vt:lpstr>
      <vt:lpstr>PowerPoint Presentation</vt:lpstr>
      <vt:lpstr>MuleSoft Commercial</vt:lpstr>
      <vt:lpstr>WSO2 Open Source</vt:lpstr>
      <vt:lpstr>TYK Open Source</vt:lpstr>
      <vt:lpstr>Service Registration Patterns</vt:lpstr>
      <vt:lpstr>Service Discovery Patterns</vt:lpstr>
      <vt:lpstr>Service Discovery – Product</vt:lpstr>
      <vt:lpstr>Service Observability</vt:lpstr>
      <vt:lpstr>Service Observability - Products</vt:lpstr>
      <vt:lpstr>Circuit Breaker pattern</vt:lpstr>
      <vt:lpstr>   Thank You!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RFM</dc:title>
  <dc:creator/>
  <dc:description>Letter Blank templ v3.pot</dc:description>
  <cp:lastModifiedBy/>
  <cp:revision>67</cp:revision>
  <cp:lastPrinted>2017-06-08T19:27:16Z</cp:lastPrinted>
  <dcterms:created xsi:type="dcterms:W3CDTF">2008-09-11T18:21:36Z</dcterms:created>
  <dcterms:modified xsi:type="dcterms:W3CDTF">2017-06-14T01:46:5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Version">
    <vt:lpwstr>20041127</vt:lpwstr>
  </property>
  <property fmtid="{D5CDD505-2E9C-101B-9397-08002B2CF9AE}" pid="3" name="Reference">
    <vt:lpwstr>BCGTemplateNew</vt:lpwstr>
  </property>
  <property fmtid="{D5CDD505-2E9C-101B-9397-08002B2CF9AE}" pid="4" name="BCG 2007 Template">
    <vt:bool>true</vt:bool>
  </property>
  <property fmtid="{D5CDD505-2E9C-101B-9397-08002B2CF9AE}" pid="5" name="BCG Format Name">
    <vt:lpwstr>BCG Format</vt:lpwstr>
  </property>
  <property fmtid="{D5CDD505-2E9C-101B-9397-08002B2CF9AE}" pid="6" name="ContentTypeId">
    <vt:lpwstr>0x01010053EF8EDFDD6A4644B6FDC1F0772FE099</vt:lpwstr>
  </property>
</Properties>
</file>